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4.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5.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7" r:id="rId4"/>
    <p:sldMasterId id="2147484156" r:id="rId5"/>
    <p:sldMasterId id="2147484018" r:id="rId6"/>
    <p:sldMasterId id="2147483660" r:id="rId7"/>
    <p:sldMasterId id="2147484273" r:id="rId8"/>
    <p:sldMasterId id="2147484315" r:id="rId9"/>
  </p:sldMasterIdLst>
  <p:notesMasterIdLst>
    <p:notesMasterId r:id="rId30"/>
  </p:notesMasterIdLst>
  <p:handoutMasterIdLst>
    <p:handoutMasterId r:id="rId31"/>
  </p:handoutMasterIdLst>
  <p:sldIdLst>
    <p:sldId id="2126986164" r:id="rId10"/>
    <p:sldId id="2147480141" r:id="rId11"/>
    <p:sldId id="2147480109" r:id="rId12"/>
    <p:sldId id="2147480126" r:id="rId13"/>
    <p:sldId id="2147480138" r:id="rId14"/>
    <p:sldId id="2147480132" r:id="rId15"/>
    <p:sldId id="2147479555" r:id="rId16"/>
    <p:sldId id="2147480139" r:id="rId17"/>
    <p:sldId id="2147480136" r:id="rId18"/>
    <p:sldId id="2147480119" r:id="rId19"/>
    <p:sldId id="2147480123" r:id="rId20"/>
    <p:sldId id="2147480137" r:id="rId21"/>
    <p:sldId id="2147480140" r:id="rId22"/>
    <p:sldId id="2147480120" r:id="rId23"/>
    <p:sldId id="2147480131" r:id="rId24"/>
    <p:sldId id="2147480107" r:id="rId25"/>
    <p:sldId id="2147480101" r:id="rId26"/>
    <p:sldId id="2147480110" r:id="rId27"/>
    <p:sldId id="2147480116" r:id="rId28"/>
    <p:sldId id="2147480111" r:id="rId29"/>
  </p:sldIdLst>
  <p:sldSz cx="12192000" cy="6858000"/>
  <p:notesSz cx="7010400" cy="9296400"/>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ashboards and Reporting" id="{CE0973D0-669F-524F-998F-2764E8C4D465}">
          <p14:sldIdLst>
            <p14:sldId id="2126986164"/>
            <p14:sldId id="2147480141"/>
            <p14:sldId id="2147480109"/>
            <p14:sldId id="2147480126"/>
            <p14:sldId id="2147480138"/>
            <p14:sldId id="2147480132"/>
            <p14:sldId id="2147479555"/>
            <p14:sldId id="2147480139"/>
            <p14:sldId id="2147480136"/>
            <p14:sldId id="2147480119"/>
            <p14:sldId id="2147480123"/>
            <p14:sldId id="2147480137"/>
            <p14:sldId id="2147480140"/>
            <p14:sldId id="2147480120"/>
            <p14:sldId id="2147480131"/>
            <p14:sldId id="2147480107"/>
            <p14:sldId id="2147480101"/>
            <p14:sldId id="2147480110"/>
            <p14:sldId id="2147480116"/>
            <p14:sldId id="2147480111"/>
          </p14:sldIdLst>
        </p14:section>
        <p14:section name="Appendix" id="{8629EE69-E3E4-4D40-9A65-2F1C2F4D1E1C}">
          <p14:sldIdLst/>
        </p14:section>
      </p14:sectionLst>
    </p:ext>
    <p:ext uri="{EFAFB233-063F-42B5-8137-9DF3F51BA10A}">
      <p15:sldGuideLst xmlns:p15="http://schemas.microsoft.com/office/powerpoint/2012/main">
        <p15:guide id="1" orient="horz" pos="384" userDrawn="1">
          <p15:clr>
            <a:srgbClr val="A4A3A4"/>
          </p15:clr>
        </p15:guide>
        <p15:guide id="2" pos="28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4A2250C-7A1F-077C-FAFF-5789C8CA09AE}" name="VanDerHarst, Chris" initials="VC" userId="S::cvanderharst@elogex.com::cc024ebc-47e4-46cd-923a-ffe389398b51" providerId="AD"/>
  <p188:author id="{75A9A028-C0B6-0832-94AE-E97801A26E79}" name="Kasiviswanathan, Palanisamy" initials="KP" userId="S::pkasiviswanathan@elogex.com::f86a283d-153c-4a5d-aefe-c7c7b240f75f" providerId="AD"/>
  <p188:author id="{10702554-CCB7-EC3F-1A88-1B0472E41358}" name="Karmakar, Sumit" initials="SK" userId="S::skarmakar@elogex.com::5d020034-ff2c-4e7e-8d00-e94708d613b2" providerId="AD"/>
  <p188:author id="{D5AD89A6-675F-21E6-2AA4-7468A9E5A9A2}" name="Kasiviswanathan, Palanisamy" initials="KP" userId="Kasiviswanathan, Palanisamy"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eGuzman, Charles" initials="DC" lastIdx="1" clrIdx="0">
    <p:extLst>
      <p:ext uri="{19B8F6BF-5375-455C-9EA6-DF929625EA0E}">
        <p15:presenceInfo xmlns:p15="http://schemas.microsoft.com/office/powerpoint/2012/main" userId="S-1-5-21-1711500582-553462016-4547331-997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085"/>
    <a:srgbClr val="2DA2BF"/>
    <a:srgbClr val="DDF7DA"/>
    <a:srgbClr val="D7F5F7"/>
    <a:srgbClr val="EDEBE9"/>
    <a:srgbClr val="03183F"/>
    <a:srgbClr val="031435"/>
    <a:srgbClr val="1D3446"/>
    <a:srgbClr val="EFEFEF"/>
    <a:srgbClr val="F1F1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DCB584-F2F4-EAC5-E0F2-BA0EA104EB0F}" v="3" dt="2024-04-01T15:28:01.330"/>
    <p1510:client id="{66D90A12-E60F-A355-4C17-86A5E1997704}" v="7" dt="2024-04-03T14:54:38.313"/>
    <p1510:client id="{6B72B1A5-2E9B-4580-BDC0-FDFF35AA2A03}" v="8" dt="2024-04-03T15:09:16.702"/>
    <p1510:client id="{82646302-C00E-6378-C68E-238722ACE21B}" v="41" dt="2024-04-03T15:07:47.804"/>
    <p1510:client id="{8EFC3125-F6C5-F0BB-0617-76E504AB0911}" v="11" dt="2024-04-03T14:59:11.216"/>
    <p1510:client id="{981F33C5-EC81-FF75-BABF-D5E49EEBDCAE}" v="4" dt="2024-04-01T15:28:33.127"/>
  </p1510:revLst>
</p1510:revInfo>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384"/>
        <p:guide pos="288"/>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microsoft.com/office/2018/10/relationships/authors" Target="authors.xml"/><Relationship Id="rId21" Type="http://schemas.openxmlformats.org/officeDocument/2006/relationships/slide" Target="slides/slide12.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commentAuthors" Target="commentAuthors.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rmakar, Sumit" userId="S::skarmakar@elogex.com::5d020034-ff2c-4e7e-8d00-e94708d613b2" providerId="AD" clId="Web-{79B0EE60-8554-F23B-DB7A-17CFB40B4C67}"/>
    <pc:docChg chg="modSld">
      <pc:chgData name="Karmakar, Sumit" userId="S::skarmakar@elogex.com::5d020034-ff2c-4e7e-8d00-e94708d613b2" providerId="AD" clId="Web-{79B0EE60-8554-F23B-DB7A-17CFB40B4C67}" dt="2024-03-28T13:04:00.339" v="53"/>
      <pc:docMkLst>
        <pc:docMk/>
      </pc:docMkLst>
      <pc:sldChg chg="modSp">
        <pc:chgData name="Karmakar, Sumit" userId="S::skarmakar@elogex.com::5d020034-ff2c-4e7e-8d00-e94708d613b2" providerId="AD" clId="Web-{79B0EE60-8554-F23B-DB7A-17CFB40B4C67}" dt="2024-03-28T13:04:00.339" v="53"/>
        <pc:sldMkLst>
          <pc:docMk/>
          <pc:sldMk cId="2801638841" sldId="2147480120"/>
        </pc:sldMkLst>
        <pc:spChg chg="mod">
          <ac:chgData name="Karmakar, Sumit" userId="S::skarmakar@elogex.com::5d020034-ff2c-4e7e-8d00-e94708d613b2" providerId="AD" clId="Web-{79B0EE60-8554-F23B-DB7A-17CFB40B4C67}" dt="2024-03-28T13:04:00.339" v="53"/>
          <ac:spMkLst>
            <pc:docMk/>
            <pc:sldMk cId="2801638841" sldId="2147480120"/>
            <ac:spMk id="4" creationId="{7D4BF2ED-AC5B-0D24-516C-84EE34EF0F26}"/>
          </ac:spMkLst>
        </pc:spChg>
        <pc:spChg chg="mod">
          <ac:chgData name="Karmakar, Sumit" userId="S::skarmakar@elogex.com::5d020034-ff2c-4e7e-8d00-e94708d613b2" providerId="AD" clId="Web-{79B0EE60-8554-F23B-DB7A-17CFB40B4C67}" dt="2024-03-28T13:03:32.073" v="51"/>
          <ac:spMkLst>
            <pc:docMk/>
            <pc:sldMk cId="2801638841" sldId="2147480120"/>
            <ac:spMk id="8" creationId="{9A8AFD97-6548-3F4A-4D20-68484CE3E0C6}"/>
          </ac:spMkLst>
        </pc:spChg>
      </pc:sldChg>
      <pc:sldChg chg="modSp">
        <pc:chgData name="Karmakar, Sumit" userId="S::skarmakar@elogex.com::5d020034-ff2c-4e7e-8d00-e94708d613b2" providerId="AD" clId="Web-{79B0EE60-8554-F23B-DB7A-17CFB40B4C67}" dt="2024-03-28T12:44:49.096" v="17"/>
        <pc:sldMkLst>
          <pc:docMk/>
          <pc:sldMk cId="1287383114" sldId="2147480126"/>
        </pc:sldMkLst>
        <pc:graphicFrameChg chg="mod modGraphic">
          <ac:chgData name="Karmakar, Sumit" userId="S::skarmakar@elogex.com::5d020034-ff2c-4e7e-8d00-e94708d613b2" providerId="AD" clId="Web-{79B0EE60-8554-F23B-DB7A-17CFB40B4C67}" dt="2024-03-28T12:43:51.016" v="5" actId="1076"/>
          <ac:graphicFrameMkLst>
            <pc:docMk/>
            <pc:sldMk cId="1287383114" sldId="2147480126"/>
            <ac:graphicFrameMk id="3" creationId="{CA9C21C4-2AEC-CC4C-240D-B02DAA76F564}"/>
          </ac:graphicFrameMkLst>
        </pc:graphicFrameChg>
        <pc:graphicFrameChg chg="mod modGraphic">
          <ac:chgData name="Karmakar, Sumit" userId="S::skarmakar@elogex.com::5d020034-ff2c-4e7e-8d00-e94708d613b2" providerId="AD" clId="Web-{79B0EE60-8554-F23B-DB7A-17CFB40B4C67}" dt="2024-03-28T12:44:18.736" v="9" actId="1076"/>
          <ac:graphicFrameMkLst>
            <pc:docMk/>
            <pc:sldMk cId="1287383114" sldId="2147480126"/>
            <ac:graphicFrameMk id="17" creationId="{39C2D995-BEAD-B4F2-BAA5-251C62A1C594}"/>
          </ac:graphicFrameMkLst>
        </pc:graphicFrameChg>
        <pc:graphicFrameChg chg="mod modGraphic">
          <ac:chgData name="Karmakar, Sumit" userId="S::skarmakar@elogex.com::5d020034-ff2c-4e7e-8d00-e94708d613b2" providerId="AD" clId="Web-{79B0EE60-8554-F23B-DB7A-17CFB40B4C67}" dt="2024-03-28T12:44:49.096" v="17"/>
          <ac:graphicFrameMkLst>
            <pc:docMk/>
            <pc:sldMk cId="1287383114" sldId="2147480126"/>
            <ac:graphicFrameMk id="55" creationId="{BAD24F01-D7F4-BF36-D16C-1074A0E6487F}"/>
          </ac:graphicFrameMkLst>
        </pc:graphicFrameChg>
      </pc:sldChg>
      <pc:sldChg chg="modSp">
        <pc:chgData name="Karmakar, Sumit" userId="S::skarmakar@elogex.com::5d020034-ff2c-4e7e-8d00-e94708d613b2" providerId="AD" clId="Web-{79B0EE60-8554-F23B-DB7A-17CFB40B4C67}" dt="2024-03-28T12:48:26.147" v="33" actId="20577"/>
        <pc:sldMkLst>
          <pc:docMk/>
          <pc:sldMk cId="1943466375" sldId="2147480132"/>
        </pc:sldMkLst>
        <pc:spChg chg="mod">
          <ac:chgData name="Karmakar, Sumit" userId="S::skarmakar@elogex.com::5d020034-ff2c-4e7e-8d00-e94708d613b2" providerId="AD" clId="Web-{79B0EE60-8554-F23B-DB7A-17CFB40B4C67}" dt="2024-03-28T12:47:12.411" v="27"/>
          <ac:spMkLst>
            <pc:docMk/>
            <pc:sldMk cId="1943466375" sldId="2147480132"/>
            <ac:spMk id="5" creationId="{AD6DA829-B88B-9940-7A69-8B2210CED0EA}"/>
          </ac:spMkLst>
        </pc:spChg>
        <pc:spChg chg="mod">
          <ac:chgData name="Karmakar, Sumit" userId="S::skarmakar@elogex.com::5d020034-ff2c-4e7e-8d00-e94708d613b2" providerId="AD" clId="Web-{79B0EE60-8554-F23B-DB7A-17CFB40B4C67}" dt="2024-03-28T12:48:26.147" v="33" actId="20577"/>
          <ac:spMkLst>
            <pc:docMk/>
            <pc:sldMk cId="1943466375" sldId="2147480132"/>
            <ac:spMk id="6" creationId="{67198E3D-3C9A-5220-0DC7-94E7ACF46720}"/>
          </ac:spMkLst>
        </pc:spChg>
      </pc:sldChg>
      <pc:sldChg chg="modSp">
        <pc:chgData name="Karmakar, Sumit" userId="S::skarmakar@elogex.com::5d020034-ff2c-4e7e-8d00-e94708d613b2" providerId="AD" clId="Web-{79B0EE60-8554-F23B-DB7A-17CFB40B4C67}" dt="2024-03-28T12:50:23.478" v="44" actId="1076"/>
        <pc:sldMkLst>
          <pc:docMk/>
          <pc:sldMk cId="3435256583" sldId="2147480136"/>
        </pc:sldMkLst>
        <pc:spChg chg="mod">
          <ac:chgData name="Karmakar, Sumit" userId="S::skarmakar@elogex.com::5d020034-ff2c-4e7e-8d00-e94708d613b2" providerId="AD" clId="Web-{79B0EE60-8554-F23B-DB7A-17CFB40B4C67}" dt="2024-03-28T12:50:23.072" v="35" actId="1076"/>
          <ac:spMkLst>
            <pc:docMk/>
            <pc:sldMk cId="3435256583" sldId="2147480136"/>
            <ac:spMk id="4" creationId="{EFC45C1D-3E3D-CBA2-6BFC-045908EAE652}"/>
          </ac:spMkLst>
        </pc:spChg>
        <pc:spChg chg="mod">
          <ac:chgData name="Karmakar, Sumit" userId="S::skarmakar@elogex.com::5d020034-ff2c-4e7e-8d00-e94708d613b2" providerId="AD" clId="Web-{79B0EE60-8554-F23B-DB7A-17CFB40B4C67}" dt="2024-03-28T12:50:23.165" v="37" actId="1076"/>
          <ac:spMkLst>
            <pc:docMk/>
            <pc:sldMk cId="3435256583" sldId="2147480136"/>
            <ac:spMk id="10" creationId="{F92F939B-C20B-4A8E-E564-8C217501FDE6}"/>
          </ac:spMkLst>
        </pc:spChg>
        <pc:spChg chg="mod">
          <ac:chgData name="Karmakar, Sumit" userId="S::skarmakar@elogex.com::5d020034-ff2c-4e7e-8d00-e94708d613b2" providerId="AD" clId="Web-{79B0EE60-8554-F23B-DB7A-17CFB40B4C67}" dt="2024-03-28T12:50:23.259" v="39" actId="1076"/>
          <ac:spMkLst>
            <pc:docMk/>
            <pc:sldMk cId="3435256583" sldId="2147480136"/>
            <ac:spMk id="17" creationId="{C3C6F43B-B1BB-4E4B-CAD6-47182928EFA1}"/>
          </ac:spMkLst>
        </pc:spChg>
        <pc:spChg chg="mod">
          <ac:chgData name="Karmakar, Sumit" userId="S::skarmakar@elogex.com::5d020034-ff2c-4e7e-8d00-e94708d613b2" providerId="AD" clId="Web-{79B0EE60-8554-F23B-DB7A-17CFB40B4C67}" dt="2024-03-28T12:50:23.353" v="41" actId="1076"/>
          <ac:spMkLst>
            <pc:docMk/>
            <pc:sldMk cId="3435256583" sldId="2147480136"/>
            <ac:spMk id="24" creationId="{0F61432C-43A8-42BE-9844-B84CD563C8E9}"/>
          </ac:spMkLst>
        </pc:spChg>
        <pc:spChg chg="mod">
          <ac:chgData name="Karmakar, Sumit" userId="S::skarmakar@elogex.com::5d020034-ff2c-4e7e-8d00-e94708d613b2" providerId="AD" clId="Web-{79B0EE60-8554-F23B-DB7A-17CFB40B4C67}" dt="2024-03-28T12:50:23.462" v="43" actId="1076"/>
          <ac:spMkLst>
            <pc:docMk/>
            <pc:sldMk cId="3435256583" sldId="2147480136"/>
            <ac:spMk id="37" creationId="{6C95D344-9027-FC67-8426-6DC52A1D927C}"/>
          </ac:spMkLst>
        </pc:spChg>
        <pc:spChg chg="mod">
          <ac:chgData name="Karmakar, Sumit" userId="S::skarmakar@elogex.com::5d020034-ff2c-4e7e-8d00-e94708d613b2" providerId="AD" clId="Web-{79B0EE60-8554-F23B-DB7A-17CFB40B4C67}" dt="2024-03-28T12:50:23.478" v="44" actId="1076"/>
          <ac:spMkLst>
            <pc:docMk/>
            <pc:sldMk cId="3435256583" sldId="2147480136"/>
            <ac:spMk id="39" creationId="{F9C36BCB-B447-EB12-7954-F0C508AED988}"/>
          </ac:spMkLst>
        </pc:spChg>
        <pc:grpChg chg="mod">
          <ac:chgData name="Karmakar, Sumit" userId="S::skarmakar@elogex.com::5d020034-ff2c-4e7e-8d00-e94708d613b2" providerId="AD" clId="Web-{79B0EE60-8554-F23B-DB7A-17CFB40B4C67}" dt="2024-03-28T12:50:23.150" v="36" actId="1076"/>
          <ac:grpSpMkLst>
            <pc:docMk/>
            <pc:sldMk cId="3435256583" sldId="2147480136"/>
            <ac:grpSpMk id="5" creationId="{C4D739C9-9E09-4382-FBAF-5A2971AD9F89}"/>
          </ac:grpSpMkLst>
        </pc:grpChg>
        <pc:grpChg chg="mod">
          <ac:chgData name="Karmakar, Sumit" userId="S::skarmakar@elogex.com::5d020034-ff2c-4e7e-8d00-e94708d613b2" providerId="AD" clId="Web-{79B0EE60-8554-F23B-DB7A-17CFB40B4C67}" dt="2024-03-28T12:50:23.259" v="38" actId="1076"/>
          <ac:grpSpMkLst>
            <pc:docMk/>
            <pc:sldMk cId="3435256583" sldId="2147480136"/>
            <ac:grpSpMk id="12" creationId="{3BCBA17C-CF8E-AB40-4DCE-8D54208085AB}"/>
          </ac:grpSpMkLst>
        </pc:grpChg>
        <pc:grpChg chg="mod">
          <ac:chgData name="Karmakar, Sumit" userId="S::skarmakar@elogex.com::5d020034-ff2c-4e7e-8d00-e94708d613b2" providerId="AD" clId="Web-{79B0EE60-8554-F23B-DB7A-17CFB40B4C67}" dt="2024-03-28T12:50:23.353" v="40" actId="1076"/>
          <ac:grpSpMkLst>
            <pc:docMk/>
            <pc:sldMk cId="3435256583" sldId="2147480136"/>
            <ac:grpSpMk id="18" creationId="{007CB1BB-97E7-0AFB-7802-4735A261A105}"/>
          </ac:grpSpMkLst>
        </pc:grpChg>
        <pc:grpChg chg="mod">
          <ac:chgData name="Karmakar, Sumit" userId="S::skarmakar@elogex.com::5d020034-ff2c-4e7e-8d00-e94708d613b2" providerId="AD" clId="Web-{79B0EE60-8554-F23B-DB7A-17CFB40B4C67}" dt="2024-03-28T12:50:23.447" v="42" actId="1076"/>
          <ac:grpSpMkLst>
            <pc:docMk/>
            <pc:sldMk cId="3435256583" sldId="2147480136"/>
            <ac:grpSpMk id="27" creationId="{778095BA-C9F0-F5AA-71BD-B02DC2118F10}"/>
          </ac:grpSpMkLst>
        </pc:grpChg>
        <pc:picChg chg="mod">
          <ac:chgData name="Karmakar, Sumit" userId="S::skarmakar@elogex.com::5d020034-ff2c-4e7e-8d00-e94708d613b2" providerId="AD" clId="Web-{79B0EE60-8554-F23B-DB7A-17CFB40B4C67}" dt="2024-03-28T12:50:23.056" v="34" actId="1076"/>
          <ac:picMkLst>
            <pc:docMk/>
            <pc:sldMk cId="3435256583" sldId="2147480136"/>
            <ac:picMk id="3" creationId="{DBA6CD77-4FFD-D0C4-2709-EE4270F682B1}"/>
          </ac:picMkLst>
        </pc:picChg>
      </pc:sldChg>
      <pc:sldChg chg="modSp">
        <pc:chgData name="Karmakar, Sumit" userId="S::skarmakar@elogex.com::5d020034-ff2c-4e7e-8d00-e94708d613b2" providerId="AD" clId="Web-{79B0EE60-8554-F23B-DB7A-17CFB40B4C67}" dt="2024-03-28T12:48:09.678" v="30" actId="20577"/>
        <pc:sldMkLst>
          <pc:docMk/>
          <pc:sldMk cId="954045621" sldId="2147480138"/>
        </pc:sldMkLst>
        <pc:spChg chg="mod">
          <ac:chgData name="Karmakar, Sumit" userId="S::skarmakar@elogex.com::5d020034-ff2c-4e7e-8d00-e94708d613b2" providerId="AD" clId="Web-{79B0EE60-8554-F23B-DB7A-17CFB40B4C67}" dt="2024-03-28T12:48:09.678" v="30" actId="20577"/>
          <ac:spMkLst>
            <pc:docMk/>
            <pc:sldMk cId="954045621" sldId="2147480138"/>
            <ac:spMk id="3" creationId="{95EACCFC-1AB4-E705-39CF-082950901B82}"/>
          </ac:spMkLst>
        </pc:spChg>
        <pc:spChg chg="mod">
          <ac:chgData name="Karmakar, Sumit" userId="S::skarmakar@elogex.com::5d020034-ff2c-4e7e-8d00-e94708d613b2" providerId="AD" clId="Web-{79B0EE60-8554-F23B-DB7A-17CFB40B4C67}" dt="2024-03-28T12:46:57.489" v="26"/>
          <ac:spMkLst>
            <pc:docMk/>
            <pc:sldMk cId="954045621" sldId="2147480138"/>
            <ac:spMk id="4" creationId="{53D61D74-7667-418B-79BA-8B3D88D7D0F6}"/>
          </ac:spMkLst>
        </pc:spChg>
      </pc:sldChg>
      <pc:sldChg chg="modSp">
        <pc:chgData name="Karmakar, Sumit" userId="S::skarmakar@elogex.com::5d020034-ff2c-4e7e-8d00-e94708d613b2" providerId="AD" clId="Web-{79B0EE60-8554-F23B-DB7A-17CFB40B4C67}" dt="2024-03-28T13:02:00.071" v="49"/>
        <pc:sldMkLst>
          <pc:docMk/>
          <pc:sldMk cId="2272208059" sldId="2147480139"/>
        </pc:sldMkLst>
        <pc:spChg chg="mod">
          <ac:chgData name="Karmakar, Sumit" userId="S::skarmakar@elogex.com::5d020034-ff2c-4e7e-8d00-e94708d613b2" providerId="AD" clId="Web-{79B0EE60-8554-F23B-DB7A-17CFB40B4C67}" dt="2024-03-28T13:02:00.071" v="49"/>
          <ac:spMkLst>
            <pc:docMk/>
            <pc:sldMk cId="2272208059" sldId="2147480139"/>
            <ac:spMk id="37" creationId="{2BC1BB96-5E69-9E49-FFEF-B8486102AFD0}"/>
          </ac:spMkLst>
        </pc:spChg>
      </pc:sldChg>
    </pc:docChg>
  </pc:docChgLst>
  <pc:docChgLst>
    <pc:chgData name="Karmakar, Sumit" userId="S::skarmakar@elogex.com::5d020034-ff2c-4e7e-8d00-e94708d613b2" providerId="AD" clId="Web-{CB6891F5-AFE4-92A7-3856-2F7C4D23CF57}"/>
    <pc:docChg chg="addSld delSld modSld modSection">
      <pc:chgData name="Karmakar, Sumit" userId="S::skarmakar@elogex.com::5d020034-ff2c-4e7e-8d00-e94708d613b2" providerId="AD" clId="Web-{CB6891F5-AFE4-92A7-3856-2F7C4D23CF57}" dt="2024-03-26T12:13:59.261" v="290"/>
      <pc:docMkLst>
        <pc:docMk/>
      </pc:docMkLst>
      <pc:sldChg chg="modSp del">
        <pc:chgData name="Karmakar, Sumit" userId="S::skarmakar@elogex.com::5d020034-ff2c-4e7e-8d00-e94708d613b2" providerId="AD" clId="Web-{CB6891F5-AFE4-92A7-3856-2F7C4D23CF57}" dt="2024-03-26T12:01:49.656" v="122"/>
        <pc:sldMkLst>
          <pc:docMk/>
          <pc:sldMk cId="565861938" sldId="2147480095"/>
        </pc:sldMkLst>
        <pc:spChg chg="mod">
          <ac:chgData name="Karmakar, Sumit" userId="S::skarmakar@elogex.com::5d020034-ff2c-4e7e-8d00-e94708d613b2" providerId="AD" clId="Web-{CB6891F5-AFE4-92A7-3856-2F7C4D23CF57}" dt="2024-03-26T11:59:28.641" v="20" actId="1076"/>
          <ac:spMkLst>
            <pc:docMk/>
            <pc:sldMk cId="565861938" sldId="2147480095"/>
            <ac:spMk id="3" creationId="{F3DA6107-33E1-9438-D065-7B23A77E442B}"/>
          </ac:spMkLst>
        </pc:spChg>
        <pc:spChg chg="mod">
          <ac:chgData name="Karmakar, Sumit" userId="S::skarmakar@elogex.com::5d020034-ff2c-4e7e-8d00-e94708d613b2" providerId="AD" clId="Web-{CB6891F5-AFE4-92A7-3856-2F7C4D23CF57}" dt="2024-03-26T11:59:28.656" v="21" actId="1076"/>
          <ac:spMkLst>
            <pc:docMk/>
            <pc:sldMk cId="565861938" sldId="2147480095"/>
            <ac:spMk id="4" creationId="{CC4D759E-91DC-1EF6-3378-6D0AA70590B9}"/>
          </ac:spMkLst>
        </pc:spChg>
        <pc:spChg chg="mod">
          <ac:chgData name="Karmakar, Sumit" userId="S::skarmakar@elogex.com::5d020034-ff2c-4e7e-8d00-e94708d613b2" providerId="AD" clId="Web-{CB6891F5-AFE4-92A7-3856-2F7C4D23CF57}" dt="2024-03-26T11:59:28.656" v="22" actId="1076"/>
          <ac:spMkLst>
            <pc:docMk/>
            <pc:sldMk cId="565861938" sldId="2147480095"/>
            <ac:spMk id="5" creationId="{9EC53D68-A263-06FE-93B4-B648803621B0}"/>
          </ac:spMkLst>
        </pc:spChg>
        <pc:spChg chg="mod">
          <ac:chgData name="Karmakar, Sumit" userId="S::skarmakar@elogex.com::5d020034-ff2c-4e7e-8d00-e94708d613b2" providerId="AD" clId="Web-{CB6891F5-AFE4-92A7-3856-2F7C4D23CF57}" dt="2024-03-26T11:59:18.234" v="19" actId="1076"/>
          <ac:spMkLst>
            <pc:docMk/>
            <pc:sldMk cId="565861938" sldId="2147480095"/>
            <ac:spMk id="25" creationId="{0E961777-BCE0-B3C3-9228-16DF9679EB1C}"/>
          </ac:spMkLst>
        </pc:spChg>
        <pc:picChg chg="mod">
          <ac:chgData name="Karmakar, Sumit" userId="S::skarmakar@elogex.com::5d020034-ff2c-4e7e-8d00-e94708d613b2" providerId="AD" clId="Web-{CB6891F5-AFE4-92A7-3856-2F7C4D23CF57}" dt="2024-03-26T11:59:37.297" v="24" actId="1076"/>
          <ac:picMkLst>
            <pc:docMk/>
            <pc:sldMk cId="565861938" sldId="2147480095"/>
            <ac:picMk id="7" creationId="{AF11AF0C-C878-7741-2649-FB09F74C4FC4}"/>
          </ac:picMkLst>
        </pc:picChg>
      </pc:sldChg>
      <pc:sldChg chg="del">
        <pc:chgData name="Karmakar, Sumit" userId="S::skarmakar@elogex.com::5d020034-ff2c-4e7e-8d00-e94708d613b2" providerId="AD" clId="Web-{CB6891F5-AFE4-92A7-3856-2F7C4D23CF57}" dt="2024-03-26T11:54:43.236" v="3"/>
        <pc:sldMkLst>
          <pc:docMk/>
          <pc:sldMk cId="1920257705" sldId="2147480112"/>
        </pc:sldMkLst>
      </pc:sldChg>
      <pc:sldChg chg="addSp add">
        <pc:chgData name="Karmakar, Sumit" userId="S::skarmakar@elogex.com::5d020034-ff2c-4e7e-8d00-e94708d613b2" providerId="AD" clId="Web-{CB6891F5-AFE4-92A7-3856-2F7C4D23CF57}" dt="2024-03-26T12:13:59.261" v="290"/>
        <pc:sldMkLst>
          <pc:docMk/>
          <pc:sldMk cId="3006918676" sldId="2147480124"/>
        </pc:sldMkLst>
        <pc:picChg chg="add">
          <ac:chgData name="Karmakar, Sumit" userId="S::skarmakar@elogex.com::5d020034-ff2c-4e7e-8d00-e94708d613b2" providerId="AD" clId="Web-{CB6891F5-AFE4-92A7-3856-2F7C4D23CF57}" dt="2024-03-26T12:13:59.261" v="290"/>
          <ac:picMkLst>
            <pc:docMk/>
            <pc:sldMk cId="3006918676" sldId="2147480124"/>
            <ac:picMk id="5" creationId="{DEB90E75-5841-C927-62E0-C1A8FF2DB906}"/>
          </ac:picMkLst>
        </pc:picChg>
      </pc:sldChg>
      <pc:sldChg chg="addSp delSp modSp add">
        <pc:chgData name="Karmakar, Sumit" userId="S::skarmakar@elogex.com::5d020034-ff2c-4e7e-8d00-e94708d613b2" providerId="AD" clId="Web-{CB6891F5-AFE4-92A7-3856-2F7C4D23CF57}" dt="2024-03-26T12:13:49.089" v="289" actId="1076"/>
        <pc:sldMkLst>
          <pc:docMk/>
          <pc:sldMk cId="124787207" sldId="2147480125"/>
        </pc:sldMkLst>
        <pc:spChg chg="mod">
          <ac:chgData name="Karmakar, Sumit" userId="S::skarmakar@elogex.com::5d020034-ff2c-4e7e-8d00-e94708d613b2" providerId="AD" clId="Web-{CB6891F5-AFE4-92A7-3856-2F7C4D23CF57}" dt="2024-03-26T12:09:25.669" v="235" actId="1076"/>
          <ac:spMkLst>
            <pc:docMk/>
            <pc:sldMk cId="124787207" sldId="2147480125"/>
            <ac:spMk id="3" creationId="{F3DA6107-33E1-9438-D065-7B23A77E442B}"/>
          </ac:spMkLst>
        </pc:spChg>
        <pc:spChg chg="del mod">
          <ac:chgData name="Karmakar, Sumit" userId="S::skarmakar@elogex.com::5d020034-ff2c-4e7e-8d00-e94708d613b2" providerId="AD" clId="Web-{CB6891F5-AFE4-92A7-3856-2F7C4D23CF57}" dt="2024-03-26T12:02:33.655" v="127"/>
          <ac:spMkLst>
            <pc:docMk/>
            <pc:sldMk cId="124787207" sldId="2147480125"/>
            <ac:spMk id="4" creationId="{CC4D759E-91DC-1EF6-3378-6D0AA70590B9}"/>
          </ac:spMkLst>
        </pc:spChg>
        <pc:spChg chg="mod">
          <ac:chgData name="Karmakar, Sumit" userId="S::skarmakar@elogex.com::5d020034-ff2c-4e7e-8d00-e94708d613b2" providerId="AD" clId="Web-{CB6891F5-AFE4-92A7-3856-2F7C4D23CF57}" dt="2024-03-26T12:11:38.246" v="275" actId="1076"/>
          <ac:spMkLst>
            <pc:docMk/>
            <pc:sldMk cId="124787207" sldId="2147480125"/>
            <ac:spMk id="5" creationId="{9EC53D68-A263-06FE-93B4-B648803621B0}"/>
          </ac:spMkLst>
        </pc:spChg>
        <pc:spChg chg="mod">
          <ac:chgData name="Karmakar, Sumit" userId="S::skarmakar@elogex.com::5d020034-ff2c-4e7e-8d00-e94708d613b2" providerId="AD" clId="Web-{CB6891F5-AFE4-92A7-3856-2F7C4D23CF57}" dt="2024-03-26T12:08:06.872" v="214" actId="1076"/>
          <ac:spMkLst>
            <pc:docMk/>
            <pc:sldMk cId="124787207" sldId="2147480125"/>
            <ac:spMk id="9" creationId="{07CE4040-D44C-B20B-3297-1B5F090F8C99}"/>
          </ac:spMkLst>
        </pc:spChg>
        <pc:spChg chg="mod">
          <ac:chgData name="Karmakar, Sumit" userId="S::skarmakar@elogex.com::5d020034-ff2c-4e7e-8d00-e94708d613b2" providerId="AD" clId="Web-{CB6891F5-AFE4-92A7-3856-2F7C4D23CF57}" dt="2024-03-26T12:09:18.013" v="231" actId="1076"/>
          <ac:spMkLst>
            <pc:docMk/>
            <pc:sldMk cId="124787207" sldId="2147480125"/>
            <ac:spMk id="11" creationId="{9B8733AF-1ACA-0817-500E-BF850E95ECC4}"/>
          </ac:spMkLst>
        </pc:spChg>
        <pc:spChg chg="del">
          <ac:chgData name="Karmakar, Sumit" userId="S::skarmakar@elogex.com::5d020034-ff2c-4e7e-8d00-e94708d613b2" providerId="AD" clId="Web-{CB6891F5-AFE4-92A7-3856-2F7C4D23CF57}" dt="2024-03-26T12:00:53.296" v="54"/>
          <ac:spMkLst>
            <pc:docMk/>
            <pc:sldMk cId="124787207" sldId="2147480125"/>
            <ac:spMk id="13" creationId="{C1D28996-B9E7-8C64-127C-378031DDAC5B}"/>
          </ac:spMkLst>
        </pc:spChg>
        <pc:spChg chg="add del mod">
          <ac:chgData name="Karmakar, Sumit" userId="S::skarmakar@elogex.com::5d020034-ff2c-4e7e-8d00-e94708d613b2" providerId="AD" clId="Web-{CB6891F5-AFE4-92A7-3856-2F7C4D23CF57}" dt="2024-03-26T12:09:51.059" v="248"/>
          <ac:spMkLst>
            <pc:docMk/>
            <pc:sldMk cId="124787207" sldId="2147480125"/>
            <ac:spMk id="14" creationId="{A4B9B0F8-AA30-7A81-A52C-C58986EB3727}"/>
          </ac:spMkLst>
        </pc:spChg>
        <pc:spChg chg="add del mod">
          <ac:chgData name="Karmakar, Sumit" userId="S::skarmakar@elogex.com::5d020034-ff2c-4e7e-8d00-e94708d613b2" providerId="AD" clId="Web-{CB6891F5-AFE4-92A7-3856-2F7C4D23CF57}" dt="2024-03-26T12:03:25.702" v="142"/>
          <ac:spMkLst>
            <pc:docMk/>
            <pc:sldMk cId="124787207" sldId="2147480125"/>
            <ac:spMk id="17" creationId="{8A828325-103B-DC5E-3BB7-8A8781C7FE95}"/>
          </ac:spMkLst>
        </pc:spChg>
        <pc:spChg chg="del">
          <ac:chgData name="Karmakar, Sumit" userId="S::skarmakar@elogex.com::5d020034-ff2c-4e7e-8d00-e94708d613b2" providerId="AD" clId="Web-{CB6891F5-AFE4-92A7-3856-2F7C4D23CF57}" dt="2024-03-26T12:00:53.296" v="52"/>
          <ac:spMkLst>
            <pc:docMk/>
            <pc:sldMk cId="124787207" sldId="2147480125"/>
            <ac:spMk id="19" creationId="{4D995FCE-2224-CDDB-DDEA-4F6A2FB80C72}"/>
          </ac:spMkLst>
        </pc:spChg>
        <pc:spChg chg="add mod">
          <ac:chgData name="Karmakar, Sumit" userId="S::skarmakar@elogex.com::5d020034-ff2c-4e7e-8d00-e94708d613b2" providerId="AD" clId="Web-{CB6891F5-AFE4-92A7-3856-2F7C4D23CF57}" dt="2024-03-26T12:11:56.074" v="280" actId="1076"/>
          <ac:spMkLst>
            <pc:docMk/>
            <pc:sldMk cId="124787207" sldId="2147480125"/>
            <ac:spMk id="20" creationId="{EF3CC311-68AE-AC78-C191-00D4A319D760}"/>
          </ac:spMkLst>
        </pc:spChg>
        <pc:spChg chg="del mod">
          <ac:chgData name="Karmakar, Sumit" userId="S::skarmakar@elogex.com::5d020034-ff2c-4e7e-8d00-e94708d613b2" providerId="AD" clId="Web-{CB6891F5-AFE4-92A7-3856-2F7C4D23CF57}" dt="2024-03-26T12:02:15.859" v="124"/>
          <ac:spMkLst>
            <pc:docMk/>
            <pc:sldMk cId="124787207" sldId="2147480125"/>
            <ac:spMk id="21" creationId="{80FEDC7B-E799-1C2B-1C3F-CDD3197062CA}"/>
          </ac:spMkLst>
        </pc:spChg>
        <pc:spChg chg="mod">
          <ac:chgData name="Karmakar, Sumit" userId="S::skarmakar@elogex.com::5d020034-ff2c-4e7e-8d00-e94708d613b2" providerId="AD" clId="Web-{CB6891F5-AFE4-92A7-3856-2F7C4D23CF57}" dt="2024-03-26T12:11:19.168" v="270" actId="1076"/>
          <ac:spMkLst>
            <pc:docMk/>
            <pc:sldMk cId="124787207" sldId="2147480125"/>
            <ac:spMk id="23" creationId="{920ABBEB-F283-196D-8086-99FAA1F4F9B3}"/>
          </ac:spMkLst>
        </pc:spChg>
        <pc:spChg chg="add del mod">
          <ac:chgData name="Karmakar, Sumit" userId="S::skarmakar@elogex.com::5d020034-ff2c-4e7e-8d00-e94708d613b2" providerId="AD" clId="Web-{CB6891F5-AFE4-92A7-3856-2F7C4D23CF57}" dt="2024-03-26T12:08:51.778" v="225"/>
          <ac:spMkLst>
            <pc:docMk/>
            <pc:sldMk cId="124787207" sldId="2147480125"/>
            <ac:spMk id="24" creationId="{2A136DF9-1C73-03ED-FF17-BB7F58621AC6}"/>
          </ac:spMkLst>
        </pc:spChg>
        <pc:spChg chg="del">
          <ac:chgData name="Karmakar, Sumit" userId="S::skarmakar@elogex.com::5d020034-ff2c-4e7e-8d00-e94708d613b2" providerId="AD" clId="Web-{CB6891F5-AFE4-92A7-3856-2F7C4D23CF57}" dt="2024-03-26T12:00:53.296" v="51"/>
          <ac:spMkLst>
            <pc:docMk/>
            <pc:sldMk cId="124787207" sldId="2147480125"/>
            <ac:spMk id="25" creationId="{0E961777-BCE0-B3C3-9228-16DF9679EB1C}"/>
          </ac:spMkLst>
        </pc:spChg>
        <pc:spChg chg="del mod">
          <ac:chgData name="Karmakar, Sumit" userId="S::skarmakar@elogex.com::5d020034-ff2c-4e7e-8d00-e94708d613b2" providerId="AD" clId="Web-{CB6891F5-AFE4-92A7-3856-2F7C4D23CF57}" dt="2024-03-26T12:02:25.937" v="126"/>
          <ac:spMkLst>
            <pc:docMk/>
            <pc:sldMk cId="124787207" sldId="2147480125"/>
            <ac:spMk id="27" creationId="{851BF37F-AE54-9EC4-7B8E-B0D6E1D8DCB4}"/>
          </ac:spMkLst>
        </pc:spChg>
        <pc:spChg chg="add del mod">
          <ac:chgData name="Karmakar, Sumit" userId="S::skarmakar@elogex.com::5d020034-ff2c-4e7e-8d00-e94708d613b2" providerId="AD" clId="Web-{CB6891F5-AFE4-92A7-3856-2F7C4D23CF57}" dt="2024-03-26T12:02:41.327" v="128"/>
          <ac:spMkLst>
            <pc:docMk/>
            <pc:sldMk cId="124787207" sldId="2147480125"/>
            <ac:spMk id="28" creationId="{E8A251BD-536F-C462-AC1D-6BB3C5AB57BF}"/>
          </ac:spMkLst>
        </pc:spChg>
        <pc:spChg chg="mod">
          <ac:chgData name="Karmakar, Sumit" userId="S::skarmakar@elogex.com::5d020034-ff2c-4e7e-8d00-e94708d613b2" providerId="AD" clId="Web-{CB6891F5-AFE4-92A7-3856-2F7C4D23CF57}" dt="2024-03-26T12:11:29.512" v="273" actId="1076"/>
          <ac:spMkLst>
            <pc:docMk/>
            <pc:sldMk cId="124787207" sldId="2147480125"/>
            <ac:spMk id="29" creationId="{4E17A846-0BA2-FE67-6117-4A9F9C2AC2DA}"/>
          </ac:spMkLst>
        </pc:spChg>
        <pc:spChg chg="add mod">
          <ac:chgData name="Karmakar, Sumit" userId="S::skarmakar@elogex.com::5d020034-ff2c-4e7e-8d00-e94708d613b2" providerId="AD" clId="Web-{CB6891F5-AFE4-92A7-3856-2F7C4D23CF57}" dt="2024-03-26T12:11:47.981" v="278" actId="1076"/>
          <ac:spMkLst>
            <pc:docMk/>
            <pc:sldMk cId="124787207" sldId="2147480125"/>
            <ac:spMk id="31" creationId="{2A2E292A-770E-6EEE-F097-5898A1C6FC1E}"/>
          </ac:spMkLst>
        </pc:spChg>
        <pc:spChg chg="add mod">
          <ac:chgData name="Karmakar, Sumit" userId="S::skarmakar@elogex.com::5d020034-ff2c-4e7e-8d00-e94708d613b2" providerId="AD" clId="Web-{CB6891F5-AFE4-92A7-3856-2F7C4D23CF57}" dt="2024-03-26T12:09:31.325" v="241" actId="1076"/>
          <ac:spMkLst>
            <pc:docMk/>
            <pc:sldMk cId="124787207" sldId="2147480125"/>
            <ac:spMk id="36" creationId="{FF7EFBA6-7FEE-4E7C-4E1B-F79810FEA08C}"/>
          </ac:spMkLst>
        </pc:spChg>
        <pc:spChg chg="add mod">
          <ac:chgData name="Karmakar, Sumit" userId="S::skarmakar@elogex.com::5d020034-ff2c-4e7e-8d00-e94708d613b2" providerId="AD" clId="Web-{CB6891F5-AFE4-92A7-3856-2F7C4D23CF57}" dt="2024-03-26T12:09:41.091" v="247" actId="14100"/>
          <ac:spMkLst>
            <pc:docMk/>
            <pc:sldMk cId="124787207" sldId="2147480125"/>
            <ac:spMk id="37" creationId="{3A78E755-226B-64CB-C001-C2A7DEA2CD4B}"/>
          </ac:spMkLst>
        </pc:spChg>
        <pc:spChg chg="del">
          <ac:chgData name="Karmakar, Sumit" userId="S::skarmakar@elogex.com::5d020034-ff2c-4e7e-8d00-e94708d613b2" providerId="AD" clId="Web-{CB6891F5-AFE4-92A7-3856-2F7C4D23CF57}" dt="2024-03-26T12:00:53.218" v="50"/>
          <ac:spMkLst>
            <pc:docMk/>
            <pc:sldMk cId="124787207" sldId="2147480125"/>
            <ac:spMk id="59" creationId="{CDE944F2-26E5-83C1-4747-3CEFEE5CE018}"/>
          </ac:spMkLst>
        </pc:spChg>
        <pc:picChg chg="del">
          <ac:chgData name="Karmakar, Sumit" userId="S::skarmakar@elogex.com::5d020034-ff2c-4e7e-8d00-e94708d613b2" providerId="AD" clId="Web-{CB6891F5-AFE4-92A7-3856-2F7C4D23CF57}" dt="2024-03-26T12:00:53.296" v="55"/>
          <ac:picMkLst>
            <pc:docMk/>
            <pc:sldMk cId="124787207" sldId="2147480125"/>
            <ac:picMk id="6" creationId="{564F8508-1A4F-8581-325B-7D5F8C677BDF}"/>
          </ac:picMkLst>
        </pc:picChg>
        <pc:picChg chg="mod">
          <ac:chgData name="Karmakar, Sumit" userId="S::skarmakar@elogex.com::5d020034-ff2c-4e7e-8d00-e94708d613b2" providerId="AD" clId="Web-{CB6891F5-AFE4-92A7-3856-2F7C4D23CF57}" dt="2024-03-26T12:11:38.262" v="277" actId="1076"/>
          <ac:picMkLst>
            <pc:docMk/>
            <pc:sldMk cId="124787207" sldId="2147480125"/>
            <ac:picMk id="7" creationId="{AF11AF0C-C878-7741-2649-FB09F74C4FC4}"/>
          </ac:picMkLst>
        </pc:picChg>
        <pc:picChg chg="mod">
          <ac:chgData name="Karmakar, Sumit" userId="S::skarmakar@elogex.com::5d020034-ff2c-4e7e-8d00-e94708d613b2" providerId="AD" clId="Web-{CB6891F5-AFE4-92A7-3856-2F7C4D23CF57}" dt="2024-03-26T12:11:38.262" v="276" actId="1076"/>
          <ac:picMkLst>
            <pc:docMk/>
            <pc:sldMk cId="124787207" sldId="2147480125"/>
            <ac:picMk id="8" creationId="{1781B0B7-43CD-DBB4-66E6-BB6A6CA4A975}"/>
          </ac:picMkLst>
        </pc:picChg>
        <pc:picChg chg="mod">
          <ac:chgData name="Karmakar, Sumit" userId="S::skarmakar@elogex.com::5d020034-ff2c-4e7e-8d00-e94708d613b2" providerId="AD" clId="Web-{CB6891F5-AFE4-92A7-3856-2F7C4D23CF57}" dt="2024-03-26T12:11:19.184" v="272" actId="1076"/>
          <ac:picMkLst>
            <pc:docMk/>
            <pc:sldMk cId="124787207" sldId="2147480125"/>
            <ac:picMk id="10" creationId="{7D3F7A54-AA0B-2E34-3C54-C1AE86C3FF60}"/>
          </ac:picMkLst>
        </pc:picChg>
        <pc:picChg chg="del">
          <ac:chgData name="Karmakar, Sumit" userId="S::skarmakar@elogex.com::5d020034-ff2c-4e7e-8d00-e94708d613b2" providerId="AD" clId="Web-{CB6891F5-AFE4-92A7-3856-2F7C4D23CF57}" dt="2024-03-26T12:00:53.296" v="53"/>
          <ac:picMkLst>
            <pc:docMk/>
            <pc:sldMk cId="124787207" sldId="2147480125"/>
            <ac:picMk id="15" creationId="{8A5CF876-DC73-2936-0A37-5DC57B6D5068}"/>
          </ac:picMkLst>
        </pc:picChg>
        <pc:picChg chg="add mod">
          <ac:chgData name="Karmakar, Sumit" userId="S::skarmakar@elogex.com::5d020034-ff2c-4e7e-8d00-e94708d613b2" providerId="AD" clId="Web-{CB6891F5-AFE4-92A7-3856-2F7C4D23CF57}" dt="2024-03-26T12:11:47.996" v="279" actId="1076"/>
          <ac:picMkLst>
            <pc:docMk/>
            <pc:sldMk cId="124787207" sldId="2147480125"/>
            <ac:picMk id="33" creationId="{CCCEEF42-824C-91BC-C8FA-A3CE14B23C9E}"/>
          </ac:picMkLst>
        </pc:picChg>
        <pc:picChg chg="add mod">
          <ac:chgData name="Karmakar, Sumit" userId="S::skarmakar@elogex.com::5d020034-ff2c-4e7e-8d00-e94708d613b2" providerId="AD" clId="Web-{CB6891F5-AFE4-92A7-3856-2F7C4D23CF57}" dt="2024-03-26T12:11:56.090" v="281" actId="1076"/>
          <ac:picMkLst>
            <pc:docMk/>
            <pc:sldMk cId="124787207" sldId="2147480125"/>
            <ac:picMk id="35" creationId="{28C7CD9C-4A8F-0BB2-A3EA-F5634170334B}"/>
          </ac:picMkLst>
        </pc:picChg>
        <pc:picChg chg="add mod">
          <ac:chgData name="Karmakar, Sumit" userId="S::skarmakar@elogex.com::5d020034-ff2c-4e7e-8d00-e94708d613b2" providerId="AD" clId="Web-{CB6891F5-AFE4-92A7-3856-2F7C4D23CF57}" dt="2024-03-26T12:13:49.089" v="289" actId="1076"/>
          <ac:picMkLst>
            <pc:docMk/>
            <pc:sldMk cId="124787207" sldId="2147480125"/>
            <ac:picMk id="38" creationId="{F8EE571C-8599-588A-3ABB-73143F46726C}"/>
          </ac:picMkLst>
        </pc:picChg>
        <pc:picChg chg="add">
          <ac:chgData name="Karmakar, Sumit" userId="S::skarmakar@elogex.com::5d020034-ff2c-4e7e-8d00-e94708d613b2" providerId="AD" clId="Web-{CB6891F5-AFE4-92A7-3856-2F7C4D23CF57}" dt="2024-03-26T12:13:16.121" v="286"/>
          <ac:picMkLst>
            <pc:docMk/>
            <pc:sldMk cId="124787207" sldId="2147480125"/>
            <ac:picMk id="39" creationId="{7389973B-012B-A2FD-8E4C-13A282967B8C}"/>
          </ac:picMkLst>
        </pc:picChg>
        <pc:picChg chg="add">
          <ac:chgData name="Karmakar, Sumit" userId="S::skarmakar@elogex.com::5d020034-ff2c-4e7e-8d00-e94708d613b2" providerId="AD" clId="Web-{CB6891F5-AFE4-92A7-3856-2F7C4D23CF57}" dt="2024-03-26T12:13:38.964" v="288"/>
          <ac:picMkLst>
            <pc:docMk/>
            <pc:sldMk cId="124787207" sldId="2147480125"/>
            <ac:picMk id="40" creationId="{2BAFA6A6-E3B9-3D37-893E-20491376F319}"/>
          </ac:picMkLst>
        </pc:picChg>
        <pc:picChg chg="mod">
          <ac:chgData name="Karmakar, Sumit" userId="S::skarmakar@elogex.com::5d020034-ff2c-4e7e-8d00-e94708d613b2" providerId="AD" clId="Web-{CB6891F5-AFE4-92A7-3856-2F7C4D23CF57}" dt="2024-03-26T12:11:19.184" v="271" actId="1076"/>
          <ac:picMkLst>
            <pc:docMk/>
            <pc:sldMk cId="124787207" sldId="2147480125"/>
            <ac:picMk id="48" creationId="{C214F85E-9E03-BBF1-C7A1-9B77DDE3A3F9}"/>
          </ac:picMkLst>
        </pc:picChg>
        <pc:picChg chg="mod">
          <ac:chgData name="Karmakar, Sumit" userId="S::skarmakar@elogex.com::5d020034-ff2c-4e7e-8d00-e94708d613b2" providerId="AD" clId="Web-{CB6891F5-AFE4-92A7-3856-2F7C4D23CF57}" dt="2024-03-26T12:09:18.028" v="233" actId="1076"/>
          <ac:picMkLst>
            <pc:docMk/>
            <pc:sldMk cId="124787207" sldId="2147480125"/>
            <ac:picMk id="52" creationId="{BA4BA1F2-EA5A-2C6C-6D6C-0BB978DEA1C8}"/>
          </ac:picMkLst>
        </pc:picChg>
        <pc:picChg chg="mod">
          <ac:chgData name="Karmakar, Sumit" userId="S::skarmakar@elogex.com::5d020034-ff2c-4e7e-8d00-e94708d613b2" providerId="AD" clId="Web-{CB6891F5-AFE4-92A7-3856-2F7C4D23CF57}" dt="2024-03-26T12:11:29.528" v="274" actId="1076"/>
          <ac:picMkLst>
            <pc:docMk/>
            <pc:sldMk cId="124787207" sldId="2147480125"/>
            <ac:picMk id="54" creationId="{5F4AE74D-BB62-4130-F0A2-3FAA4A7D8817}"/>
          </ac:picMkLst>
        </pc:picChg>
      </pc:sldChg>
      <pc:sldChg chg="add">
        <pc:chgData name="Karmakar, Sumit" userId="S::skarmakar@elogex.com::5d020034-ff2c-4e7e-8d00-e94708d613b2" providerId="AD" clId="Web-{CB6891F5-AFE4-92A7-3856-2F7C4D23CF57}" dt="2024-03-26T11:54:32.767" v="2"/>
        <pc:sldMkLst>
          <pc:docMk/>
          <pc:sldMk cId="1287383114" sldId="2147480126"/>
        </pc:sldMkLst>
      </pc:sldChg>
      <pc:sldChg chg="add">
        <pc:chgData name="Karmakar, Sumit" userId="S::skarmakar@elogex.com::5d020034-ff2c-4e7e-8d00-e94708d613b2" providerId="AD" clId="Web-{CB6891F5-AFE4-92A7-3856-2F7C4D23CF57}" dt="2024-03-26T11:55:05.501" v="4"/>
        <pc:sldMkLst>
          <pc:docMk/>
          <pc:sldMk cId="3502658628" sldId="2147480127"/>
        </pc:sldMkLst>
      </pc:sldChg>
    </pc:docChg>
  </pc:docChgLst>
  <pc:docChgLst>
    <pc:chgData name="Howell, Alexandra" userId="S::ahowell@elogex.com::b24ac530-baea-4066-a1a8-5a645cdd3eb4" providerId="AD" clId="Web-{A56AC179-FBAC-F5AB-AD3F-9C30B6A50746}"/>
    <pc:docChg chg="modSld">
      <pc:chgData name="Howell, Alexandra" userId="S::ahowell@elogex.com::b24ac530-baea-4066-a1a8-5a645cdd3eb4" providerId="AD" clId="Web-{A56AC179-FBAC-F5AB-AD3F-9C30B6A50746}" dt="2024-03-26T13:26:18.760" v="26" actId="20577"/>
      <pc:docMkLst>
        <pc:docMk/>
      </pc:docMkLst>
      <pc:sldChg chg="modSp">
        <pc:chgData name="Howell, Alexandra" userId="S::ahowell@elogex.com::b24ac530-baea-4066-a1a8-5a645cdd3eb4" providerId="AD" clId="Web-{A56AC179-FBAC-F5AB-AD3F-9C30B6A50746}" dt="2024-03-26T13:26:18.760" v="26" actId="20577"/>
        <pc:sldMkLst>
          <pc:docMk/>
          <pc:sldMk cId="2511647518" sldId="2147480110"/>
        </pc:sldMkLst>
        <pc:spChg chg="mod">
          <ac:chgData name="Howell, Alexandra" userId="S::ahowell@elogex.com::b24ac530-baea-4066-a1a8-5a645cdd3eb4" providerId="AD" clId="Web-{A56AC179-FBAC-F5AB-AD3F-9C30B6A50746}" dt="2024-03-26T13:26:18.760" v="26" actId="20577"/>
          <ac:spMkLst>
            <pc:docMk/>
            <pc:sldMk cId="2511647518" sldId="2147480110"/>
            <ac:spMk id="6" creationId="{2BF0ABF6-C04A-85B8-E4A7-8EC337656637}"/>
          </ac:spMkLst>
        </pc:spChg>
      </pc:sldChg>
    </pc:docChg>
  </pc:docChgLst>
  <pc:docChgLst>
    <pc:chgData name="Karmakar, Sumit" userId="S::skarmakar@elogex.com::5d020034-ff2c-4e7e-8d00-e94708d613b2" providerId="AD" clId="Web-{2F6633BA-1BA0-6B89-79F1-0374A51FFDBC}"/>
    <pc:docChg chg="modSld">
      <pc:chgData name="Karmakar, Sumit" userId="S::skarmakar@elogex.com::5d020034-ff2c-4e7e-8d00-e94708d613b2" providerId="AD" clId="Web-{2F6633BA-1BA0-6B89-79F1-0374A51FFDBC}" dt="2024-03-06T22:34:20.430" v="1" actId="20577"/>
      <pc:docMkLst>
        <pc:docMk/>
      </pc:docMkLst>
      <pc:sldChg chg="modSp">
        <pc:chgData name="Karmakar, Sumit" userId="S::skarmakar@elogex.com::5d020034-ff2c-4e7e-8d00-e94708d613b2" providerId="AD" clId="Web-{2F6633BA-1BA0-6B89-79F1-0374A51FFDBC}" dt="2024-03-06T22:34:20.430" v="1" actId="20577"/>
        <pc:sldMkLst>
          <pc:docMk/>
          <pc:sldMk cId="4082499125" sldId="2147479704"/>
        </pc:sldMkLst>
        <pc:spChg chg="mod">
          <ac:chgData name="Karmakar, Sumit" userId="S::skarmakar@elogex.com::5d020034-ff2c-4e7e-8d00-e94708d613b2" providerId="AD" clId="Web-{2F6633BA-1BA0-6B89-79F1-0374A51FFDBC}" dt="2024-03-06T22:34:20.430" v="1" actId="20577"/>
          <ac:spMkLst>
            <pc:docMk/>
            <pc:sldMk cId="4082499125" sldId="2147479704"/>
            <ac:spMk id="2" creationId="{9EEF2002-EC66-31A0-CDB0-B27A5C3877BF}"/>
          </ac:spMkLst>
        </pc:spChg>
      </pc:sldChg>
    </pc:docChg>
  </pc:docChgLst>
  <pc:docChgLst>
    <pc:chgData name="Karmakar, Sumit" userId="S::skarmakar@elogex.com::5d020034-ff2c-4e7e-8d00-e94708d613b2" providerId="AD" clId="Web-{C08A7D1D-B273-D14C-A0B6-E4E5B27FF943}"/>
    <pc:docChg chg="modSld">
      <pc:chgData name="Karmakar, Sumit" userId="S::skarmakar@elogex.com::5d020034-ff2c-4e7e-8d00-e94708d613b2" providerId="AD" clId="Web-{C08A7D1D-B273-D14C-A0B6-E4E5B27FF943}" dt="2024-03-26T12:14:23.156" v="13" actId="1076"/>
      <pc:docMkLst>
        <pc:docMk/>
      </pc:docMkLst>
      <pc:sldChg chg="modSp">
        <pc:chgData name="Karmakar, Sumit" userId="S::skarmakar@elogex.com::5d020034-ff2c-4e7e-8d00-e94708d613b2" providerId="AD" clId="Web-{C08A7D1D-B273-D14C-A0B6-E4E5B27FF943}" dt="2024-03-26T12:14:23.156" v="13" actId="1076"/>
        <pc:sldMkLst>
          <pc:docMk/>
          <pc:sldMk cId="124787207" sldId="2147480125"/>
        </pc:sldMkLst>
        <pc:picChg chg="mod">
          <ac:chgData name="Karmakar, Sumit" userId="S::skarmakar@elogex.com::5d020034-ff2c-4e7e-8d00-e94708d613b2" providerId="AD" clId="Web-{C08A7D1D-B273-D14C-A0B6-E4E5B27FF943}" dt="2024-03-26T12:14:23.125" v="11" actId="1076"/>
          <ac:picMkLst>
            <pc:docMk/>
            <pc:sldMk cId="124787207" sldId="2147480125"/>
            <ac:picMk id="8" creationId="{1781B0B7-43CD-DBB4-66E6-BB6A6CA4A975}"/>
          </ac:picMkLst>
        </pc:picChg>
        <pc:picChg chg="mod">
          <ac:chgData name="Karmakar, Sumit" userId="S::skarmakar@elogex.com::5d020034-ff2c-4e7e-8d00-e94708d613b2" providerId="AD" clId="Web-{C08A7D1D-B273-D14C-A0B6-E4E5B27FF943}" dt="2024-03-26T12:14:23.140" v="12" actId="1076"/>
          <ac:picMkLst>
            <pc:docMk/>
            <pc:sldMk cId="124787207" sldId="2147480125"/>
            <ac:picMk id="38" creationId="{F8EE571C-8599-588A-3ABB-73143F46726C}"/>
          </ac:picMkLst>
        </pc:picChg>
        <pc:picChg chg="mod">
          <ac:chgData name="Karmakar, Sumit" userId="S::skarmakar@elogex.com::5d020034-ff2c-4e7e-8d00-e94708d613b2" providerId="AD" clId="Web-{C08A7D1D-B273-D14C-A0B6-E4E5B27FF943}" dt="2024-03-26T12:14:23.156" v="13" actId="1076"/>
          <ac:picMkLst>
            <pc:docMk/>
            <pc:sldMk cId="124787207" sldId="2147480125"/>
            <ac:picMk id="39" creationId="{7389973B-012B-A2FD-8E4C-13A282967B8C}"/>
          </ac:picMkLst>
        </pc:picChg>
        <pc:picChg chg="mod">
          <ac:chgData name="Karmakar, Sumit" userId="S::skarmakar@elogex.com::5d020034-ff2c-4e7e-8d00-e94708d613b2" providerId="AD" clId="Web-{C08A7D1D-B273-D14C-A0B6-E4E5B27FF943}" dt="2024-03-26T12:14:23.093" v="9" actId="1076"/>
          <ac:picMkLst>
            <pc:docMk/>
            <pc:sldMk cId="124787207" sldId="2147480125"/>
            <ac:picMk id="48" creationId="{C214F85E-9E03-BBF1-C7A1-9B77DDE3A3F9}"/>
          </ac:picMkLst>
        </pc:picChg>
        <pc:picChg chg="mod">
          <ac:chgData name="Karmakar, Sumit" userId="S::skarmakar@elogex.com::5d020034-ff2c-4e7e-8d00-e94708d613b2" providerId="AD" clId="Web-{C08A7D1D-B273-D14C-A0B6-E4E5B27FF943}" dt="2024-03-26T12:14:23.109" v="10" actId="1076"/>
          <ac:picMkLst>
            <pc:docMk/>
            <pc:sldMk cId="124787207" sldId="2147480125"/>
            <ac:picMk id="52" creationId="{BA4BA1F2-EA5A-2C6C-6D6C-0BB978DEA1C8}"/>
          </ac:picMkLst>
        </pc:picChg>
      </pc:sldChg>
    </pc:docChg>
  </pc:docChgLst>
  <pc:docChgLst>
    <pc:chgData name="Karmakar, Sumit" userId="S::skarmakar@elogex.com::5d020034-ff2c-4e7e-8d00-e94708d613b2" providerId="AD" clId="Web-{3A2600D8-97B6-2FE0-D4A4-2A6D6D8912DF}"/>
    <pc:docChg chg="addSld modSld modSection">
      <pc:chgData name="Karmakar, Sumit" userId="S::skarmakar@elogex.com::5d020034-ff2c-4e7e-8d00-e94708d613b2" providerId="AD" clId="Web-{3A2600D8-97B6-2FE0-D4A4-2A6D6D8912DF}" dt="2024-03-13T19:07:29.662" v="162"/>
      <pc:docMkLst>
        <pc:docMk/>
      </pc:docMkLst>
      <pc:sldChg chg="modSp">
        <pc:chgData name="Karmakar, Sumit" userId="S::skarmakar@elogex.com::5d020034-ff2c-4e7e-8d00-e94708d613b2" providerId="AD" clId="Web-{3A2600D8-97B6-2FE0-D4A4-2A6D6D8912DF}" dt="2024-03-13T18:55:36.683" v="17"/>
        <pc:sldMkLst>
          <pc:docMk/>
          <pc:sldMk cId="3119129675" sldId="2147480103"/>
        </pc:sldMkLst>
        <pc:graphicFrameChg chg="mod modGraphic">
          <ac:chgData name="Karmakar, Sumit" userId="S::skarmakar@elogex.com::5d020034-ff2c-4e7e-8d00-e94708d613b2" providerId="AD" clId="Web-{3A2600D8-97B6-2FE0-D4A4-2A6D6D8912DF}" dt="2024-03-13T18:55:36.683" v="17"/>
          <ac:graphicFrameMkLst>
            <pc:docMk/>
            <pc:sldMk cId="3119129675" sldId="2147480103"/>
            <ac:graphicFrameMk id="9" creationId="{082F007F-02ED-83FB-40DE-67CA78B27101}"/>
          </ac:graphicFrameMkLst>
        </pc:graphicFrameChg>
      </pc:sldChg>
      <pc:sldChg chg="addSp delSp modSp add mod replId modTransition modClrScheme delAnim chgLayout">
        <pc:chgData name="Karmakar, Sumit" userId="S::skarmakar@elogex.com::5d020034-ff2c-4e7e-8d00-e94708d613b2" providerId="AD" clId="Web-{3A2600D8-97B6-2FE0-D4A4-2A6D6D8912DF}" dt="2024-03-13T19:07:29.662" v="162"/>
        <pc:sldMkLst>
          <pc:docMk/>
          <pc:sldMk cId="3047443819" sldId="2147480108"/>
        </pc:sldMkLst>
        <pc:spChg chg="mod">
          <ac:chgData name="Karmakar, Sumit" userId="S::skarmakar@elogex.com::5d020034-ff2c-4e7e-8d00-e94708d613b2" providerId="AD" clId="Web-{3A2600D8-97B6-2FE0-D4A4-2A6D6D8912DF}" dt="2024-03-13T19:07:29.662" v="162"/>
          <ac:spMkLst>
            <pc:docMk/>
            <pc:sldMk cId="3047443819" sldId="2147480108"/>
            <ac:spMk id="2" creationId="{0329E297-E798-08B1-A1CC-65371311D18E}"/>
          </ac:spMkLst>
        </pc:spChg>
        <pc:spChg chg="del">
          <ac:chgData name="Karmakar, Sumit" userId="S::skarmakar@elogex.com::5d020034-ff2c-4e7e-8d00-e94708d613b2" providerId="AD" clId="Web-{3A2600D8-97B6-2FE0-D4A4-2A6D6D8912DF}" dt="2024-03-13T18:55:55.106" v="31"/>
          <ac:spMkLst>
            <pc:docMk/>
            <pc:sldMk cId="3047443819" sldId="2147480108"/>
            <ac:spMk id="4" creationId="{F0697669-9F12-8549-3D44-D25329EFB281}"/>
          </ac:spMkLst>
        </pc:spChg>
        <pc:spChg chg="del">
          <ac:chgData name="Karmakar, Sumit" userId="S::skarmakar@elogex.com::5d020034-ff2c-4e7e-8d00-e94708d613b2" providerId="AD" clId="Web-{3A2600D8-97B6-2FE0-D4A4-2A6D6D8912DF}" dt="2024-03-13T18:55:55.106" v="30"/>
          <ac:spMkLst>
            <pc:docMk/>
            <pc:sldMk cId="3047443819" sldId="2147480108"/>
            <ac:spMk id="7" creationId="{A159AD5B-6053-5908-9F59-2480BFB85440}"/>
          </ac:spMkLst>
        </pc:spChg>
        <pc:spChg chg="add del mod">
          <ac:chgData name="Karmakar, Sumit" userId="S::skarmakar@elogex.com::5d020034-ff2c-4e7e-8d00-e94708d613b2" providerId="AD" clId="Web-{3A2600D8-97B6-2FE0-D4A4-2A6D6D8912DF}" dt="2024-03-13T19:07:29.505" v="161"/>
          <ac:spMkLst>
            <pc:docMk/>
            <pc:sldMk cId="3047443819" sldId="2147480108"/>
            <ac:spMk id="8" creationId="{8A6EEFEB-C78F-F07E-2312-372313D8B322}"/>
          </ac:spMkLst>
        </pc:spChg>
        <pc:spChg chg="del">
          <ac:chgData name="Karmakar, Sumit" userId="S::skarmakar@elogex.com::5d020034-ff2c-4e7e-8d00-e94708d613b2" providerId="AD" clId="Web-{3A2600D8-97B6-2FE0-D4A4-2A6D6D8912DF}" dt="2024-03-13T18:55:55.106" v="29"/>
          <ac:spMkLst>
            <pc:docMk/>
            <pc:sldMk cId="3047443819" sldId="2147480108"/>
            <ac:spMk id="10" creationId="{C7F26662-E20E-39BE-53B4-81587EE8E670}"/>
          </ac:spMkLst>
        </pc:spChg>
        <pc:spChg chg="del">
          <ac:chgData name="Karmakar, Sumit" userId="S::skarmakar@elogex.com::5d020034-ff2c-4e7e-8d00-e94708d613b2" providerId="AD" clId="Web-{3A2600D8-97B6-2FE0-D4A4-2A6D6D8912DF}" dt="2024-03-13T18:55:55.106" v="27"/>
          <ac:spMkLst>
            <pc:docMk/>
            <pc:sldMk cId="3047443819" sldId="2147480108"/>
            <ac:spMk id="22" creationId="{D3F763AC-3959-D499-CC30-519B8AC5E73F}"/>
          </ac:spMkLst>
        </pc:spChg>
        <pc:spChg chg="del">
          <ac:chgData name="Karmakar, Sumit" userId="S::skarmakar@elogex.com::5d020034-ff2c-4e7e-8d00-e94708d613b2" providerId="AD" clId="Web-{3A2600D8-97B6-2FE0-D4A4-2A6D6D8912DF}" dt="2024-03-13T18:55:55.106" v="26"/>
          <ac:spMkLst>
            <pc:docMk/>
            <pc:sldMk cId="3047443819" sldId="2147480108"/>
            <ac:spMk id="26" creationId="{98219922-8DC4-8D1E-E189-523A0112C31E}"/>
          </ac:spMkLst>
        </pc:spChg>
        <pc:spChg chg="del">
          <ac:chgData name="Karmakar, Sumit" userId="S::skarmakar@elogex.com::5d020034-ff2c-4e7e-8d00-e94708d613b2" providerId="AD" clId="Web-{3A2600D8-97B6-2FE0-D4A4-2A6D6D8912DF}" dt="2024-03-13T18:55:55.106" v="24"/>
          <ac:spMkLst>
            <pc:docMk/>
            <pc:sldMk cId="3047443819" sldId="2147480108"/>
            <ac:spMk id="32" creationId="{17C8BC3F-6C8E-4431-BD68-228F1B16F934}"/>
          </ac:spMkLst>
        </pc:spChg>
        <pc:grpChg chg="del">
          <ac:chgData name="Karmakar, Sumit" userId="S::skarmakar@elogex.com::5d020034-ff2c-4e7e-8d00-e94708d613b2" providerId="AD" clId="Web-{3A2600D8-97B6-2FE0-D4A4-2A6D6D8912DF}" dt="2024-03-13T18:55:55.106" v="28"/>
          <ac:grpSpMkLst>
            <pc:docMk/>
            <pc:sldMk cId="3047443819" sldId="2147480108"/>
            <ac:grpSpMk id="18" creationId="{7B9C20FA-A501-9911-0A73-89E617573AA4}"/>
          </ac:grpSpMkLst>
        </pc:grpChg>
        <pc:grpChg chg="del">
          <ac:chgData name="Karmakar, Sumit" userId="S::skarmakar@elogex.com::5d020034-ff2c-4e7e-8d00-e94708d613b2" providerId="AD" clId="Web-{3A2600D8-97B6-2FE0-D4A4-2A6D6D8912DF}" dt="2024-03-13T18:55:55.106" v="25"/>
          <ac:grpSpMkLst>
            <pc:docMk/>
            <pc:sldMk cId="3047443819" sldId="2147480108"/>
            <ac:grpSpMk id="30" creationId="{BCD9222C-38AB-4E20-152C-32DCB7EE43A2}"/>
          </ac:grpSpMkLst>
        </pc:grpChg>
        <pc:grpChg chg="del">
          <ac:chgData name="Karmakar, Sumit" userId="S::skarmakar@elogex.com::5d020034-ff2c-4e7e-8d00-e94708d613b2" providerId="AD" clId="Web-{3A2600D8-97B6-2FE0-D4A4-2A6D6D8912DF}" dt="2024-03-13T18:55:55.106" v="23"/>
          <ac:grpSpMkLst>
            <pc:docMk/>
            <pc:sldMk cId="3047443819" sldId="2147480108"/>
            <ac:grpSpMk id="36" creationId="{BCB9D3F8-7984-9DD3-11E3-C13B96C3AF7B}"/>
          </ac:grpSpMkLst>
        </pc:grpChg>
        <pc:grpChg chg="del">
          <ac:chgData name="Karmakar, Sumit" userId="S::skarmakar@elogex.com::5d020034-ff2c-4e7e-8d00-e94708d613b2" providerId="AD" clId="Web-{3A2600D8-97B6-2FE0-D4A4-2A6D6D8912DF}" dt="2024-03-13T18:55:55.090" v="22"/>
          <ac:grpSpMkLst>
            <pc:docMk/>
            <pc:sldMk cId="3047443819" sldId="2147480108"/>
            <ac:grpSpMk id="40" creationId="{CF78D80F-9525-1311-726A-AFDCE448820E}"/>
          </ac:grpSpMkLst>
        </pc:grpChg>
        <pc:grpChg chg="del">
          <ac:chgData name="Karmakar, Sumit" userId="S::skarmakar@elogex.com::5d020034-ff2c-4e7e-8d00-e94708d613b2" providerId="AD" clId="Web-{3A2600D8-97B6-2FE0-D4A4-2A6D6D8912DF}" dt="2024-03-13T18:55:55.090" v="21"/>
          <ac:grpSpMkLst>
            <pc:docMk/>
            <pc:sldMk cId="3047443819" sldId="2147480108"/>
            <ac:grpSpMk id="46" creationId="{EC1D4968-EF26-ECE5-6D9D-64BF433D3A7D}"/>
          </ac:grpSpMkLst>
        </pc:grpChg>
        <pc:grpChg chg="del">
          <ac:chgData name="Karmakar, Sumit" userId="S::skarmakar@elogex.com::5d020034-ff2c-4e7e-8d00-e94708d613b2" providerId="AD" clId="Web-{3A2600D8-97B6-2FE0-D4A4-2A6D6D8912DF}" dt="2024-03-13T18:55:55.090" v="20"/>
          <ac:grpSpMkLst>
            <pc:docMk/>
            <pc:sldMk cId="3047443819" sldId="2147480108"/>
            <ac:grpSpMk id="62" creationId="{1D2994B6-2693-DF55-0A0C-43128BC15FD0}"/>
          </ac:grpSpMkLst>
        </pc:grpChg>
        <pc:grpChg chg="del">
          <ac:chgData name="Karmakar, Sumit" userId="S::skarmakar@elogex.com::5d020034-ff2c-4e7e-8d00-e94708d613b2" providerId="AD" clId="Web-{3A2600D8-97B6-2FE0-D4A4-2A6D6D8912DF}" dt="2024-03-13T18:55:55.090" v="19"/>
          <ac:grpSpMkLst>
            <pc:docMk/>
            <pc:sldMk cId="3047443819" sldId="2147480108"/>
            <ac:grpSpMk id="70" creationId="{FB90B166-D1F0-2AF7-C7C1-322A6BAF66DF}"/>
          </ac:grpSpMkLst>
        </pc:grpChg>
        <pc:graphicFrameChg chg="add mod modGraphic">
          <ac:chgData name="Karmakar, Sumit" userId="S::skarmakar@elogex.com::5d020034-ff2c-4e7e-8d00-e94708d613b2" providerId="AD" clId="Web-{3A2600D8-97B6-2FE0-D4A4-2A6D6D8912DF}" dt="2024-03-13T19:07:29.662" v="162"/>
          <ac:graphicFrameMkLst>
            <pc:docMk/>
            <pc:sldMk cId="3047443819" sldId="2147480108"/>
            <ac:graphicFrameMk id="3" creationId="{C53419E0-C0DA-26D8-BC2D-36FA7F7A1265}"/>
          </ac:graphicFrameMkLst>
        </pc:graphicFrameChg>
      </pc:sldChg>
    </pc:docChg>
  </pc:docChgLst>
  <pc:docChgLst>
    <pc:chgData name="LeMons, Daniel" userId="S::dlemons@elogex.com::65097b81-23d4-411d-8a8e-a78030669d81" providerId="AD" clId="Web-{62186DDB-6401-725E-5A25-613CDAE64A11}"/>
    <pc:docChg chg="addSld delSld modSld modSection">
      <pc:chgData name="LeMons, Daniel" userId="S::dlemons@elogex.com::65097b81-23d4-411d-8a8e-a78030669d81" providerId="AD" clId="Web-{62186DDB-6401-725E-5A25-613CDAE64A11}" dt="2024-03-28T08:47:34.486" v="100"/>
      <pc:docMkLst>
        <pc:docMk/>
      </pc:docMkLst>
      <pc:sldChg chg="del">
        <pc:chgData name="LeMons, Daniel" userId="S::dlemons@elogex.com::65097b81-23d4-411d-8a8e-a78030669d81" providerId="AD" clId="Web-{62186DDB-6401-725E-5A25-613CDAE64A11}" dt="2024-03-28T08:47:34.486" v="100"/>
        <pc:sldMkLst>
          <pc:docMk/>
          <pc:sldMk cId="1765818760" sldId="2147480113"/>
        </pc:sldMkLst>
      </pc:sldChg>
      <pc:sldChg chg="modSp">
        <pc:chgData name="LeMons, Daniel" userId="S::dlemons@elogex.com::65097b81-23d4-411d-8a8e-a78030669d81" providerId="AD" clId="Web-{62186DDB-6401-725E-5A25-613CDAE64A11}" dt="2024-03-28T08:41:54.333" v="39"/>
        <pc:sldMkLst>
          <pc:docMk/>
          <pc:sldMk cId="1287383114" sldId="2147480126"/>
        </pc:sldMkLst>
        <pc:graphicFrameChg chg="mod modGraphic">
          <ac:chgData name="LeMons, Daniel" userId="S::dlemons@elogex.com::65097b81-23d4-411d-8a8e-a78030669d81" providerId="AD" clId="Web-{62186DDB-6401-725E-5A25-613CDAE64A11}" dt="2024-03-28T08:39:45.656" v="19"/>
          <ac:graphicFrameMkLst>
            <pc:docMk/>
            <pc:sldMk cId="1287383114" sldId="2147480126"/>
            <ac:graphicFrameMk id="3" creationId="{CA9C21C4-2AEC-CC4C-240D-B02DAA76F564}"/>
          </ac:graphicFrameMkLst>
        </pc:graphicFrameChg>
        <pc:graphicFrameChg chg="mod modGraphic">
          <ac:chgData name="LeMons, Daniel" userId="S::dlemons@elogex.com::65097b81-23d4-411d-8a8e-a78030669d81" providerId="AD" clId="Web-{62186DDB-6401-725E-5A25-613CDAE64A11}" dt="2024-03-28T08:41:54.333" v="39"/>
          <ac:graphicFrameMkLst>
            <pc:docMk/>
            <pc:sldMk cId="1287383114" sldId="2147480126"/>
            <ac:graphicFrameMk id="17" creationId="{39C2D995-BEAD-B4F2-BAA5-251C62A1C594}"/>
          </ac:graphicFrameMkLst>
        </pc:graphicFrameChg>
        <pc:graphicFrameChg chg="mod modGraphic">
          <ac:chgData name="LeMons, Daniel" userId="S::dlemons@elogex.com::65097b81-23d4-411d-8a8e-a78030669d81" providerId="AD" clId="Web-{62186DDB-6401-725E-5A25-613CDAE64A11}" dt="2024-03-28T08:41:11.019" v="23"/>
          <ac:graphicFrameMkLst>
            <pc:docMk/>
            <pc:sldMk cId="1287383114" sldId="2147480126"/>
            <ac:graphicFrameMk id="55" creationId="{BAD24F01-D7F4-BF36-D16C-1074A0E6487F}"/>
          </ac:graphicFrameMkLst>
        </pc:graphicFrameChg>
      </pc:sldChg>
      <pc:sldChg chg="addSp delSp modSp">
        <pc:chgData name="LeMons, Daniel" userId="S::dlemons@elogex.com::65097b81-23d4-411d-8a8e-a78030669d81" providerId="AD" clId="Web-{62186DDB-6401-725E-5A25-613CDAE64A11}" dt="2024-03-28T08:47:13.360" v="98" actId="20577"/>
        <pc:sldMkLst>
          <pc:docMk/>
          <pc:sldMk cId="3455251766" sldId="2147480129"/>
        </pc:sldMkLst>
        <pc:spChg chg="mod">
          <ac:chgData name="LeMons, Daniel" userId="S::dlemons@elogex.com::65097b81-23d4-411d-8a8e-a78030669d81" providerId="AD" clId="Web-{62186DDB-6401-725E-5A25-613CDAE64A11}" dt="2024-03-28T08:47:13.360" v="98" actId="20577"/>
          <ac:spMkLst>
            <pc:docMk/>
            <pc:sldMk cId="3455251766" sldId="2147480129"/>
            <ac:spMk id="2" creationId="{0329E297-E798-08B1-A1CC-65371311D18E}"/>
          </ac:spMkLst>
        </pc:spChg>
        <pc:spChg chg="mod">
          <ac:chgData name="LeMons, Daniel" userId="S::dlemons@elogex.com::65097b81-23d4-411d-8a8e-a78030669d81" providerId="AD" clId="Web-{62186DDB-6401-725E-5A25-613CDAE64A11}" dt="2024-03-28T08:45:56.920" v="80" actId="20577"/>
          <ac:spMkLst>
            <pc:docMk/>
            <pc:sldMk cId="3455251766" sldId="2147480129"/>
            <ac:spMk id="3" creationId="{27CB820E-ED16-2A8E-E527-F8E89105E1DE}"/>
          </ac:spMkLst>
        </pc:spChg>
        <pc:spChg chg="add del mod">
          <ac:chgData name="LeMons, Daniel" userId="S::dlemons@elogex.com::65097b81-23d4-411d-8a8e-a78030669d81" providerId="AD" clId="Web-{62186DDB-6401-725E-5A25-613CDAE64A11}" dt="2024-03-28T08:44:19.338" v="53"/>
          <ac:spMkLst>
            <pc:docMk/>
            <pc:sldMk cId="3455251766" sldId="2147480129"/>
            <ac:spMk id="5" creationId="{ACA393EB-151A-701E-E8B1-131408E18CDC}"/>
          </ac:spMkLst>
        </pc:spChg>
        <pc:spChg chg="add mod">
          <ac:chgData name="LeMons, Daniel" userId="S::dlemons@elogex.com::65097b81-23d4-411d-8a8e-a78030669d81" providerId="AD" clId="Web-{62186DDB-6401-725E-5A25-613CDAE64A11}" dt="2024-03-28T08:46:56.375" v="96" actId="1076"/>
          <ac:spMkLst>
            <pc:docMk/>
            <pc:sldMk cId="3455251766" sldId="2147480129"/>
            <ac:spMk id="6" creationId="{ACA393EB-151A-701E-E8B1-131408E18CDC}"/>
          </ac:spMkLst>
        </pc:spChg>
        <pc:picChg chg="mod">
          <ac:chgData name="LeMons, Daniel" userId="S::dlemons@elogex.com::65097b81-23d4-411d-8a8e-a78030669d81" providerId="AD" clId="Web-{62186DDB-6401-725E-5A25-613CDAE64A11}" dt="2024-03-28T08:44:39.573" v="60" actId="1076"/>
          <ac:picMkLst>
            <pc:docMk/>
            <pc:sldMk cId="3455251766" sldId="2147480129"/>
            <ac:picMk id="4" creationId="{4B9DAF42-D801-41FD-8C1C-E4E1F80E3B20}"/>
          </ac:picMkLst>
        </pc:picChg>
        <pc:picChg chg="mod">
          <ac:chgData name="LeMons, Daniel" userId="S::dlemons@elogex.com::65097b81-23d4-411d-8a8e-a78030669d81" providerId="AD" clId="Web-{62186DDB-6401-725E-5A25-613CDAE64A11}" dt="2024-03-28T08:44:39.542" v="59" actId="1076"/>
          <ac:picMkLst>
            <pc:docMk/>
            <pc:sldMk cId="3455251766" sldId="2147480129"/>
            <ac:picMk id="9" creationId="{8F07AA6B-201B-C667-D103-745BA75D89DC}"/>
          </ac:picMkLst>
        </pc:picChg>
      </pc:sldChg>
      <pc:sldChg chg="delSp modSp">
        <pc:chgData name="LeMons, Daniel" userId="S::dlemons@elogex.com::65097b81-23d4-411d-8a8e-a78030669d81" providerId="AD" clId="Web-{62186DDB-6401-725E-5A25-613CDAE64A11}" dt="2024-03-28T08:42:47.038" v="48" actId="1076"/>
        <pc:sldMkLst>
          <pc:docMk/>
          <pc:sldMk cId="954045621" sldId="2147480131"/>
        </pc:sldMkLst>
        <pc:spChg chg="mod">
          <ac:chgData name="LeMons, Daniel" userId="S::dlemons@elogex.com::65097b81-23d4-411d-8a8e-a78030669d81" providerId="AD" clId="Web-{62186DDB-6401-725E-5A25-613CDAE64A11}" dt="2024-03-28T08:42:47.038" v="48" actId="1076"/>
          <ac:spMkLst>
            <pc:docMk/>
            <pc:sldMk cId="954045621" sldId="2147480131"/>
            <ac:spMk id="3" creationId="{95EACCFC-1AB4-E705-39CF-082950901B82}"/>
          </ac:spMkLst>
        </pc:spChg>
        <pc:spChg chg="mod">
          <ac:chgData name="LeMons, Daniel" userId="S::dlemons@elogex.com::65097b81-23d4-411d-8a8e-a78030669d81" providerId="AD" clId="Web-{62186DDB-6401-725E-5A25-613CDAE64A11}" dt="2024-03-28T08:42:46.991" v="47" actId="1076"/>
          <ac:spMkLst>
            <pc:docMk/>
            <pc:sldMk cId="954045621" sldId="2147480131"/>
            <ac:spMk id="4" creationId="{53D61D74-7667-418B-79BA-8B3D88D7D0F6}"/>
          </ac:spMkLst>
        </pc:spChg>
        <pc:spChg chg="del">
          <ac:chgData name="LeMons, Daniel" userId="S::dlemons@elogex.com::65097b81-23d4-411d-8a8e-a78030669d81" providerId="AD" clId="Web-{62186DDB-6401-725E-5A25-613CDAE64A11}" dt="2024-03-28T08:42:40.459" v="46"/>
          <ac:spMkLst>
            <pc:docMk/>
            <pc:sldMk cId="954045621" sldId="2147480131"/>
            <ac:spMk id="7" creationId="{6B6625C7-C764-022A-AE1D-8A27119DEADF}"/>
          </ac:spMkLst>
        </pc:spChg>
      </pc:sldChg>
      <pc:sldChg chg="delSp modSp">
        <pc:chgData name="LeMons, Daniel" userId="S::dlemons@elogex.com::65097b81-23d4-411d-8a8e-a78030669d81" providerId="AD" clId="Web-{62186DDB-6401-725E-5A25-613CDAE64A11}" dt="2024-03-28T08:42:33.912" v="45" actId="1076"/>
        <pc:sldMkLst>
          <pc:docMk/>
          <pc:sldMk cId="1943466375" sldId="2147480132"/>
        </pc:sldMkLst>
        <pc:spChg chg="mod">
          <ac:chgData name="LeMons, Daniel" userId="S::dlemons@elogex.com::65097b81-23d4-411d-8a8e-a78030669d81" providerId="AD" clId="Web-{62186DDB-6401-725E-5A25-613CDAE64A11}" dt="2024-03-28T08:42:33.865" v="44" actId="1076"/>
          <ac:spMkLst>
            <pc:docMk/>
            <pc:sldMk cId="1943466375" sldId="2147480132"/>
            <ac:spMk id="2" creationId="{7C082A7E-E310-17E3-E129-649341E980C1}"/>
          </ac:spMkLst>
        </pc:spChg>
        <pc:spChg chg="mod">
          <ac:chgData name="LeMons, Daniel" userId="S::dlemons@elogex.com::65097b81-23d4-411d-8a8e-a78030669d81" providerId="AD" clId="Web-{62186DDB-6401-725E-5A25-613CDAE64A11}" dt="2024-03-28T08:42:33.850" v="43" actId="1076"/>
          <ac:spMkLst>
            <pc:docMk/>
            <pc:sldMk cId="1943466375" sldId="2147480132"/>
            <ac:spMk id="5" creationId="{AD6DA829-B88B-9940-7A69-8B2210CED0EA}"/>
          </ac:spMkLst>
        </pc:spChg>
        <pc:spChg chg="mod">
          <ac:chgData name="LeMons, Daniel" userId="S::dlemons@elogex.com::65097b81-23d4-411d-8a8e-a78030669d81" providerId="AD" clId="Web-{62186DDB-6401-725E-5A25-613CDAE64A11}" dt="2024-03-28T08:42:33.912" v="45" actId="1076"/>
          <ac:spMkLst>
            <pc:docMk/>
            <pc:sldMk cId="1943466375" sldId="2147480132"/>
            <ac:spMk id="6" creationId="{67198E3D-3C9A-5220-0DC7-94E7ACF46720}"/>
          </ac:spMkLst>
        </pc:spChg>
        <pc:spChg chg="del mod">
          <ac:chgData name="LeMons, Daniel" userId="S::dlemons@elogex.com::65097b81-23d4-411d-8a8e-a78030669d81" providerId="AD" clId="Web-{62186DDB-6401-725E-5A25-613CDAE64A11}" dt="2024-03-28T08:42:23.552" v="42"/>
          <ac:spMkLst>
            <pc:docMk/>
            <pc:sldMk cId="1943466375" sldId="2147480132"/>
            <ac:spMk id="7" creationId="{6B6625C7-C764-022A-AE1D-8A27119DEADF}"/>
          </ac:spMkLst>
        </pc:spChg>
      </pc:sldChg>
      <pc:sldChg chg="delSp modSp add del replId">
        <pc:chgData name="LeMons, Daniel" userId="S::dlemons@elogex.com::65097b81-23d4-411d-8a8e-a78030669d81" providerId="AD" clId="Web-{62186DDB-6401-725E-5A25-613CDAE64A11}" dt="2024-03-28T08:47:23.267" v="99"/>
        <pc:sldMkLst>
          <pc:docMk/>
          <pc:sldMk cId="1851272784" sldId="2147480136"/>
        </pc:sldMkLst>
        <pc:spChg chg="del">
          <ac:chgData name="LeMons, Daniel" userId="S::dlemons@elogex.com::65097b81-23d4-411d-8a8e-a78030669d81" providerId="AD" clId="Web-{62186DDB-6401-725E-5A25-613CDAE64A11}" dt="2024-03-28T08:46:08.311" v="82"/>
          <ac:spMkLst>
            <pc:docMk/>
            <pc:sldMk cId="1851272784" sldId="2147480136"/>
            <ac:spMk id="3" creationId="{27CB820E-ED16-2A8E-E527-F8E89105E1DE}"/>
          </ac:spMkLst>
        </pc:spChg>
        <pc:spChg chg="del mod">
          <ac:chgData name="LeMons, Daniel" userId="S::dlemons@elogex.com::65097b81-23d4-411d-8a8e-a78030669d81" providerId="AD" clId="Web-{62186DDB-6401-725E-5A25-613CDAE64A11}" dt="2024-03-28T08:46:50.062" v="94"/>
          <ac:spMkLst>
            <pc:docMk/>
            <pc:sldMk cId="1851272784" sldId="2147480136"/>
            <ac:spMk id="5" creationId="{ACA393EB-151A-701E-E8B1-131408E18CDC}"/>
          </ac:spMkLst>
        </pc:spChg>
        <pc:picChg chg="del">
          <ac:chgData name="LeMons, Daniel" userId="S::dlemons@elogex.com::65097b81-23d4-411d-8a8e-a78030669d81" providerId="AD" clId="Web-{62186DDB-6401-725E-5A25-613CDAE64A11}" dt="2024-03-28T08:46:25.890" v="84"/>
          <ac:picMkLst>
            <pc:docMk/>
            <pc:sldMk cId="1851272784" sldId="2147480136"/>
            <ac:picMk id="4" creationId="{4B9DAF42-D801-41FD-8C1C-E4E1F80E3B20}"/>
          </ac:picMkLst>
        </pc:picChg>
        <pc:picChg chg="del">
          <ac:chgData name="LeMons, Daniel" userId="S::dlemons@elogex.com::65097b81-23d4-411d-8a8e-a78030669d81" providerId="AD" clId="Web-{62186DDB-6401-725E-5A25-613CDAE64A11}" dt="2024-03-28T08:46:25.937" v="85"/>
          <ac:picMkLst>
            <pc:docMk/>
            <pc:sldMk cId="1851272784" sldId="2147480136"/>
            <ac:picMk id="9" creationId="{8F07AA6B-201B-C667-D103-745BA75D89DC}"/>
          </ac:picMkLst>
        </pc:picChg>
      </pc:sldChg>
    </pc:docChg>
  </pc:docChgLst>
  <pc:docChgLst>
    <pc:chgData name="Karmakar, Sumit" userId="S::skarmakar@elogex.com::5d020034-ff2c-4e7e-8d00-e94708d613b2" providerId="AD" clId="Web-{8699D9FE-0B63-7B7C-EB66-77464B97D2C2}"/>
    <pc:docChg chg="addSld delSld modSld sldOrd modSection">
      <pc:chgData name="Karmakar, Sumit" userId="S::skarmakar@elogex.com::5d020034-ff2c-4e7e-8d00-e94708d613b2" providerId="AD" clId="Web-{8699D9FE-0B63-7B7C-EB66-77464B97D2C2}" dt="2024-03-27T20:22:56.420" v="16" actId="1076"/>
      <pc:docMkLst>
        <pc:docMk/>
      </pc:docMkLst>
      <pc:sldChg chg="del">
        <pc:chgData name="Karmakar, Sumit" userId="S::skarmakar@elogex.com::5d020034-ff2c-4e7e-8d00-e94708d613b2" providerId="AD" clId="Web-{8699D9FE-0B63-7B7C-EB66-77464B97D2C2}" dt="2024-03-27T20:21:11.603" v="1"/>
        <pc:sldMkLst>
          <pc:docMk/>
          <pc:sldMk cId="124787207" sldId="2147480125"/>
        </pc:sldMkLst>
      </pc:sldChg>
      <pc:sldChg chg="del">
        <pc:chgData name="Karmakar, Sumit" userId="S::skarmakar@elogex.com::5d020034-ff2c-4e7e-8d00-e94708d613b2" providerId="AD" clId="Web-{8699D9FE-0B63-7B7C-EB66-77464B97D2C2}" dt="2024-03-27T20:21:53.870" v="7"/>
        <pc:sldMkLst>
          <pc:docMk/>
          <pc:sldMk cId="1287383114" sldId="2147480126"/>
        </pc:sldMkLst>
      </pc:sldChg>
      <pc:sldChg chg="del">
        <pc:chgData name="Karmakar, Sumit" userId="S::skarmakar@elogex.com::5d020034-ff2c-4e7e-8d00-e94708d613b2" providerId="AD" clId="Web-{8699D9FE-0B63-7B7C-EB66-77464B97D2C2}" dt="2024-03-27T20:21:53.854" v="6"/>
        <pc:sldMkLst>
          <pc:docMk/>
          <pc:sldMk cId="3502658628" sldId="2147480127"/>
        </pc:sldMkLst>
      </pc:sldChg>
      <pc:sldChg chg="del">
        <pc:chgData name="Karmakar, Sumit" userId="S::skarmakar@elogex.com::5d020034-ff2c-4e7e-8d00-e94708d613b2" providerId="AD" clId="Web-{8699D9FE-0B63-7B7C-EB66-77464B97D2C2}" dt="2024-03-27T20:21:53.854" v="5"/>
        <pc:sldMkLst>
          <pc:docMk/>
          <pc:sldMk cId="971165485" sldId="2147480128"/>
        </pc:sldMkLst>
      </pc:sldChg>
      <pc:sldChg chg="modSp add">
        <pc:chgData name="Karmakar, Sumit" userId="S::skarmakar@elogex.com::5d020034-ff2c-4e7e-8d00-e94708d613b2" providerId="AD" clId="Web-{8699D9FE-0B63-7B7C-EB66-77464B97D2C2}" dt="2024-03-27T20:22:56.420" v="16" actId="1076"/>
        <pc:sldMkLst>
          <pc:docMk/>
          <pc:sldMk cId="452994539" sldId="2147480130"/>
        </pc:sldMkLst>
        <pc:picChg chg="mod">
          <ac:chgData name="Karmakar, Sumit" userId="S::skarmakar@elogex.com::5d020034-ff2c-4e7e-8d00-e94708d613b2" providerId="AD" clId="Web-{8699D9FE-0B63-7B7C-EB66-77464B97D2C2}" dt="2024-03-27T20:22:56.420" v="16" actId="1076"/>
          <ac:picMkLst>
            <pc:docMk/>
            <pc:sldMk cId="452994539" sldId="2147480130"/>
            <ac:picMk id="35" creationId="{28C7CD9C-4A8F-0BB2-A3EA-F5634170334B}"/>
          </ac:picMkLst>
        </pc:picChg>
      </pc:sldChg>
      <pc:sldChg chg="add ord">
        <pc:chgData name="Karmakar, Sumit" userId="S::skarmakar@elogex.com::5d020034-ff2c-4e7e-8d00-e94708d613b2" providerId="AD" clId="Web-{8699D9FE-0B63-7B7C-EB66-77464B97D2C2}" dt="2024-03-27T20:22:03.495" v="9"/>
        <pc:sldMkLst>
          <pc:docMk/>
          <pc:sldMk cId="954045621" sldId="2147480131"/>
        </pc:sldMkLst>
      </pc:sldChg>
      <pc:sldChg chg="add ord">
        <pc:chgData name="Karmakar, Sumit" userId="S::skarmakar@elogex.com::5d020034-ff2c-4e7e-8d00-e94708d613b2" providerId="AD" clId="Web-{8699D9FE-0B63-7B7C-EB66-77464B97D2C2}" dt="2024-03-27T20:22:03.495" v="8"/>
        <pc:sldMkLst>
          <pc:docMk/>
          <pc:sldMk cId="1943466375" sldId="2147480132"/>
        </pc:sldMkLst>
      </pc:sldChg>
      <pc:sldChg chg="add ord">
        <pc:chgData name="Karmakar, Sumit" userId="S::skarmakar@elogex.com::5d020034-ff2c-4e7e-8d00-e94708d613b2" providerId="AD" clId="Web-{8699D9FE-0B63-7B7C-EB66-77464B97D2C2}" dt="2024-03-27T20:22:03.495" v="10"/>
        <pc:sldMkLst>
          <pc:docMk/>
          <pc:sldMk cId="3725083184" sldId="2147480133"/>
        </pc:sldMkLst>
      </pc:sldChg>
    </pc:docChg>
  </pc:docChgLst>
  <pc:docChgLst>
    <pc:chgData name="Angadi, Ravikanth" userId="S::rangadi@elogex.com::72ba6dc8-cc6a-41cf-8fd1-15fa51c0a144" providerId="AD" clId="Web-{09578F5E-A596-AD69-ACF2-4B8397BAA55C}"/>
    <pc:docChg chg="addSld delSld modSld modSection">
      <pc:chgData name="Angadi, Ravikanth" userId="S::rangadi@elogex.com::72ba6dc8-cc6a-41cf-8fd1-15fa51c0a144" providerId="AD" clId="Web-{09578F5E-A596-AD69-ACF2-4B8397BAA55C}" dt="2024-03-27T22:28:35.437" v="1753" actId="20577"/>
      <pc:docMkLst>
        <pc:docMk/>
      </pc:docMkLst>
      <pc:sldChg chg="delSp del">
        <pc:chgData name="Angadi, Ravikanth" userId="S::rangadi@elogex.com::72ba6dc8-cc6a-41cf-8fd1-15fa51c0a144" providerId="AD" clId="Web-{09578F5E-A596-AD69-ACF2-4B8397BAA55C}" dt="2024-03-27T21:19:15.306" v="536"/>
        <pc:sldMkLst>
          <pc:docMk/>
          <pc:sldMk cId="2345600220" sldId="2147480105"/>
        </pc:sldMkLst>
        <pc:picChg chg="del">
          <ac:chgData name="Angadi, Ravikanth" userId="S::rangadi@elogex.com::72ba6dc8-cc6a-41cf-8fd1-15fa51c0a144" providerId="AD" clId="Web-{09578F5E-A596-AD69-ACF2-4B8397BAA55C}" dt="2024-03-27T20:58:11.511" v="476"/>
          <ac:picMkLst>
            <pc:docMk/>
            <pc:sldMk cId="2345600220" sldId="2147480105"/>
            <ac:picMk id="8" creationId="{59CA4BD9-308B-0286-94AD-EC85AB10CB37}"/>
          </ac:picMkLst>
        </pc:picChg>
      </pc:sldChg>
      <pc:sldChg chg="addSp delSp modSp add replId">
        <pc:chgData name="Angadi, Ravikanth" userId="S::rangadi@elogex.com::72ba6dc8-cc6a-41cf-8fd1-15fa51c0a144" providerId="AD" clId="Web-{09578F5E-A596-AD69-ACF2-4B8397BAA55C}" dt="2024-03-27T22:28:35.437" v="1753" actId="20577"/>
        <pc:sldMkLst>
          <pc:docMk/>
          <pc:sldMk cId="3455251766" sldId="2147480129"/>
        </pc:sldMkLst>
        <pc:spChg chg="mod">
          <ac:chgData name="Angadi, Ravikanth" userId="S::rangadi@elogex.com::72ba6dc8-cc6a-41cf-8fd1-15fa51c0a144" providerId="AD" clId="Web-{09578F5E-A596-AD69-ACF2-4B8397BAA55C}" dt="2024-03-27T22:16:03.717" v="1563" actId="20577"/>
          <ac:spMkLst>
            <pc:docMk/>
            <pc:sldMk cId="3455251766" sldId="2147480129"/>
            <ac:spMk id="2" creationId="{0329E297-E798-08B1-A1CC-65371311D18E}"/>
          </ac:spMkLst>
        </pc:spChg>
        <pc:spChg chg="add del mod">
          <ac:chgData name="Angadi, Ravikanth" userId="S::rangadi@elogex.com::72ba6dc8-cc6a-41cf-8fd1-15fa51c0a144" providerId="AD" clId="Web-{09578F5E-A596-AD69-ACF2-4B8397BAA55C}" dt="2024-03-27T22:28:35.437" v="1753" actId="20577"/>
          <ac:spMkLst>
            <pc:docMk/>
            <pc:sldMk cId="3455251766" sldId="2147480129"/>
            <ac:spMk id="3" creationId="{27CB820E-ED16-2A8E-E527-F8E89105E1DE}"/>
          </ac:spMkLst>
        </pc:spChg>
        <pc:picChg chg="add mod">
          <ac:chgData name="Angadi, Ravikanth" userId="S::rangadi@elogex.com::72ba6dc8-cc6a-41cf-8fd1-15fa51c0a144" providerId="AD" clId="Web-{09578F5E-A596-AD69-ACF2-4B8397BAA55C}" dt="2024-03-27T22:13:15.975" v="1537" actId="14100"/>
          <ac:picMkLst>
            <pc:docMk/>
            <pc:sldMk cId="3455251766" sldId="2147480129"/>
            <ac:picMk id="4" creationId="{4B9DAF42-D801-41FD-8C1C-E4E1F80E3B20}"/>
          </ac:picMkLst>
        </pc:picChg>
        <pc:picChg chg="del">
          <ac:chgData name="Angadi, Ravikanth" userId="S::rangadi@elogex.com::72ba6dc8-cc6a-41cf-8fd1-15fa51c0a144" providerId="AD" clId="Web-{09578F5E-A596-AD69-ACF2-4B8397BAA55C}" dt="2024-03-27T20:17:41.272" v="1"/>
          <ac:picMkLst>
            <pc:docMk/>
            <pc:sldMk cId="3455251766" sldId="2147480129"/>
            <ac:picMk id="8" creationId="{59CA4BD9-308B-0286-94AD-EC85AB10CB37}"/>
          </ac:picMkLst>
        </pc:picChg>
        <pc:picChg chg="mod">
          <ac:chgData name="Angadi, Ravikanth" userId="S::rangadi@elogex.com::72ba6dc8-cc6a-41cf-8fd1-15fa51c0a144" providerId="AD" clId="Web-{09578F5E-A596-AD69-ACF2-4B8397BAA55C}" dt="2024-03-27T22:16:32.765" v="1569" actId="1076"/>
          <ac:picMkLst>
            <pc:docMk/>
            <pc:sldMk cId="3455251766" sldId="2147480129"/>
            <ac:picMk id="9" creationId="{8F07AA6B-201B-C667-D103-745BA75D89DC}"/>
          </ac:picMkLst>
        </pc:picChg>
      </pc:sldChg>
      <pc:sldChg chg="addSp delSp modSp add del replId">
        <pc:chgData name="Angadi, Ravikanth" userId="S::rangadi@elogex.com::72ba6dc8-cc6a-41cf-8fd1-15fa51c0a144" providerId="AD" clId="Web-{09578F5E-A596-AD69-ACF2-4B8397BAA55C}" dt="2024-03-27T22:11:22.955" v="1528"/>
        <pc:sldMkLst>
          <pc:docMk/>
          <pc:sldMk cId="1525515742" sldId="2147480134"/>
        </pc:sldMkLst>
        <pc:spChg chg="mod">
          <ac:chgData name="Angadi, Ravikanth" userId="S::rangadi@elogex.com::72ba6dc8-cc6a-41cf-8fd1-15fa51c0a144" providerId="AD" clId="Web-{09578F5E-A596-AD69-ACF2-4B8397BAA55C}" dt="2024-03-27T21:30:51.251" v="975" actId="20577"/>
          <ac:spMkLst>
            <pc:docMk/>
            <pc:sldMk cId="1525515742" sldId="2147480134"/>
            <ac:spMk id="3" creationId="{27CB820E-ED16-2A8E-E527-F8E89105E1DE}"/>
          </ac:spMkLst>
        </pc:spChg>
        <pc:picChg chg="add del mod">
          <ac:chgData name="Angadi, Ravikanth" userId="S::rangadi@elogex.com::72ba6dc8-cc6a-41cf-8fd1-15fa51c0a144" providerId="AD" clId="Web-{09578F5E-A596-AD69-ACF2-4B8397BAA55C}" dt="2024-03-27T22:10:54.219" v="1520"/>
          <ac:picMkLst>
            <pc:docMk/>
            <pc:sldMk cId="1525515742" sldId="2147480134"/>
            <ac:picMk id="4" creationId="{1EC4833B-9350-BDCE-54BD-AE3C5CF7BB79}"/>
          </ac:picMkLst>
        </pc:picChg>
        <pc:picChg chg="del">
          <ac:chgData name="Angadi, Ravikanth" userId="S::rangadi@elogex.com::72ba6dc8-cc6a-41cf-8fd1-15fa51c0a144" providerId="AD" clId="Web-{09578F5E-A596-AD69-ACF2-4B8397BAA55C}" dt="2024-03-27T21:16:30.300" v="519"/>
          <ac:picMkLst>
            <pc:docMk/>
            <pc:sldMk cId="1525515742" sldId="2147480134"/>
            <ac:picMk id="9" creationId="{8F07AA6B-201B-C667-D103-745BA75D89DC}"/>
          </ac:picMkLst>
        </pc:picChg>
      </pc:sldChg>
    </pc:docChg>
  </pc:docChgLst>
  <pc:docChgLst>
    <pc:chgData name="Casey, Crystal" userId="112a6fb3-eee2-44e9-bb9d-19c88604b7c8" providerId="ADAL" clId="{4BB5D996-7464-4B78-B5FF-E9288019850B}"/>
    <pc:docChg chg="delSld modSld sldOrd modSection">
      <pc:chgData name="Casey, Crystal" userId="112a6fb3-eee2-44e9-bb9d-19c88604b7c8" providerId="ADAL" clId="{4BB5D996-7464-4B78-B5FF-E9288019850B}" dt="2024-01-25T02:10:56.213" v="25" actId="20577"/>
      <pc:docMkLst>
        <pc:docMk/>
      </pc:docMkLst>
      <pc:sldChg chg="del">
        <pc:chgData name="Casey, Crystal" userId="112a6fb3-eee2-44e9-bb9d-19c88604b7c8" providerId="ADAL" clId="{4BB5D996-7464-4B78-B5FF-E9288019850B}" dt="2024-01-25T02:07:43.956" v="4" actId="47"/>
        <pc:sldMkLst>
          <pc:docMk/>
          <pc:sldMk cId="390595999" sldId="311"/>
        </pc:sldMkLst>
      </pc:sldChg>
      <pc:sldChg chg="modSp mod">
        <pc:chgData name="Casey, Crystal" userId="112a6fb3-eee2-44e9-bb9d-19c88604b7c8" providerId="ADAL" clId="{4BB5D996-7464-4B78-B5FF-E9288019850B}" dt="2024-01-25T02:10:56.213" v="25" actId="20577"/>
        <pc:sldMkLst>
          <pc:docMk/>
          <pc:sldMk cId="3934650505" sldId="2147480035"/>
        </pc:sldMkLst>
        <pc:spChg chg="mod">
          <ac:chgData name="Casey, Crystal" userId="112a6fb3-eee2-44e9-bb9d-19c88604b7c8" providerId="ADAL" clId="{4BB5D996-7464-4B78-B5FF-E9288019850B}" dt="2024-01-25T02:10:56.213" v="25" actId="20577"/>
          <ac:spMkLst>
            <pc:docMk/>
            <pc:sldMk cId="3934650505" sldId="2147480035"/>
            <ac:spMk id="4" creationId="{869B021C-0A2D-0974-C759-F09E100EA085}"/>
          </ac:spMkLst>
        </pc:spChg>
      </pc:sldChg>
      <pc:sldChg chg="del">
        <pc:chgData name="Casey, Crystal" userId="112a6fb3-eee2-44e9-bb9d-19c88604b7c8" providerId="ADAL" clId="{4BB5D996-7464-4B78-B5FF-E9288019850B}" dt="2024-01-25T02:07:43.956" v="4" actId="47"/>
        <pc:sldMkLst>
          <pc:docMk/>
          <pc:sldMk cId="3540868476" sldId="2147480039"/>
        </pc:sldMkLst>
      </pc:sldChg>
      <pc:sldChg chg="mod modShow">
        <pc:chgData name="Casey, Crystal" userId="112a6fb3-eee2-44e9-bb9d-19c88604b7c8" providerId="ADAL" clId="{4BB5D996-7464-4B78-B5FF-E9288019850B}" dt="2024-01-25T02:08:37.264" v="6" actId="729"/>
        <pc:sldMkLst>
          <pc:docMk/>
          <pc:sldMk cId="3899884770" sldId="2147480057"/>
        </pc:sldMkLst>
      </pc:sldChg>
      <pc:sldChg chg="ord">
        <pc:chgData name="Casey, Crystal" userId="112a6fb3-eee2-44e9-bb9d-19c88604b7c8" providerId="ADAL" clId="{4BB5D996-7464-4B78-B5FF-E9288019850B}" dt="2024-01-25T02:07:41.589" v="3"/>
        <pc:sldMkLst>
          <pc:docMk/>
          <pc:sldMk cId="2476771074" sldId="2147480058"/>
        </pc:sldMkLst>
      </pc:sldChg>
      <pc:sldChg chg="mod ord modShow">
        <pc:chgData name="Casey, Crystal" userId="112a6fb3-eee2-44e9-bb9d-19c88604b7c8" providerId="ADAL" clId="{4BB5D996-7464-4B78-B5FF-E9288019850B}" dt="2024-01-25T02:07:51.501" v="5" actId="729"/>
        <pc:sldMkLst>
          <pc:docMk/>
          <pc:sldMk cId="2990194005" sldId="2147480059"/>
        </pc:sldMkLst>
      </pc:sldChg>
    </pc:docChg>
  </pc:docChgLst>
  <pc:docChgLst>
    <pc:chgData name="Karmakar, Sumit" userId="S::skarmakar@elogex.com::5d020034-ff2c-4e7e-8d00-e94708d613b2" providerId="AD" clId="Web-{75B628E0-3AEA-8325-9F18-7561CCFFA2AE}"/>
    <pc:docChg chg="addSld delSld modSld modSection">
      <pc:chgData name="Karmakar, Sumit" userId="S::skarmakar@elogex.com::5d020034-ff2c-4e7e-8d00-e94708d613b2" providerId="AD" clId="Web-{75B628E0-3AEA-8325-9F18-7561CCFFA2AE}" dt="2024-03-14T20:29:40.341" v="183"/>
      <pc:docMkLst>
        <pc:docMk/>
      </pc:docMkLst>
      <pc:sldChg chg="addSp delSp modSp">
        <pc:chgData name="Karmakar, Sumit" userId="S::skarmakar@elogex.com::5d020034-ff2c-4e7e-8d00-e94708d613b2" providerId="AD" clId="Web-{75B628E0-3AEA-8325-9F18-7561CCFFA2AE}" dt="2024-03-14T19:30:45.504" v="87" actId="1076"/>
        <pc:sldMkLst>
          <pc:docMk/>
          <pc:sldMk cId="565861938" sldId="2147480095"/>
        </pc:sldMkLst>
        <pc:spChg chg="add mod">
          <ac:chgData name="Karmakar, Sumit" userId="S::skarmakar@elogex.com::5d020034-ff2c-4e7e-8d00-e94708d613b2" providerId="AD" clId="Web-{75B628E0-3AEA-8325-9F18-7561CCFFA2AE}" dt="2024-03-14T19:30:33.269" v="70" actId="14100"/>
          <ac:spMkLst>
            <pc:docMk/>
            <pc:sldMk cId="565861938" sldId="2147480095"/>
            <ac:spMk id="3" creationId="{F3DA6107-33E1-9438-D065-7B23A77E442B}"/>
          </ac:spMkLst>
        </pc:spChg>
        <pc:spChg chg="add mod">
          <ac:chgData name="Karmakar, Sumit" userId="S::skarmakar@elogex.com::5d020034-ff2c-4e7e-8d00-e94708d613b2" providerId="AD" clId="Web-{75B628E0-3AEA-8325-9F18-7561CCFFA2AE}" dt="2024-03-14T19:30:33.269" v="69" actId="14100"/>
          <ac:spMkLst>
            <pc:docMk/>
            <pc:sldMk cId="565861938" sldId="2147480095"/>
            <ac:spMk id="4" creationId="{CC4D759E-91DC-1EF6-3378-6D0AA70590B9}"/>
          </ac:spMkLst>
        </pc:spChg>
        <pc:spChg chg="add mod">
          <ac:chgData name="Karmakar, Sumit" userId="S::skarmakar@elogex.com::5d020034-ff2c-4e7e-8d00-e94708d613b2" providerId="AD" clId="Web-{75B628E0-3AEA-8325-9F18-7561CCFFA2AE}" dt="2024-03-14T19:30:33.269" v="68" actId="14100"/>
          <ac:spMkLst>
            <pc:docMk/>
            <pc:sldMk cId="565861938" sldId="2147480095"/>
            <ac:spMk id="5" creationId="{9EC53D68-A263-06FE-93B4-B648803621B0}"/>
          </ac:spMkLst>
        </pc:spChg>
        <pc:spChg chg="mod">
          <ac:chgData name="Karmakar, Sumit" userId="S::skarmakar@elogex.com::5d020034-ff2c-4e7e-8d00-e94708d613b2" providerId="AD" clId="Web-{75B628E0-3AEA-8325-9F18-7561CCFFA2AE}" dt="2024-03-14T19:30:33.269" v="84" actId="14100"/>
          <ac:spMkLst>
            <pc:docMk/>
            <pc:sldMk cId="565861938" sldId="2147480095"/>
            <ac:spMk id="9" creationId="{07CE4040-D44C-B20B-3297-1B5F090F8C99}"/>
          </ac:spMkLst>
        </pc:spChg>
        <pc:spChg chg="mod">
          <ac:chgData name="Karmakar, Sumit" userId="S::skarmakar@elogex.com::5d020034-ff2c-4e7e-8d00-e94708d613b2" providerId="AD" clId="Web-{75B628E0-3AEA-8325-9F18-7561CCFFA2AE}" dt="2024-03-14T19:30:33.269" v="75" actId="14100"/>
          <ac:spMkLst>
            <pc:docMk/>
            <pc:sldMk cId="565861938" sldId="2147480095"/>
            <ac:spMk id="11" creationId="{9B8733AF-1ACA-0817-500E-BF850E95ECC4}"/>
          </ac:spMkLst>
        </pc:spChg>
        <pc:spChg chg="mod">
          <ac:chgData name="Karmakar, Sumit" userId="S::skarmakar@elogex.com::5d020034-ff2c-4e7e-8d00-e94708d613b2" providerId="AD" clId="Web-{75B628E0-3AEA-8325-9F18-7561CCFFA2AE}" dt="2024-03-14T19:30:33.269" v="83" actId="14100"/>
          <ac:spMkLst>
            <pc:docMk/>
            <pc:sldMk cId="565861938" sldId="2147480095"/>
            <ac:spMk id="13" creationId="{C1D28996-B9E7-8C64-127C-378031DDAC5B}"/>
          </ac:spMkLst>
        </pc:spChg>
        <pc:spChg chg="mod">
          <ac:chgData name="Karmakar, Sumit" userId="S::skarmakar@elogex.com::5d020034-ff2c-4e7e-8d00-e94708d613b2" providerId="AD" clId="Web-{75B628E0-3AEA-8325-9F18-7561CCFFA2AE}" dt="2024-03-14T19:30:33.269" v="81" actId="14100"/>
          <ac:spMkLst>
            <pc:docMk/>
            <pc:sldMk cId="565861938" sldId="2147480095"/>
            <ac:spMk id="19" creationId="{4D995FCE-2224-CDDB-DDEA-4F6A2FB80C72}"/>
          </ac:spMkLst>
        </pc:spChg>
        <pc:spChg chg="mod">
          <ac:chgData name="Karmakar, Sumit" userId="S::skarmakar@elogex.com::5d020034-ff2c-4e7e-8d00-e94708d613b2" providerId="AD" clId="Web-{75B628E0-3AEA-8325-9F18-7561CCFFA2AE}" dt="2024-03-14T19:30:33.269" v="80" actId="14100"/>
          <ac:spMkLst>
            <pc:docMk/>
            <pc:sldMk cId="565861938" sldId="2147480095"/>
            <ac:spMk id="21" creationId="{80FEDC7B-E799-1C2B-1C3F-CDD3197062CA}"/>
          </ac:spMkLst>
        </pc:spChg>
        <pc:spChg chg="mod">
          <ac:chgData name="Karmakar, Sumit" userId="S::skarmakar@elogex.com::5d020034-ff2c-4e7e-8d00-e94708d613b2" providerId="AD" clId="Web-{75B628E0-3AEA-8325-9F18-7561CCFFA2AE}" dt="2024-03-14T19:30:33.269" v="79" actId="14100"/>
          <ac:spMkLst>
            <pc:docMk/>
            <pc:sldMk cId="565861938" sldId="2147480095"/>
            <ac:spMk id="23" creationId="{920ABBEB-F283-196D-8086-99FAA1F4F9B3}"/>
          </ac:spMkLst>
        </pc:spChg>
        <pc:spChg chg="mod">
          <ac:chgData name="Karmakar, Sumit" userId="S::skarmakar@elogex.com::5d020034-ff2c-4e7e-8d00-e94708d613b2" providerId="AD" clId="Web-{75B628E0-3AEA-8325-9F18-7561CCFFA2AE}" dt="2024-03-14T19:30:33.269" v="78" actId="14100"/>
          <ac:spMkLst>
            <pc:docMk/>
            <pc:sldMk cId="565861938" sldId="2147480095"/>
            <ac:spMk id="25" creationId="{0E961777-BCE0-B3C3-9228-16DF9679EB1C}"/>
          </ac:spMkLst>
        </pc:spChg>
        <pc:spChg chg="mod">
          <ac:chgData name="Karmakar, Sumit" userId="S::skarmakar@elogex.com::5d020034-ff2c-4e7e-8d00-e94708d613b2" providerId="AD" clId="Web-{75B628E0-3AEA-8325-9F18-7561CCFFA2AE}" dt="2024-03-14T19:30:33.269" v="74" actId="14100"/>
          <ac:spMkLst>
            <pc:docMk/>
            <pc:sldMk cId="565861938" sldId="2147480095"/>
            <ac:spMk id="27" creationId="{851BF37F-AE54-9EC4-7B8E-B0D6E1D8DCB4}"/>
          </ac:spMkLst>
        </pc:spChg>
        <pc:spChg chg="mod">
          <ac:chgData name="Karmakar, Sumit" userId="S::skarmakar@elogex.com::5d020034-ff2c-4e7e-8d00-e94708d613b2" providerId="AD" clId="Web-{75B628E0-3AEA-8325-9F18-7561CCFFA2AE}" dt="2024-03-14T19:30:33.269" v="73" actId="14100"/>
          <ac:spMkLst>
            <pc:docMk/>
            <pc:sldMk cId="565861938" sldId="2147480095"/>
            <ac:spMk id="29" creationId="{4E17A846-0BA2-FE67-6117-4A9F9C2AC2DA}"/>
          </ac:spMkLst>
        </pc:spChg>
        <pc:picChg chg="mod">
          <ac:chgData name="Karmakar, Sumit" userId="S::skarmakar@elogex.com::5d020034-ff2c-4e7e-8d00-e94708d613b2" providerId="AD" clId="Web-{75B628E0-3AEA-8325-9F18-7561CCFFA2AE}" dt="2024-03-14T19:30:33.269" v="85" actId="14100"/>
          <ac:picMkLst>
            <pc:docMk/>
            <pc:sldMk cId="565861938" sldId="2147480095"/>
            <ac:picMk id="6" creationId="{564F8508-1A4F-8581-325B-7D5F8C677BDF}"/>
          </ac:picMkLst>
        </pc:picChg>
        <pc:picChg chg="add mod">
          <ac:chgData name="Karmakar, Sumit" userId="S::skarmakar@elogex.com::5d020034-ff2c-4e7e-8d00-e94708d613b2" providerId="AD" clId="Web-{75B628E0-3AEA-8325-9F18-7561CCFFA2AE}" dt="2024-03-14T19:30:33.269" v="67" actId="14100"/>
          <ac:picMkLst>
            <pc:docMk/>
            <pc:sldMk cId="565861938" sldId="2147480095"/>
            <ac:picMk id="7" creationId="{AF11AF0C-C878-7741-2649-FB09F74C4FC4}"/>
          </ac:picMkLst>
        </pc:picChg>
        <pc:picChg chg="add mod">
          <ac:chgData name="Karmakar, Sumit" userId="S::skarmakar@elogex.com::5d020034-ff2c-4e7e-8d00-e94708d613b2" providerId="AD" clId="Web-{75B628E0-3AEA-8325-9F18-7561CCFFA2AE}" dt="2024-03-14T19:30:45.504" v="87" actId="1076"/>
          <ac:picMkLst>
            <pc:docMk/>
            <pc:sldMk cId="565861938" sldId="2147480095"/>
            <ac:picMk id="8" creationId="{1781B0B7-43CD-DBB4-66E6-BB6A6CA4A975}"/>
          </ac:picMkLst>
        </pc:picChg>
        <pc:picChg chg="mod">
          <ac:chgData name="Karmakar, Sumit" userId="S::skarmakar@elogex.com::5d020034-ff2c-4e7e-8d00-e94708d613b2" providerId="AD" clId="Web-{75B628E0-3AEA-8325-9F18-7561CCFFA2AE}" dt="2024-03-14T19:30:33.269" v="82" actId="14100"/>
          <ac:picMkLst>
            <pc:docMk/>
            <pc:sldMk cId="565861938" sldId="2147480095"/>
            <ac:picMk id="15" creationId="{8A5CF876-DC73-2936-0A37-5DC57B6D5068}"/>
          </ac:picMkLst>
        </pc:picChg>
        <pc:picChg chg="mod">
          <ac:chgData name="Karmakar, Sumit" userId="S::skarmakar@elogex.com::5d020034-ff2c-4e7e-8d00-e94708d613b2" providerId="AD" clId="Web-{75B628E0-3AEA-8325-9F18-7561CCFFA2AE}" dt="2024-03-14T19:30:33.269" v="77" actId="14100"/>
          <ac:picMkLst>
            <pc:docMk/>
            <pc:sldMk cId="565861938" sldId="2147480095"/>
            <ac:picMk id="33" creationId="{1211DC14-FB69-49C8-17E3-A52DE2956DE6}"/>
          </ac:picMkLst>
        </pc:picChg>
        <pc:picChg chg="mod">
          <ac:chgData name="Karmakar, Sumit" userId="S::skarmakar@elogex.com::5d020034-ff2c-4e7e-8d00-e94708d613b2" providerId="AD" clId="Web-{75B628E0-3AEA-8325-9F18-7561CCFFA2AE}" dt="2024-03-14T19:30:33.269" v="76" actId="14100"/>
          <ac:picMkLst>
            <pc:docMk/>
            <pc:sldMk cId="565861938" sldId="2147480095"/>
            <ac:picMk id="48" creationId="{C214F85E-9E03-BBF1-C7A1-9B77DDE3A3F9}"/>
          </ac:picMkLst>
        </pc:picChg>
        <pc:picChg chg="del mod">
          <ac:chgData name="Karmakar, Sumit" userId="S::skarmakar@elogex.com::5d020034-ff2c-4e7e-8d00-e94708d613b2" providerId="AD" clId="Web-{75B628E0-3AEA-8325-9F18-7561CCFFA2AE}" dt="2024-03-14T19:29:38.564" v="34"/>
          <ac:picMkLst>
            <pc:docMk/>
            <pc:sldMk cId="565861938" sldId="2147480095"/>
            <ac:picMk id="50" creationId="{0EE71DD9-68F2-73DF-03D9-8F26D1DB79CC}"/>
          </ac:picMkLst>
        </pc:picChg>
        <pc:picChg chg="mod">
          <ac:chgData name="Karmakar, Sumit" userId="S::skarmakar@elogex.com::5d020034-ff2c-4e7e-8d00-e94708d613b2" providerId="AD" clId="Web-{75B628E0-3AEA-8325-9F18-7561CCFFA2AE}" dt="2024-03-14T19:30:33.269" v="72" actId="14100"/>
          <ac:picMkLst>
            <pc:docMk/>
            <pc:sldMk cId="565861938" sldId="2147480095"/>
            <ac:picMk id="52" creationId="{BA4BA1F2-EA5A-2C6C-6D6C-0BB978DEA1C8}"/>
          </ac:picMkLst>
        </pc:picChg>
        <pc:picChg chg="mod">
          <ac:chgData name="Karmakar, Sumit" userId="S::skarmakar@elogex.com::5d020034-ff2c-4e7e-8d00-e94708d613b2" providerId="AD" clId="Web-{75B628E0-3AEA-8325-9F18-7561CCFFA2AE}" dt="2024-03-14T19:30:33.269" v="71" actId="14100"/>
          <ac:picMkLst>
            <pc:docMk/>
            <pc:sldMk cId="565861938" sldId="2147480095"/>
            <ac:picMk id="54" creationId="{5F4AE74D-BB62-4130-F0A2-3FAA4A7D8817}"/>
          </ac:picMkLst>
        </pc:picChg>
      </pc:sldChg>
      <pc:sldChg chg="addSp delSp modSp add del replId delAnim">
        <pc:chgData name="Karmakar, Sumit" userId="S::skarmakar@elogex.com::5d020034-ff2c-4e7e-8d00-e94708d613b2" providerId="AD" clId="Web-{75B628E0-3AEA-8325-9F18-7561CCFFA2AE}" dt="2024-03-14T20:29:40.341" v="183"/>
        <pc:sldMkLst>
          <pc:docMk/>
          <pc:sldMk cId="2676064034" sldId="2147480113"/>
        </pc:sldMkLst>
        <pc:spChg chg="del">
          <ac:chgData name="Karmakar, Sumit" userId="S::skarmakar@elogex.com::5d020034-ff2c-4e7e-8d00-e94708d613b2" providerId="AD" clId="Web-{75B628E0-3AEA-8325-9F18-7561CCFFA2AE}" dt="2024-03-14T20:24:10.321" v="95"/>
          <ac:spMkLst>
            <pc:docMk/>
            <pc:sldMk cId="2676064034" sldId="2147480113"/>
            <ac:spMk id="4" creationId="{F0697669-9F12-8549-3D44-D25329EFB281}"/>
          </ac:spMkLst>
        </pc:spChg>
        <pc:spChg chg="del">
          <ac:chgData name="Karmakar, Sumit" userId="S::skarmakar@elogex.com::5d020034-ff2c-4e7e-8d00-e94708d613b2" providerId="AD" clId="Web-{75B628E0-3AEA-8325-9F18-7561CCFFA2AE}" dt="2024-03-14T20:24:14.056" v="101"/>
          <ac:spMkLst>
            <pc:docMk/>
            <pc:sldMk cId="2676064034" sldId="2147480113"/>
            <ac:spMk id="7" creationId="{A159AD5B-6053-5908-9F59-2480BFB85440}"/>
          </ac:spMkLst>
        </pc:spChg>
        <pc:spChg chg="del">
          <ac:chgData name="Karmakar, Sumit" userId="S::skarmakar@elogex.com::5d020034-ff2c-4e7e-8d00-e94708d613b2" providerId="AD" clId="Web-{75B628E0-3AEA-8325-9F18-7561CCFFA2AE}" dt="2024-03-14T20:24:14.056" v="100"/>
          <ac:spMkLst>
            <pc:docMk/>
            <pc:sldMk cId="2676064034" sldId="2147480113"/>
            <ac:spMk id="10" creationId="{C7F26662-E20E-39BE-53B4-81587EE8E670}"/>
          </ac:spMkLst>
        </pc:spChg>
        <pc:spChg chg="del">
          <ac:chgData name="Karmakar, Sumit" userId="S::skarmakar@elogex.com::5d020034-ff2c-4e7e-8d00-e94708d613b2" providerId="AD" clId="Web-{75B628E0-3AEA-8325-9F18-7561CCFFA2AE}" dt="2024-03-14T20:24:14.056" v="99"/>
          <ac:spMkLst>
            <pc:docMk/>
            <pc:sldMk cId="2676064034" sldId="2147480113"/>
            <ac:spMk id="22" creationId="{D3F763AC-3959-D499-CC30-519B8AC5E73F}"/>
          </ac:spMkLst>
        </pc:spChg>
        <pc:spChg chg="del">
          <ac:chgData name="Karmakar, Sumit" userId="S::skarmakar@elogex.com::5d020034-ff2c-4e7e-8d00-e94708d613b2" providerId="AD" clId="Web-{75B628E0-3AEA-8325-9F18-7561CCFFA2AE}" dt="2024-03-14T20:24:10.321" v="93"/>
          <ac:spMkLst>
            <pc:docMk/>
            <pc:sldMk cId="2676064034" sldId="2147480113"/>
            <ac:spMk id="26" creationId="{98219922-8DC4-8D1E-E189-523A0112C31E}"/>
          </ac:spMkLst>
        </pc:spChg>
        <pc:spChg chg="del">
          <ac:chgData name="Karmakar, Sumit" userId="S::skarmakar@elogex.com::5d020034-ff2c-4e7e-8d00-e94708d613b2" providerId="AD" clId="Web-{75B628E0-3AEA-8325-9F18-7561CCFFA2AE}" dt="2024-03-14T20:24:10.321" v="92"/>
          <ac:spMkLst>
            <pc:docMk/>
            <pc:sldMk cId="2676064034" sldId="2147480113"/>
            <ac:spMk id="32" creationId="{17C8BC3F-6C8E-4431-BD68-228F1B16F934}"/>
          </ac:spMkLst>
        </pc:spChg>
        <pc:grpChg chg="del">
          <ac:chgData name="Karmakar, Sumit" userId="S::skarmakar@elogex.com::5d020034-ff2c-4e7e-8d00-e94708d613b2" providerId="AD" clId="Web-{75B628E0-3AEA-8325-9F18-7561CCFFA2AE}" dt="2024-03-14T20:24:10.321" v="94"/>
          <ac:grpSpMkLst>
            <pc:docMk/>
            <pc:sldMk cId="2676064034" sldId="2147480113"/>
            <ac:grpSpMk id="18" creationId="{7B9C20FA-A501-9911-0A73-89E617573AA4}"/>
          </ac:grpSpMkLst>
        </pc:grpChg>
        <pc:grpChg chg="del">
          <ac:chgData name="Karmakar, Sumit" userId="S::skarmakar@elogex.com::5d020034-ff2c-4e7e-8d00-e94708d613b2" providerId="AD" clId="Web-{75B628E0-3AEA-8325-9F18-7561CCFFA2AE}" dt="2024-03-14T20:24:14.056" v="98"/>
          <ac:grpSpMkLst>
            <pc:docMk/>
            <pc:sldMk cId="2676064034" sldId="2147480113"/>
            <ac:grpSpMk id="30" creationId="{BCD9222C-38AB-4E20-152C-32DCB7EE43A2}"/>
          </ac:grpSpMkLst>
        </pc:grpChg>
        <pc:grpChg chg="del">
          <ac:chgData name="Karmakar, Sumit" userId="S::skarmakar@elogex.com::5d020034-ff2c-4e7e-8d00-e94708d613b2" providerId="AD" clId="Web-{75B628E0-3AEA-8325-9F18-7561CCFFA2AE}" dt="2024-03-14T20:24:14.056" v="97"/>
          <ac:grpSpMkLst>
            <pc:docMk/>
            <pc:sldMk cId="2676064034" sldId="2147480113"/>
            <ac:grpSpMk id="36" creationId="{BCB9D3F8-7984-9DD3-11E3-C13B96C3AF7B}"/>
          </ac:grpSpMkLst>
        </pc:grpChg>
        <pc:grpChg chg="del">
          <ac:chgData name="Karmakar, Sumit" userId="S::skarmakar@elogex.com::5d020034-ff2c-4e7e-8d00-e94708d613b2" providerId="AD" clId="Web-{75B628E0-3AEA-8325-9F18-7561CCFFA2AE}" dt="2024-03-14T20:24:14.056" v="96"/>
          <ac:grpSpMkLst>
            <pc:docMk/>
            <pc:sldMk cId="2676064034" sldId="2147480113"/>
            <ac:grpSpMk id="40" creationId="{CF78D80F-9525-1311-726A-AFDCE448820E}"/>
          </ac:grpSpMkLst>
        </pc:grpChg>
        <pc:grpChg chg="del">
          <ac:chgData name="Karmakar, Sumit" userId="S::skarmakar@elogex.com::5d020034-ff2c-4e7e-8d00-e94708d613b2" providerId="AD" clId="Web-{75B628E0-3AEA-8325-9F18-7561CCFFA2AE}" dt="2024-03-14T20:24:10.321" v="91"/>
          <ac:grpSpMkLst>
            <pc:docMk/>
            <pc:sldMk cId="2676064034" sldId="2147480113"/>
            <ac:grpSpMk id="46" creationId="{EC1D4968-EF26-ECE5-6D9D-64BF433D3A7D}"/>
          </ac:grpSpMkLst>
        </pc:grpChg>
        <pc:grpChg chg="del">
          <ac:chgData name="Karmakar, Sumit" userId="S::skarmakar@elogex.com::5d020034-ff2c-4e7e-8d00-e94708d613b2" providerId="AD" clId="Web-{75B628E0-3AEA-8325-9F18-7561CCFFA2AE}" dt="2024-03-14T20:24:10.321" v="90"/>
          <ac:grpSpMkLst>
            <pc:docMk/>
            <pc:sldMk cId="2676064034" sldId="2147480113"/>
            <ac:grpSpMk id="62" creationId="{1D2994B6-2693-DF55-0A0C-43128BC15FD0}"/>
          </ac:grpSpMkLst>
        </pc:grpChg>
        <pc:grpChg chg="del">
          <ac:chgData name="Karmakar, Sumit" userId="S::skarmakar@elogex.com::5d020034-ff2c-4e7e-8d00-e94708d613b2" providerId="AD" clId="Web-{75B628E0-3AEA-8325-9F18-7561CCFFA2AE}" dt="2024-03-14T20:24:10.321" v="89"/>
          <ac:grpSpMkLst>
            <pc:docMk/>
            <pc:sldMk cId="2676064034" sldId="2147480113"/>
            <ac:grpSpMk id="70" creationId="{FB90B166-D1F0-2AF7-C7C1-322A6BAF66DF}"/>
          </ac:grpSpMkLst>
        </pc:grpChg>
        <pc:graphicFrameChg chg="add del mod modGraphic">
          <ac:chgData name="Karmakar, Sumit" userId="S::skarmakar@elogex.com::5d020034-ff2c-4e7e-8d00-e94708d613b2" providerId="AD" clId="Web-{75B628E0-3AEA-8325-9F18-7561CCFFA2AE}" dt="2024-03-14T20:29:13.340" v="182"/>
          <ac:graphicFrameMkLst>
            <pc:docMk/>
            <pc:sldMk cId="2676064034" sldId="2147480113"/>
            <ac:graphicFrameMk id="3" creationId="{06826C75-691B-3D05-35A8-4BE8996611E6}"/>
          </ac:graphicFrameMkLst>
        </pc:graphicFrameChg>
      </pc:sldChg>
    </pc:docChg>
  </pc:docChgLst>
  <pc:docChgLst>
    <pc:chgData name="Van der Merwe, Erik" userId="a62317fc-2486-4a25-ba5a-86c81a817e31" providerId="ADAL" clId="{8F1B2CBC-9237-4D11-9A58-CC8DD6EFD766}"/>
    <pc:docChg chg="undo redo custSel addSld delSld modSld modSection">
      <pc:chgData name="Van der Merwe, Erik" userId="a62317fc-2486-4a25-ba5a-86c81a817e31" providerId="ADAL" clId="{8F1B2CBC-9237-4D11-9A58-CC8DD6EFD766}" dt="2024-03-15T21:13:02.381" v="1094" actId="2696"/>
      <pc:docMkLst>
        <pc:docMk/>
      </pc:docMkLst>
      <pc:sldChg chg="modSp mod">
        <pc:chgData name="Van der Merwe, Erik" userId="a62317fc-2486-4a25-ba5a-86c81a817e31" providerId="ADAL" clId="{8F1B2CBC-9237-4D11-9A58-CC8DD6EFD766}" dt="2024-03-15T20:24:22.262" v="244" actId="20577"/>
        <pc:sldMkLst>
          <pc:docMk/>
          <pc:sldMk cId="3611435049" sldId="2147480097"/>
        </pc:sldMkLst>
        <pc:spChg chg="mod">
          <ac:chgData name="Van der Merwe, Erik" userId="a62317fc-2486-4a25-ba5a-86c81a817e31" providerId="ADAL" clId="{8F1B2CBC-9237-4D11-9A58-CC8DD6EFD766}" dt="2024-03-15T20:24:22.262" v="244" actId="20577"/>
          <ac:spMkLst>
            <pc:docMk/>
            <pc:sldMk cId="3611435049" sldId="2147480097"/>
            <ac:spMk id="2" creationId="{0329E297-E798-08B1-A1CC-65371311D18E}"/>
          </ac:spMkLst>
        </pc:spChg>
      </pc:sldChg>
      <pc:sldChg chg="addSp delSp modSp mod addAnim delAnim modAnim">
        <pc:chgData name="Van der Merwe, Erik" userId="a62317fc-2486-4a25-ba5a-86c81a817e31" providerId="ADAL" clId="{8F1B2CBC-9237-4D11-9A58-CC8DD6EFD766}" dt="2024-03-15T21:02:48.053" v="686" actId="20577"/>
        <pc:sldMkLst>
          <pc:docMk/>
          <pc:sldMk cId="212255833" sldId="2147480098"/>
        </pc:sldMkLst>
        <pc:spChg chg="mod">
          <ac:chgData name="Van der Merwe, Erik" userId="a62317fc-2486-4a25-ba5a-86c81a817e31" providerId="ADAL" clId="{8F1B2CBC-9237-4D11-9A58-CC8DD6EFD766}" dt="2024-03-15T20:24:09.832" v="243" actId="20577"/>
          <ac:spMkLst>
            <pc:docMk/>
            <pc:sldMk cId="212255833" sldId="2147480098"/>
            <ac:spMk id="2" creationId="{0329E297-E798-08B1-A1CC-65371311D18E}"/>
          </ac:spMkLst>
        </pc:spChg>
        <pc:spChg chg="mod">
          <ac:chgData name="Van der Merwe, Erik" userId="a62317fc-2486-4a25-ba5a-86c81a817e31" providerId="ADAL" clId="{8F1B2CBC-9237-4D11-9A58-CC8DD6EFD766}" dt="2024-03-15T20:07:15.011" v="103" actId="20577"/>
          <ac:spMkLst>
            <pc:docMk/>
            <pc:sldMk cId="212255833" sldId="2147480098"/>
            <ac:spMk id="4" creationId="{F0697669-9F12-8549-3D44-D25329EFB281}"/>
          </ac:spMkLst>
        </pc:spChg>
        <pc:spChg chg="mod">
          <ac:chgData name="Van der Merwe, Erik" userId="a62317fc-2486-4a25-ba5a-86c81a817e31" providerId="ADAL" clId="{8F1B2CBC-9237-4D11-9A58-CC8DD6EFD766}" dt="2024-03-15T21:02:48.053" v="686" actId="20577"/>
          <ac:spMkLst>
            <pc:docMk/>
            <pc:sldMk cId="212255833" sldId="2147480098"/>
            <ac:spMk id="32" creationId="{17C8BC3F-6C8E-4431-BD68-228F1B16F934}"/>
          </ac:spMkLst>
        </pc:spChg>
        <pc:grpChg chg="add del mod">
          <ac:chgData name="Van der Merwe, Erik" userId="a62317fc-2486-4a25-ba5a-86c81a817e31" providerId="ADAL" clId="{8F1B2CBC-9237-4D11-9A58-CC8DD6EFD766}" dt="2024-03-15T20:07:53.885" v="108" actId="165"/>
          <ac:grpSpMkLst>
            <pc:docMk/>
            <pc:sldMk cId="212255833" sldId="2147480098"/>
            <ac:grpSpMk id="46" creationId="{EC1D4968-EF26-ECE5-6D9D-64BF433D3A7D}"/>
          </ac:grpSpMkLst>
        </pc:grpChg>
        <pc:grpChg chg="del">
          <ac:chgData name="Van der Merwe, Erik" userId="a62317fc-2486-4a25-ba5a-86c81a817e31" providerId="ADAL" clId="{8F1B2CBC-9237-4D11-9A58-CC8DD6EFD766}" dt="2024-03-15T20:14:27.499" v="214" actId="165"/>
          <ac:grpSpMkLst>
            <pc:docMk/>
            <pc:sldMk cId="212255833" sldId="2147480098"/>
            <ac:grpSpMk id="70" creationId="{FB90B166-D1F0-2AF7-C7C1-322A6BAF66DF}"/>
          </ac:grpSpMkLst>
        </pc:grpChg>
        <pc:picChg chg="add mod">
          <ac:chgData name="Van der Merwe, Erik" userId="a62317fc-2486-4a25-ba5a-86c81a817e31" providerId="ADAL" clId="{8F1B2CBC-9237-4D11-9A58-CC8DD6EFD766}" dt="2024-03-15T20:08:13.571" v="110" actId="1076"/>
          <ac:picMkLst>
            <pc:docMk/>
            <pc:sldMk cId="212255833" sldId="2147480098"/>
            <ac:picMk id="3" creationId="{99B320BA-DE67-5189-F565-2ECE7CB35D74}"/>
          </ac:picMkLst>
        </pc:picChg>
        <pc:picChg chg="add mod">
          <ac:chgData name="Van der Merwe, Erik" userId="a62317fc-2486-4a25-ba5a-86c81a817e31" providerId="ADAL" clId="{8F1B2CBC-9237-4D11-9A58-CC8DD6EFD766}" dt="2024-03-15T20:08:13.571" v="110" actId="1076"/>
          <ac:picMkLst>
            <pc:docMk/>
            <pc:sldMk cId="212255833" sldId="2147480098"/>
            <ac:picMk id="5" creationId="{7DF733B3-B8A5-3005-1E81-CD463ADCAD30}"/>
          </ac:picMkLst>
        </pc:picChg>
        <pc:picChg chg="mod topLvl">
          <ac:chgData name="Van der Merwe, Erik" userId="a62317fc-2486-4a25-ba5a-86c81a817e31" providerId="ADAL" clId="{8F1B2CBC-9237-4D11-9A58-CC8DD6EFD766}" dt="2024-03-15T20:07:53.885" v="108" actId="165"/>
          <ac:picMkLst>
            <pc:docMk/>
            <pc:sldMk cId="212255833" sldId="2147480098"/>
            <ac:picMk id="42" creationId="{DE7EB35C-55F6-FA06-D306-91867CBFB461}"/>
          </ac:picMkLst>
        </pc:picChg>
        <pc:picChg chg="mod topLvl">
          <ac:chgData name="Van der Merwe, Erik" userId="a62317fc-2486-4a25-ba5a-86c81a817e31" providerId="ADAL" clId="{8F1B2CBC-9237-4D11-9A58-CC8DD6EFD766}" dt="2024-03-15T20:07:53.885" v="108" actId="165"/>
          <ac:picMkLst>
            <pc:docMk/>
            <pc:sldMk cId="212255833" sldId="2147480098"/>
            <ac:picMk id="43" creationId="{1EB3ADD0-C7E9-2567-CBB2-DDC682642EEE}"/>
          </ac:picMkLst>
        </pc:picChg>
        <pc:picChg chg="mod topLvl">
          <ac:chgData name="Van der Merwe, Erik" userId="a62317fc-2486-4a25-ba5a-86c81a817e31" providerId="ADAL" clId="{8F1B2CBC-9237-4D11-9A58-CC8DD6EFD766}" dt="2024-03-15T20:07:53.885" v="108" actId="165"/>
          <ac:picMkLst>
            <pc:docMk/>
            <pc:sldMk cId="212255833" sldId="2147480098"/>
            <ac:picMk id="44" creationId="{3EA3A694-9B81-B527-FE6C-9EE823DE8E9B}"/>
          </ac:picMkLst>
        </pc:picChg>
        <pc:picChg chg="mod topLvl">
          <ac:chgData name="Van der Merwe, Erik" userId="a62317fc-2486-4a25-ba5a-86c81a817e31" providerId="ADAL" clId="{8F1B2CBC-9237-4D11-9A58-CC8DD6EFD766}" dt="2024-03-15T20:07:53.885" v="108" actId="165"/>
          <ac:picMkLst>
            <pc:docMk/>
            <pc:sldMk cId="212255833" sldId="2147480098"/>
            <ac:picMk id="45" creationId="{FF993807-420F-C21F-8170-A11D4951319D}"/>
          </ac:picMkLst>
        </pc:picChg>
        <pc:picChg chg="mod topLvl">
          <ac:chgData name="Van der Merwe, Erik" userId="a62317fc-2486-4a25-ba5a-86c81a817e31" providerId="ADAL" clId="{8F1B2CBC-9237-4D11-9A58-CC8DD6EFD766}" dt="2024-03-15T20:14:27.499" v="214" actId="165"/>
          <ac:picMkLst>
            <pc:docMk/>
            <pc:sldMk cId="212255833" sldId="2147480098"/>
            <ac:picMk id="64" creationId="{8E4C3D7B-BDF9-B3E4-75C7-C356019C7817}"/>
          </ac:picMkLst>
        </pc:picChg>
        <pc:picChg chg="mod topLvl">
          <ac:chgData name="Van der Merwe, Erik" userId="a62317fc-2486-4a25-ba5a-86c81a817e31" providerId="ADAL" clId="{8F1B2CBC-9237-4D11-9A58-CC8DD6EFD766}" dt="2024-03-15T20:14:27.499" v="214" actId="165"/>
          <ac:picMkLst>
            <pc:docMk/>
            <pc:sldMk cId="212255833" sldId="2147480098"/>
            <ac:picMk id="65" creationId="{3D2DB462-DE24-3370-23FA-EC92C7EDA57A}"/>
          </ac:picMkLst>
        </pc:picChg>
        <pc:picChg chg="mod topLvl">
          <ac:chgData name="Van der Merwe, Erik" userId="a62317fc-2486-4a25-ba5a-86c81a817e31" providerId="ADAL" clId="{8F1B2CBC-9237-4D11-9A58-CC8DD6EFD766}" dt="2024-03-15T20:14:27.499" v="214" actId="165"/>
          <ac:picMkLst>
            <pc:docMk/>
            <pc:sldMk cId="212255833" sldId="2147480098"/>
            <ac:picMk id="66" creationId="{19C0B2A3-CD0B-536C-596B-6DFC15759A23}"/>
          </ac:picMkLst>
        </pc:picChg>
        <pc:picChg chg="mod topLvl">
          <ac:chgData name="Van der Merwe, Erik" userId="a62317fc-2486-4a25-ba5a-86c81a817e31" providerId="ADAL" clId="{8F1B2CBC-9237-4D11-9A58-CC8DD6EFD766}" dt="2024-03-15T20:14:55.057" v="241" actId="1038"/>
          <ac:picMkLst>
            <pc:docMk/>
            <pc:sldMk cId="212255833" sldId="2147480098"/>
            <ac:picMk id="67" creationId="{26B0D048-460D-7CBC-1EF9-DDDD468A010B}"/>
          </ac:picMkLst>
        </pc:picChg>
        <pc:picChg chg="mod topLvl">
          <ac:chgData name="Van der Merwe, Erik" userId="a62317fc-2486-4a25-ba5a-86c81a817e31" providerId="ADAL" clId="{8F1B2CBC-9237-4D11-9A58-CC8DD6EFD766}" dt="2024-03-15T20:14:55.057" v="241" actId="1038"/>
          <ac:picMkLst>
            <pc:docMk/>
            <pc:sldMk cId="212255833" sldId="2147480098"/>
            <ac:picMk id="68" creationId="{AA60133A-5225-52A4-D696-544B19FF0300}"/>
          </ac:picMkLst>
        </pc:picChg>
        <pc:picChg chg="mod topLvl">
          <ac:chgData name="Van der Merwe, Erik" userId="a62317fc-2486-4a25-ba5a-86c81a817e31" providerId="ADAL" clId="{8F1B2CBC-9237-4D11-9A58-CC8DD6EFD766}" dt="2024-03-15T20:14:55.057" v="241" actId="1038"/>
          <ac:picMkLst>
            <pc:docMk/>
            <pc:sldMk cId="212255833" sldId="2147480098"/>
            <ac:picMk id="69" creationId="{3F139BA4-D566-ADFB-5EAF-738D1F6ED196}"/>
          </ac:picMkLst>
        </pc:picChg>
      </pc:sldChg>
      <pc:sldChg chg="modSp del mod">
        <pc:chgData name="Van der Merwe, Erik" userId="a62317fc-2486-4a25-ba5a-86c81a817e31" providerId="ADAL" clId="{8F1B2CBC-9237-4D11-9A58-CC8DD6EFD766}" dt="2024-03-15T21:13:02.381" v="1094" actId="2696"/>
        <pc:sldMkLst>
          <pc:docMk/>
          <pc:sldMk cId="3119129675" sldId="2147480103"/>
        </pc:sldMkLst>
        <pc:graphicFrameChg chg="modGraphic">
          <ac:chgData name="Van der Merwe, Erik" userId="a62317fc-2486-4a25-ba5a-86c81a817e31" providerId="ADAL" clId="{8F1B2CBC-9237-4D11-9A58-CC8DD6EFD766}" dt="2024-03-15T20:25:22.152" v="253" actId="20577"/>
          <ac:graphicFrameMkLst>
            <pc:docMk/>
            <pc:sldMk cId="3119129675" sldId="2147480103"/>
            <ac:graphicFrameMk id="9" creationId="{082F007F-02ED-83FB-40DE-67CA78B27101}"/>
          </ac:graphicFrameMkLst>
        </pc:graphicFrameChg>
      </pc:sldChg>
      <pc:sldChg chg="addSp delSp modSp add mod">
        <pc:chgData name="Van der Merwe, Erik" userId="a62317fc-2486-4a25-ba5a-86c81a817e31" providerId="ADAL" clId="{8F1B2CBC-9237-4D11-9A58-CC8DD6EFD766}" dt="2024-03-15T21:12:49.830" v="1093" actId="1035"/>
        <pc:sldMkLst>
          <pc:docMk/>
          <pc:sldMk cId="1765818760" sldId="2147480113"/>
        </pc:sldMkLst>
        <pc:spChg chg="mod">
          <ac:chgData name="Van der Merwe, Erik" userId="a62317fc-2486-4a25-ba5a-86c81a817e31" providerId="ADAL" clId="{8F1B2CBC-9237-4D11-9A58-CC8DD6EFD766}" dt="2024-03-15T21:12:40.288" v="1066" actId="20577"/>
          <ac:spMkLst>
            <pc:docMk/>
            <pc:sldMk cId="1765818760" sldId="2147480113"/>
            <ac:spMk id="2" creationId="{0329E297-E798-08B1-A1CC-65371311D18E}"/>
          </ac:spMkLst>
        </pc:spChg>
        <pc:spChg chg="add mod">
          <ac:chgData name="Van der Merwe, Erik" userId="a62317fc-2486-4a25-ba5a-86c81a817e31" providerId="ADAL" clId="{8F1B2CBC-9237-4D11-9A58-CC8DD6EFD766}" dt="2024-03-15T21:12:49.830" v="1093" actId="1035"/>
          <ac:spMkLst>
            <pc:docMk/>
            <pc:sldMk cId="1765818760" sldId="2147480113"/>
            <ac:spMk id="3" creationId="{9BC057FF-11FD-B2DB-9397-763690850573}"/>
          </ac:spMkLst>
        </pc:spChg>
        <pc:spChg chg="add mod">
          <ac:chgData name="Van der Merwe, Erik" userId="a62317fc-2486-4a25-ba5a-86c81a817e31" providerId="ADAL" clId="{8F1B2CBC-9237-4D11-9A58-CC8DD6EFD766}" dt="2024-03-15T21:12:49.830" v="1093" actId="1035"/>
          <ac:spMkLst>
            <pc:docMk/>
            <pc:sldMk cId="1765818760" sldId="2147480113"/>
            <ac:spMk id="6" creationId="{488C49B2-8A74-B7AD-E253-52FB91724740}"/>
          </ac:spMkLst>
        </pc:spChg>
        <pc:spChg chg="add mod">
          <ac:chgData name="Van der Merwe, Erik" userId="a62317fc-2486-4a25-ba5a-86c81a817e31" providerId="ADAL" clId="{8F1B2CBC-9237-4D11-9A58-CC8DD6EFD766}" dt="2024-03-15T20:34:09.233" v="400"/>
          <ac:spMkLst>
            <pc:docMk/>
            <pc:sldMk cId="1765818760" sldId="2147480113"/>
            <ac:spMk id="7" creationId="{376FF8DB-BEE7-B2F4-C47A-1EA42606E9D4}"/>
          </ac:spMkLst>
        </pc:spChg>
        <pc:spChg chg="add mod">
          <ac:chgData name="Van der Merwe, Erik" userId="a62317fc-2486-4a25-ba5a-86c81a817e31" providerId="ADAL" clId="{8F1B2CBC-9237-4D11-9A58-CC8DD6EFD766}" dt="2024-03-15T21:12:49.830" v="1093" actId="1035"/>
          <ac:spMkLst>
            <pc:docMk/>
            <pc:sldMk cId="1765818760" sldId="2147480113"/>
            <ac:spMk id="11" creationId="{FA9662D8-75B7-6B49-0703-93BC24048EC1}"/>
          </ac:spMkLst>
        </pc:spChg>
        <pc:spChg chg="add mod">
          <ac:chgData name="Van der Merwe, Erik" userId="a62317fc-2486-4a25-ba5a-86c81a817e31" providerId="ADAL" clId="{8F1B2CBC-9237-4D11-9A58-CC8DD6EFD766}" dt="2024-03-15T21:12:49.830" v="1093" actId="1035"/>
          <ac:spMkLst>
            <pc:docMk/>
            <pc:sldMk cId="1765818760" sldId="2147480113"/>
            <ac:spMk id="14" creationId="{3E353470-C7A0-06B0-BD3D-FECD09EAE3A4}"/>
          </ac:spMkLst>
        </pc:spChg>
        <pc:spChg chg="add mod">
          <ac:chgData name="Van der Merwe, Erik" userId="a62317fc-2486-4a25-ba5a-86c81a817e31" providerId="ADAL" clId="{8F1B2CBC-9237-4D11-9A58-CC8DD6EFD766}" dt="2024-03-15T21:12:49.830" v="1093" actId="1035"/>
          <ac:spMkLst>
            <pc:docMk/>
            <pc:sldMk cId="1765818760" sldId="2147480113"/>
            <ac:spMk id="16" creationId="{1C9E1A02-7589-54E0-BACF-508949FA7757}"/>
          </ac:spMkLst>
        </pc:spChg>
        <pc:graphicFrameChg chg="del">
          <ac:chgData name="Van der Merwe, Erik" userId="a62317fc-2486-4a25-ba5a-86c81a817e31" providerId="ADAL" clId="{8F1B2CBC-9237-4D11-9A58-CC8DD6EFD766}" dt="2024-03-15T20:25:09.029" v="246" actId="478"/>
          <ac:graphicFrameMkLst>
            <pc:docMk/>
            <pc:sldMk cId="1765818760" sldId="2147480113"/>
            <ac:graphicFrameMk id="9" creationId="{082F007F-02ED-83FB-40DE-67CA78B27101}"/>
          </ac:graphicFrameMkLst>
        </pc:graphicFrameChg>
        <pc:picChg chg="add mod">
          <ac:chgData name="Van der Merwe, Erik" userId="a62317fc-2486-4a25-ba5a-86c81a817e31" providerId="ADAL" clId="{8F1B2CBC-9237-4D11-9A58-CC8DD6EFD766}" dt="2024-03-15T21:12:49.830" v="1093" actId="1035"/>
          <ac:picMkLst>
            <pc:docMk/>
            <pc:sldMk cId="1765818760" sldId="2147480113"/>
            <ac:picMk id="5" creationId="{FF648999-FD47-2646-74CD-B7F719E1314F}"/>
          </ac:picMkLst>
        </pc:picChg>
        <pc:picChg chg="add mod">
          <ac:chgData name="Van der Merwe, Erik" userId="a62317fc-2486-4a25-ba5a-86c81a817e31" providerId="ADAL" clId="{8F1B2CBC-9237-4D11-9A58-CC8DD6EFD766}" dt="2024-03-15T21:12:49.830" v="1093" actId="1035"/>
          <ac:picMkLst>
            <pc:docMk/>
            <pc:sldMk cId="1765818760" sldId="2147480113"/>
            <ac:picMk id="10" creationId="{50A909B0-BF39-062F-233C-038C4EFDE65E}"/>
          </ac:picMkLst>
        </pc:picChg>
        <pc:picChg chg="add mod">
          <ac:chgData name="Van der Merwe, Erik" userId="a62317fc-2486-4a25-ba5a-86c81a817e31" providerId="ADAL" clId="{8F1B2CBC-9237-4D11-9A58-CC8DD6EFD766}" dt="2024-03-15T21:12:49.830" v="1093" actId="1035"/>
          <ac:picMkLst>
            <pc:docMk/>
            <pc:sldMk cId="1765818760" sldId="2147480113"/>
            <ac:picMk id="13" creationId="{DE8CA397-46DA-E85B-1C8F-8FD1038A0D72}"/>
          </ac:picMkLst>
        </pc:picChg>
        <pc:picChg chg="add mod">
          <ac:chgData name="Van der Merwe, Erik" userId="a62317fc-2486-4a25-ba5a-86c81a817e31" providerId="ADAL" clId="{8F1B2CBC-9237-4D11-9A58-CC8DD6EFD766}" dt="2024-03-15T21:12:49.830" v="1093" actId="1035"/>
          <ac:picMkLst>
            <pc:docMk/>
            <pc:sldMk cId="1765818760" sldId="2147480113"/>
            <ac:picMk id="15" creationId="{F177ED6A-21A3-ADD7-BEDF-6AFC8DFD498A}"/>
          </ac:picMkLst>
        </pc:picChg>
        <pc:picChg chg="add mod">
          <ac:chgData name="Van der Merwe, Erik" userId="a62317fc-2486-4a25-ba5a-86c81a817e31" providerId="ADAL" clId="{8F1B2CBC-9237-4D11-9A58-CC8DD6EFD766}" dt="2024-03-15T21:12:49.830" v="1093" actId="1035"/>
          <ac:picMkLst>
            <pc:docMk/>
            <pc:sldMk cId="1765818760" sldId="2147480113"/>
            <ac:picMk id="17" creationId="{6C0084E6-A4C1-8E14-0EF7-F511A5AE74FE}"/>
          </ac:picMkLst>
        </pc:picChg>
      </pc:sldChg>
    </pc:docChg>
  </pc:docChgLst>
  <pc:docChgLst>
    <pc:chgData name="Karmakar, Sumit" userId="S::skarmakar@elogex.com::5d020034-ff2c-4e7e-8d00-e94708d613b2" providerId="AD" clId="Web-{36CB4A4B-3482-9011-74B9-B32EB19B9B77}"/>
    <pc:docChg chg="addSld delSld modSld sldOrd modSection">
      <pc:chgData name="Karmakar, Sumit" userId="S::skarmakar@elogex.com::5d020034-ff2c-4e7e-8d00-e94708d613b2" providerId="AD" clId="Web-{36CB4A4B-3482-9011-74B9-B32EB19B9B77}" dt="2024-03-19T13:14:54.188" v="21"/>
      <pc:docMkLst>
        <pc:docMk/>
      </pc:docMkLst>
      <pc:sldChg chg="del">
        <pc:chgData name="Karmakar, Sumit" userId="S::skarmakar@elogex.com::5d020034-ff2c-4e7e-8d00-e94708d613b2" providerId="AD" clId="Web-{36CB4A4B-3482-9011-74B9-B32EB19B9B77}" dt="2024-03-19T13:05:02.199" v="0"/>
        <pc:sldMkLst>
          <pc:docMk/>
          <pc:sldMk cId="1815430670" sldId="4199"/>
        </pc:sldMkLst>
      </pc:sldChg>
      <pc:sldChg chg="del">
        <pc:chgData name="Karmakar, Sumit" userId="S::skarmakar@elogex.com::5d020034-ff2c-4e7e-8d00-e94708d613b2" providerId="AD" clId="Web-{36CB4A4B-3482-9011-74B9-B32EB19B9B77}" dt="2024-03-19T13:06:22.796" v="1"/>
        <pc:sldMkLst>
          <pc:docMk/>
          <pc:sldMk cId="1836711800" sldId="4600"/>
        </pc:sldMkLst>
      </pc:sldChg>
      <pc:sldChg chg="del">
        <pc:chgData name="Karmakar, Sumit" userId="S::skarmakar@elogex.com::5d020034-ff2c-4e7e-8d00-e94708d613b2" providerId="AD" clId="Web-{36CB4A4B-3482-9011-74B9-B32EB19B9B77}" dt="2024-03-19T13:06:32.905" v="2"/>
        <pc:sldMkLst>
          <pc:docMk/>
          <pc:sldMk cId="115926976" sldId="4612"/>
        </pc:sldMkLst>
      </pc:sldChg>
      <pc:sldChg chg="ord">
        <pc:chgData name="Karmakar, Sumit" userId="S::skarmakar@elogex.com::5d020034-ff2c-4e7e-8d00-e94708d613b2" providerId="AD" clId="Web-{36CB4A4B-3482-9011-74B9-B32EB19B9B77}" dt="2024-03-19T13:06:46.015" v="3"/>
        <pc:sldMkLst>
          <pc:docMk/>
          <pc:sldMk cId="4239253529" sldId="4781"/>
        </pc:sldMkLst>
      </pc:sldChg>
      <pc:sldChg chg="ord">
        <pc:chgData name="Karmakar, Sumit" userId="S::skarmakar@elogex.com::5d020034-ff2c-4e7e-8d00-e94708d613b2" providerId="AD" clId="Web-{36CB4A4B-3482-9011-74B9-B32EB19B9B77}" dt="2024-03-19T13:06:46.015" v="4"/>
        <pc:sldMkLst>
          <pc:docMk/>
          <pc:sldMk cId="3043437281" sldId="2147471639"/>
        </pc:sldMkLst>
      </pc:sldChg>
      <pc:sldChg chg="modSp">
        <pc:chgData name="Karmakar, Sumit" userId="S::skarmakar@elogex.com::5d020034-ff2c-4e7e-8d00-e94708d613b2" providerId="AD" clId="Web-{36CB4A4B-3482-9011-74B9-B32EB19B9B77}" dt="2024-03-19T13:11:57.260" v="12"/>
        <pc:sldMkLst>
          <pc:docMk/>
          <pc:sldMk cId="1887349041" sldId="2147480082"/>
        </pc:sldMkLst>
        <pc:graphicFrameChg chg="mod modGraphic">
          <ac:chgData name="Karmakar, Sumit" userId="S::skarmakar@elogex.com::5d020034-ff2c-4e7e-8d00-e94708d613b2" providerId="AD" clId="Web-{36CB4A4B-3482-9011-74B9-B32EB19B9B77}" dt="2024-03-19T13:11:57.260" v="12"/>
          <ac:graphicFrameMkLst>
            <pc:docMk/>
            <pc:sldMk cId="1887349041" sldId="2147480082"/>
            <ac:graphicFrameMk id="5" creationId="{CDC76AFD-66C6-FB43-9737-6535F0D1285D}"/>
          </ac:graphicFrameMkLst>
        </pc:graphicFrameChg>
      </pc:sldChg>
      <pc:sldChg chg="modSp">
        <pc:chgData name="Karmakar, Sumit" userId="S::skarmakar@elogex.com::5d020034-ff2c-4e7e-8d00-e94708d613b2" providerId="AD" clId="Web-{36CB4A4B-3482-9011-74B9-B32EB19B9B77}" dt="2024-03-19T13:08:35.535" v="7" actId="14100"/>
        <pc:sldMkLst>
          <pc:docMk/>
          <pc:sldMk cId="2428350765" sldId="2147480083"/>
        </pc:sldMkLst>
        <pc:grpChg chg="mod">
          <ac:chgData name="Karmakar, Sumit" userId="S::skarmakar@elogex.com::5d020034-ff2c-4e7e-8d00-e94708d613b2" providerId="AD" clId="Web-{36CB4A4B-3482-9011-74B9-B32EB19B9B77}" dt="2024-03-19T13:08:35.535" v="7" actId="14100"/>
          <ac:grpSpMkLst>
            <pc:docMk/>
            <pc:sldMk cId="2428350765" sldId="2147480083"/>
            <ac:grpSpMk id="3" creationId="{4828A78D-5A1B-E840-D3BA-C2C8829C356A}"/>
          </ac:grpSpMkLst>
        </pc:grpChg>
      </pc:sldChg>
      <pc:sldChg chg="ord">
        <pc:chgData name="Karmakar, Sumit" userId="S::skarmakar@elogex.com::5d020034-ff2c-4e7e-8d00-e94708d613b2" providerId="AD" clId="Web-{36CB4A4B-3482-9011-74B9-B32EB19B9B77}" dt="2024-03-19T13:07:06" v="5"/>
        <pc:sldMkLst>
          <pc:docMk/>
          <pc:sldMk cId="3611435049" sldId="2147480097"/>
        </pc:sldMkLst>
      </pc:sldChg>
      <pc:sldChg chg="add del">
        <pc:chgData name="Karmakar, Sumit" userId="S::skarmakar@elogex.com::5d020034-ff2c-4e7e-8d00-e94708d613b2" providerId="AD" clId="Web-{36CB4A4B-3482-9011-74B9-B32EB19B9B77}" dt="2024-03-19T13:14:54.188" v="21"/>
        <pc:sldMkLst>
          <pc:docMk/>
          <pc:sldMk cId="212255833" sldId="2147480098"/>
        </pc:sldMkLst>
      </pc:sldChg>
      <pc:sldChg chg="modSp">
        <pc:chgData name="Karmakar, Sumit" userId="S::skarmakar@elogex.com::5d020034-ff2c-4e7e-8d00-e94708d613b2" providerId="AD" clId="Web-{36CB4A4B-3482-9011-74B9-B32EB19B9B77}" dt="2024-03-19T13:14:30.437" v="20" actId="1076"/>
        <pc:sldMkLst>
          <pc:docMk/>
          <pc:sldMk cId="3236129220" sldId="2147480115"/>
        </pc:sldMkLst>
        <pc:grpChg chg="mod">
          <ac:chgData name="Karmakar, Sumit" userId="S::skarmakar@elogex.com::5d020034-ff2c-4e7e-8d00-e94708d613b2" providerId="AD" clId="Web-{36CB4A4B-3482-9011-74B9-B32EB19B9B77}" dt="2024-03-19T13:14:30.296" v="15" actId="1076"/>
          <ac:grpSpMkLst>
            <pc:docMk/>
            <pc:sldMk cId="3236129220" sldId="2147480115"/>
            <ac:grpSpMk id="35" creationId="{D8FE8296-7EA4-15EF-8EE9-B23B6484BD0C}"/>
          </ac:grpSpMkLst>
        </pc:grpChg>
        <pc:grpChg chg="mod">
          <ac:chgData name="Karmakar, Sumit" userId="S::skarmakar@elogex.com::5d020034-ff2c-4e7e-8d00-e94708d613b2" providerId="AD" clId="Web-{36CB4A4B-3482-9011-74B9-B32EB19B9B77}" dt="2024-03-19T13:14:30.312" v="16" actId="1076"/>
          <ac:grpSpMkLst>
            <pc:docMk/>
            <pc:sldMk cId="3236129220" sldId="2147480115"/>
            <ac:grpSpMk id="45" creationId="{BFDE84B3-54F0-DD41-D786-2D8B44B916B4}"/>
          </ac:grpSpMkLst>
        </pc:grpChg>
        <pc:grpChg chg="mod">
          <ac:chgData name="Karmakar, Sumit" userId="S::skarmakar@elogex.com::5d020034-ff2c-4e7e-8d00-e94708d613b2" providerId="AD" clId="Web-{36CB4A4B-3482-9011-74B9-B32EB19B9B77}" dt="2024-03-19T13:14:30.343" v="17" actId="1076"/>
          <ac:grpSpMkLst>
            <pc:docMk/>
            <pc:sldMk cId="3236129220" sldId="2147480115"/>
            <ac:grpSpMk id="58" creationId="{DBE0ED4E-7EB0-BA48-37F3-4C3D35343780}"/>
          </ac:grpSpMkLst>
        </pc:grpChg>
        <pc:grpChg chg="mod">
          <ac:chgData name="Karmakar, Sumit" userId="S::skarmakar@elogex.com::5d020034-ff2c-4e7e-8d00-e94708d613b2" providerId="AD" clId="Web-{36CB4A4B-3482-9011-74B9-B32EB19B9B77}" dt="2024-03-19T13:14:30.375" v="18" actId="1076"/>
          <ac:grpSpMkLst>
            <pc:docMk/>
            <pc:sldMk cId="3236129220" sldId="2147480115"/>
            <ac:grpSpMk id="93" creationId="{1B734ADF-0C5E-D141-CDA8-838045315CC3}"/>
          </ac:grpSpMkLst>
        </pc:grpChg>
        <pc:grpChg chg="mod">
          <ac:chgData name="Karmakar, Sumit" userId="S::skarmakar@elogex.com::5d020034-ff2c-4e7e-8d00-e94708d613b2" providerId="AD" clId="Web-{36CB4A4B-3482-9011-74B9-B32EB19B9B77}" dt="2024-03-19T13:14:30.406" v="19" actId="1076"/>
          <ac:grpSpMkLst>
            <pc:docMk/>
            <pc:sldMk cId="3236129220" sldId="2147480115"/>
            <ac:grpSpMk id="109" creationId="{D7AD6DD3-CBB4-271C-842B-DFA9401FDE9B}"/>
          </ac:grpSpMkLst>
        </pc:grpChg>
        <pc:grpChg chg="mod">
          <ac:chgData name="Karmakar, Sumit" userId="S::skarmakar@elogex.com::5d020034-ff2c-4e7e-8d00-e94708d613b2" providerId="AD" clId="Web-{36CB4A4B-3482-9011-74B9-B32EB19B9B77}" dt="2024-03-19T13:14:30.437" v="20" actId="1076"/>
          <ac:grpSpMkLst>
            <pc:docMk/>
            <pc:sldMk cId="3236129220" sldId="2147480115"/>
            <ac:grpSpMk id="137" creationId="{F837F2C7-D2D2-9354-0622-E6E9A2FA4D5B}"/>
          </ac:grpSpMkLst>
        </pc:grpChg>
        <pc:graphicFrameChg chg="mod modGraphic">
          <ac:chgData name="Karmakar, Sumit" userId="S::skarmakar@elogex.com::5d020034-ff2c-4e7e-8d00-e94708d613b2" providerId="AD" clId="Web-{36CB4A4B-3482-9011-74B9-B32EB19B9B77}" dt="2024-03-19T13:12:54.324" v="14"/>
          <ac:graphicFrameMkLst>
            <pc:docMk/>
            <pc:sldMk cId="3236129220" sldId="2147480115"/>
            <ac:graphicFrameMk id="5" creationId="{CDC76AFD-66C6-FB43-9737-6535F0D1285D}"/>
          </ac:graphicFrameMkLst>
        </pc:graphicFrameChg>
      </pc:sldChg>
    </pc:docChg>
  </pc:docChgLst>
  <pc:docChgLst>
    <pc:chgData name="Karmakar, Sumit" userId="S::skarmakar@elogex.com::5d020034-ff2c-4e7e-8d00-e94708d613b2" providerId="AD" clId="Web-{9E40FD65-39EC-AB2F-BB32-25D6E8348A36}"/>
    <pc:docChg chg="addSld delSld modSld sldOrd modSection">
      <pc:chgData name="Karmakar, Sumit" userId="S::skarmakar@elogex.com::5d020034-ff2c-4e7e-8d00-e94708d613b2" providerId="AD" clId="Web-{9E40FD65-39EC-AB2F-BB32-25D6E8348A36}" dt="2024-02-29T15:01:34.183" v="273" actId="20577"/>
      <pc:docMkLst>
        <pc:docMk/>
      </pc:docMkLst>
      <pc:sldChg chg="delSp modSp">
        <pc:chgData name="Karmakar, Sumit" userId="S::skarmakar@elogex.com::5d020034-ff2c-4e7e-8d00-e94708d613b2" providerId="AD" clId="Web-{9E40FD65-39EC-AB2F-BB32-25D6E8348A36}" dt="2024-02-29T13:52:03.878" v="239" actId="20577"/>
        <pc:sldMkLst>
          <pc:docMk/>
          <pc:sldMk cId="3853618670" sldId="310"/>
        </pc:sldMkLst>
        <pc:spChg chg="del">
          <ac:chgData name="Karmakar, Sumit" userId="S::skarmakar@elogex.com::5d020034-ff2c-4e7e-8d00-e94708d613b2" providerId="AD" clId="Web-{9E40FD65-39EC-AB2F-BB32-25D6E8348A36}" dt="2024-02-29T13:46:16.963" v="27"/>
          <ac:spMkLst>
            <pc:docMk/>
            <pc:sldMk cId="3853618670" sldId="310"/>
            <ac:spMk id="3" creationId="{F6ED7C67-64ED-FE15-79E4-15B983E1476A}"/>
          </ac:spMkLst>
        </pc:spChg>
        <pc:spChg chg="del">
          <ac:chgData name="Karmakar, Sumit" userId="S::skarmakar@elogex.com::5d020034-ff2c-4e7e-8d00-e94708d613b2" providerId="AD" clId="Web-{9E40FD65-39EC-AB2F-BB32-25D6E8348A36}" dt="2024-02-29T13:46:16.963" v="26"/>
          <ac:spMkLst>
            <pc:docMk/>
            <pc:sldMk cId="3853618670" sldId="310"/>
            <ac:spMk id="6" creationId="{6A34592A-F6EC-0292-AEEA-840BD132A407}"/>
          </ac:spMkLst>
        </pc:spChg>
        <pc:spChg chg="del">
          <ac:chgData name="Karmakar, Sumit" userId="S::skarmakar@elogex.com::5d020034-ff2c-4e7e-8d00-e94708d613b2" providerId="AD" clId="Web-{9E40FD65-39EC-AB2F-BB32-25D6E8348A36}" dt="2024-02-29T13:46:16.963" v="31"/>
          <ac:spMkLst>
            <pc:docMk/>
            <pc:sldMk cId="3853618670" sldId="310"/>
            <ac:spMk id="8" creationId="{8A973339-E3FA-DC94-9AD6-D79A377FC614}"/>
          </ac:spMkLst>
        </pc:spChg>
        <pc:spChg chg="del">
          <ac:chgData name="Karmakar, Sumit" userId="S::skarmakar@elogex.com::5d020034-ff2c-4e7e-8d00-e94708d613b2" providerId="AD" clId="Web-{9E40FD65-39EC-AB2F-BB32-25D6E8348A36}" dt="2024-02-29T13:46:16.963" v="29"/>
          <ac:spMkLst>
            <pc:docMk/>
            <pc:sldMk cId="3853618670" sldId="310"/>
            <ac:spMk id="9" creationId="{C93393A2-A326-47E5-1960-A114B044CCF0}"/>
          </ac:spMkLst>
        </pc:spChg>
        <pc:spChg chg="mod">
          <ac:chgData name="Karmakar, Sumit" userId="S::skarmakar@elogex.com::5d020034-ff2c-4e7e-8d00-e94708d613b2" providerId="AD" clId="Web-{9E40FD65-39EC-AB2F-BB32-25D6E8348A36}" dt="2024-02-29T13:52:03.878" v="239" actId="20577"/>
          <ac:spMkLst>
            <pc:docMk/>
            <pc:sldMk cId="3853618670" sldId="310"/>
            <ac:spMk id="10" creationId="{8D4A47EA-9BE7-EF00-303D-E6AF9A73A44F}"/>
          </ac:spMkLst>
        </pc:spChg>
        <pc:spChg chg="del">
          <ac:chgData name="Karmakar, Sumit" userId="S::skarmakar@elogex.com::5d020034-ff2c-4e7e-8d00-e94708d613b2" providerId="AD" clId="Web-{9E40FD65-39EC-AB2F-BB32-25D6E8348A36}" dt="2024-02-29T13:46:16.963" v="28"/>
          <ac:spMkLst>
            <pc:docMk/>
            <pc:sldMk cId="3853618670" sldId="310"/>
            <ac:spMk id="21" creationId="{8D4D99B2-C219-0778-9D5A-141AE7F3C046}"/>
          </ac:spMkLst>
        </pc:spChg>
        <pc:picChg chg="del">
          <ac:chgData name="Karmakar, Sumit" userId="S::skarmakar@elogex.com::5d020034-ff2c-4e7e-8d00-e94708d613b2" providerId="AD" clId="Web-{9E40FD65-39EC-AB2F-BB32-25D6E8348A36}" dt="2024-02-29T13:46:16.963" v="25"/>
          <ac:picMkLst>
            <pc:docMk/>
            <pc:sldMk cId="3853618670" sldId="310"/>
            <ac:picMk id="7" creationId="{9169C282-B8D9-DBA9-31AE-00EF84F5701C}"/>
          </ac:picMkLst>
        </pc:picChg>
        <pc:cxnChg chg="del">
          <ac:chgData name="Karmakar, Sumit" userId="S::skarmakar@elogex.com::5d020034-ff2c-4e7e-8d00-e94708d613b2" providerId="AD" clId="Web-{9E40FD65-39EC-AB2F-BB32-25D6E8348A36}" dt="2024-02-29T13:46:16.963" v="30"/>
          <ac:cxnSpMkLst>
            <pc:docMk/>
            <pc:sldMk cId="3853618670" sldId="310"/>
            <ac:cxnSpMk id="14" creationId="{E95C0418-41E9-9B5A-A089-BB46BA8E8DA8}"/>
          </ac:cxnSpMkLst>
        </pc:cxnChg>
        <pc:cxnChg chg="del">
          <ac:chgData name="Karmakar, Sumit" userId="S::skarmakar@elogex.com::5d020034-ff2c-4e7e-8d00-e94708d613b2" providerId="AD" clId="Web-{9E40FD65-39EC-AB2F-BB32-25D6E8348A36}" dt="2024-02-29T13:46:16.963" v="33"/>
          <ac:cxnSpMkLst>
            <pc:docMk/>
            <pc:sldMk cId="3853618670" sldId="310"/>
            <ac:cxnSpMk id="31" creationId="{D99E145E-E27A-7A33-2B12-8F8710043334}"/>
          </ac:cxnSpMkLst>
        </pc:cxnChg>
        <pc:cxnChg chg="del">
          <ac:chgData name="Karmakar, Sumit" userId="S::skarmakar@elogex.com::5d020034-ff2c-4e7e-8d00-e94708d613b2" providerId="AD" clId="Web-{9E40FD65-39EC-AB2F-BB32-25D6E8348A36}" dt="2024-02-29T13:46:16.963" v="32"/>
          <ac:cxnSpMkLst>
            <pc:docMk/>
            <pc:sldMk cId="3853618670" sldId="310"/>
            <ac:cxnSpMk id="33" creationId="{C08C1D27-4E39-F3A3-E3DF-B30A449827FE}"/>
          </ac:cxnSpMkLst>
        </pc:cxnChg>
      </pc:sldChg>
      <pc:sldChg chg="addSp delSp modSp add del">
        <pc:chgData name="Karmakar, Sumit" userId="S::skarmakar@elogex.com::5d020034-ff2c-4e7e-8d00-e94708d613b2" providerId="AD" clId="Web-{9E40FD65-39EC-AB2F-BB32-25D6E8348A36}" dt="2024-02-29T13:53:57.928" v="258" actId="20577"/>
        <pc:sldMkLst>
          <pc:docMk/>
          <pc:sldMk cId="714085902" sldId="2147375216"/>
        </pc:sldMkLst>
        <pc:spChg chg="mod">
          <ac:chgData name="Karmakar, Sumit" userId="S::skarmakar@elogex.com::5d020034-ff2c-4e7e-8d00-e94708d613b2" providerId="AD" clId="Web-{9E40FD65-39EC-AB2F-BB32-25D6E8348A36}" dt="2024-02-29T13:53:57.928" v="258" actId="20577"/>
          <ac:spMkLst>
            <pc:docMk/>
            <pc:sldMk cId="714085902" sldId="2147375216"/>
            <ac:spMk id="2" creationId="{E354E9DF-CDC6-DD3D-EF28-FEAB47C7216A}"/>
          </ac:spMkLst>
        </pc:spChg>
        <pc:spChg chg="add mod">
          <ac:chgData name="Karmakar, Sumit" userId="S::skarmakar@elogex.com::5d020034-ff2c-4e7e-8d00-e94708d613b2" providerId="AD" clId="Web-{9E40FD65-39EC-AB2F-BB32-25D6E8348A36}" dt="2024-02-29T13:48:42.483" v="177"/>
          <ac:spMkLst>
            <pc:docMk/>
            <pc:sldMk cId="714085902" sldId="2147375216"/>
            <ac:spMk id="6" creationId="{6938082F-5765-AE18-8CC8-62FF476791F5}"/>
          </ac:spMkLst>
        </pc:spChg>
        <pc:spChg chg="del">
          <ac:chgData name="Karmakar, Sumit" userId="S::skarmakar@elogex.com::5d020034-ff2c-4e7e-8d00-e94708d613b2" providerId="AD" clId="Web-{9E40FD65-39EC-AB2F-BB32-25D6E8348A36}" dt="2024-02-29T13:48:42.451" v="175"/>
          <ac:spMkLst>
            <pc:docMk/>
            <pc:sldMk cId="714085902" sldId="2147375216"/>
            <ac:spMk id="9" creationId="{27F4EB86-2F20-099B-AAC5-A8A3A010FE7B}"/>
          </ac:spMkLst>
        </pc:spChg>
        <pc:spChg chg="del">
          <ac:chgData name="Karmakar, Sumit" userId="S::skarmakar@elogex.com::5d020034-ff2c-4e7e-8d00-e94708d613b2" providerId="AD" clId="Web-{9E40FD65-39EC-AB2F-BB32-25D6E8348A36}" dt="2024-02-29T13:48:42.451" v="176"/>
          <ac:spMkLst>
            <pc:docMk/>
            <pc:sldMk cId="714085902" sldId="2147375216"/>
            <ac:spMk id="22" creationId="{B744FC2F-2CE9-38DB-1BDC-DA9CFE9EAE34}"/>
          </ac:spMkLst>
        </pc:spChg>
        <pc:spChg chg="del">
          <ac:chgData name="Karmakar, Sumit" userId="S::skarmakar@elogex.com::5d020034-ff2c-4e7e-8d00-e94708d613b2" providerId="AD" clId="Web-{9E40FD65-39EC-AB2F-BB32-25D6E8348A36}" dt="2024-02-29T13:48:42.451" v="165"/>
          <ac:spMkLst>
            <pc:docMk/>
            <pc:sldMk cId="714085902" sldId="2147375216"/>
            <ac:spMk id="48" creationId="{49C37704-9908-D41A-79E2-91FEE2251534}"/>
          </ac:spMkLst>
        </pc:spChg>
        <pc:spChg chg="del">
          <ac:chgData name="Karmakar, Sumit" userId="S::skarmakar@elogex.com::5d020034-ff2c-4e7e-8d00-e94708d613b2" providerId="AD" clId="Web-{9E40FD65-39EC-AB2F-BB32-25D6E8348A36}" dt="2024-02-29T13:48:42.451" v="164"/>
          <ac:spMkLst>
            <pc:docMk/>
            <pc:sldMk cId="714085902" sldId="2147375216"/>
            <ac:spMk id="49" creationId="{1A814B9E-496E-8C5C-7BCC-95C5FF5F8A1F}"/>
          </ac:spMkLst>
        </pc:spChg>
        <pc:spChg chg="del">
          <ac:chgData name="Karmakar, Sumit" userId="S::skarmakar@elogex.com::5d020034-ff2c-4e7e-8d00-e94708d613b2" providerId="AD" clId="Web-{9E40FD65-39EC-AB2F-BB32-25D6E8348A36}" dt="2024-02-29T13:48:42.451" v="163"/>
          <ac:spMkLst>
            <pc:docMk/>
            <pc:sldMk cId="714085902" sldId="2147375216"/>
            <ac:spMk id="50" creationId="{C198B652-868A-4F01-29C4-12433F89E278}"/>
          </ac:spMkLst>
        </pc:spChg>
        <pc:graphicFrameChg chg="del">
          <ac:chgData name="Karmakar, Sumit" userId="S::skarmakar@elogex.com::5d020034-ff2c-4e7e-8d00-e94708d613b2" providerId="AD" clId="Web-{9E40FD65-39EC-AB2F-BB32-25D6E8348A36}" dt="2024-02-29T13:48:42.483" v="177"/>
          <ac:graphicFrameMkLst>
            <pc:docMk/>
            <pc:sldMk cId="714085902" sldId="2147375216"/>
            <ac:graphicFrameMk id="4" creationId="{1E614073-6852-2A36-AA93-54014B5D6194}"/>
          </ac:graphicFrameMkLst>
        </pc:graphicFrameChg>
        <pc:picChg chg="del">
          <ac:chgData name="Karmakar, Sumit" userId="S::skarmakar@elogex.com::5d020034-ff2c-4e7e-8d00-e94708d613b2" providerId="AD" clId="Web-{9E40FD65-39EC-AB2F-BB32-25D6E8348A36}" dt="2024-02-29T13:48:42.451" v="162"/>
          <ac:picMkLst>
            <pc:docMk/>
            <pc:sldMk cId="714085902" sldId="2147375216"/>
            <ac:picMk id="3" creationId="{FA8712D8-8843-B471-7A74-E48D103A8126}"/>
          </ac:picMkLst>
        </pc:picChg>
        <pc:picChg chg="del">
          <ac:chgData name="Karmakar, Sumit" userId="S::skarmakar@elogex.com::5d020034-ff2c-4e7e-8d00-e94708d613b2" providerId="AD" clId="Web-{9E40FD65-39EC-AB2F-BB32-25D6E8348A36}" dt="2024-02-29T13:48:42.451" v="174"/>
          <ac:picMkLst>
            <pc:docMk/>
            <pc:sldMk cId="714085902" sldId="2147375216"/>
            <ac:picMk id="37" creationId="{497C517D-1605-23BD-69DA-56AA150B1BDF}"/>
          </ac:picMkLst>
        </pc:picChg>
        <pc:picChg chg="del">
          <ac:chgData name="Karmakar, Sumit" userId="S::skarmakar@elogex.com::5d020034-ff2c-4e7e-8d00-e94708d613b2" providerId="AD" clId="Web-{9E40FD65-39EC-AB2F-BB32-25D6E8348A36}" dt="2024-02-29T13:48:42.451" v="173"/>
          <ac:picMkLst>
            <pc:docMk/>
            <pc:sldMk cId="714085902" sldId="2147375216"/>
            <ac:picMk id="38" creationId="{3F3D8288-C47F-ABCF-11EE-393EC26E114B}"/>
          </ac:picMkLst>
        </pc:picChg>
        <pc:picChg chg="del">
          <ac:chgData name="Karmakar, Sumit" userId="S::skarmakar@elogex.com::5d020034-ff2c-4e7e-8d00-e94708d613b2" providerId="AD" clId="Web-{9E40FD65-39EC-AB2F-BB32-25D6E8348A36}" dt="2024-02-29T13:48:42.451" v="172"/>
          <ac:picMkLst>
            <pc:docMk/>
            <pc:sldMk cId="714085902" sldId="2147375216"/>
            <ac:picMk id="40" creationId="{06433ED9-9B21-2807-52CA-156230F9D62D}"/>
          </ac:picMkLst>
        </pc:picChg>
        <pc:picChg chg="del">
          <ac:chgData name="Karmakar, Sumit" userId="S::skarmakar@elogex.com::5d020034-ff2c-4e7e-8d00-e94708d613b2" providerId="AD" clId="Web-{9E40FD65-39EC-AB2F-BB32-25D6E8348A36}" dt="2024-02-29T13:48:42.451" v="171"/>
          <ac:picMkLst>
            <pc:docMk/>
            <pc:sldMk cId="714085902" sldId="2147375216"/>
            <ac:picMk id="41" creationId="{8B86777B-3012-579A-26AD-3EE28935B477}"/>
          </ac:picMkLst>
        </pc:picChg>
        <pc:picChg chg="del">
          <ac:chgData name="Karmakar, Sumit" userId="S::skarmakar@elogex.com::5d020034-ff2c-4e7e-8d00-e94708d613b2" providerId="AD" clId="Web-{9E40FD65-39EC-AB2F-BB32-25D6E8348A36}" dt="2024-02-29T13:48:42.451" v="170"/>
          <ac:picMkLst>
            <pc:docMk/>
            <pc:sldMk cId="714085902" sldId="2147375216"/>
            <ac:picMk id="42" creationId="{C4D8948B-F104-E124-9BDA-33035B41C9CC}"/>
          </ac:picMkLst>
        </pc:picChg>
        <pc:picChg chg="del">
          <ac:chgData name="Karmakar, Sumit" userId="S::skarmakar@elogex.com::5d020034-ff2c-4e7e-8d00-e94708d613b2" providerId="AD" clId="Web-{9E40FD65-39EC-AB2F-BB32-25D6E8348A36}" dt="2024-02-29T13:48:42.451" v="169"/>
          <ac:picMkLst>
            <pc:docMk/>
            <pc:sldMk cId="714085902" sldId="2147375216"/>
            <ac:picMk id="44" creationId="{CF2460A1-2DA2-F7B8-BF3B-04E1B257FC0B}"/>
          </ac:picMkLst>
        </pc:picChg>
        <pc:picChg chg="del">
          <ac:chgData name="Karmakar, Sumit" userId="S::skarmakar@elogex.com::5d020034-ff2c-4e7e-8d00-e94708d613b2" providerId="AD" clId="Web-{9E40FD65-39EC-AB2F-BB32-25D6E8348A36}" dt="2024-02-29T13:48:42.451" v="168"/>
          <ac:picMkLst>
            <pc:docMk/>
            <pc:sldMk cId="714085902" sldId="2147375216"/>
            <ac:picMk id="45" creationId="{E1AD7076-9AFC-E999-0201-F2378ED6E51F}"/>
          </ac:picMkLst>
        </pc:picChg>
        <pc:picChg chg="del">
          <ac:chgData name="Karmakar, Sumit" userId="S::skarmakar@elogex.com::5d020034-ff2c-4e7e-8d00-e94708d613b2" providerId="AD" clId="Web-{9E40FD65-39EC-AB2F-BB32-25D6E8348A36}" dt="2024-02-29T13:48:42.451" v="167"/>
          <ac:picMkLst>
            <pc:docMk/>
            <pc:sldMk cId="714085902" sldId="2147375216"/>
            <ac:picMk id="46" creationId="{48B60657-6ACC-0E75-A744-E48C21E7CB3D}"/>
          </ac:picMkLst>
        </pc:picChg>
        <pc:picChg chg="del">
          <ac:chgData name="Karmakar, Sumit" userId="S::skarmakar@elogex.com::5d020034-ff2c-4e7e-8d00-e94708d613b2" providerId="AD" clId="Web-{9E40FD65-39EC-AB2F-BB32-25D6E8348A36}" dt="2024-02-29T13:48:42.451" v="166"/>
          <ac:picMkLst>
            <pc:docMk/>
            <pc:sldMk cId="714085902" sldId="2147375216"/>
            <ac:picMk id="47" creationId="{4D30CF7A-73CC-C60B-39F8-B19D2F14E8D2}"/>
          </ac:picMkLst>
        </pc:picChg>
      </pc:sldChg>
      <pc:sldChg chg="delSp modSp">
        <pc:chgData name="Karmakar, Sumit" userId="S::skarmakar@elogex.com::5d020034-ff2c-4e7e-8d00-e94708d613b2" providerId="AD" clId="Web-{9E40FD65-39EC-AB2F-BB32-25D6E8348A36}" dt="2024-02-29T13:52:57.317" v="247" actId="20577"/>
        <pc:sldMkLst>
          <pc:docMk/>
          <pc:sldMk cId="989006033" sldId="2147479593"/>
        </pc:sldMkLst>
        <pc:spChg chg="del">
          <ac:chgData name="Karmakar, Sumit" userId="S::skarmakar@elogex.com::5d020034-ff2c-4e7e-8d00-e94708d613b2" providerId="AD" clId="Web-{9E40FD65-39EC-AB2F-BB32-25D6E8348A36}" dt="2024-02-29T13:46:34.026" v="77"/>
          <ac:spMkLst>
            <pc:docMk/>
            <pc:sldMk cId="989006033" sldId="2147479593"/>
            <ac:spMk id="9" creationId="{F8F6E280-EAA0-E17F-CB43-ADF4459DE4DE}"/>
          </ac:spMkLst>
        </pc:spChg>
        <pc:spChg chg="del">
          <ac:chgData name="Karmakar, Sumit" userId="S::skarmakar@elogex.com::5d020034-ff2c-4e7e-8d00-e94708d613b2" providerId="AD" clId="Web-{9E40FD65-39EC-AB2F-BB32-25D6E8348A36}" dt="2024-02-29T13:46:33.995" v="34"/>
          <ac:spMkLst>
            <pc:docMk/>
            <pc:sldMk cId="989006033" sldId="2147479593"/>
            <ac:spMk id="11" creationId="{4EAF6075-4CA2-4B6E-A332-CBBF7A288E81}"/>
          </ac:spMkLst>
        </pc:spChg>
        <pc:spChg chg="del">
          <ac:chgData name="Karmakar, Sumit" userId="S::skarmakar@elogex.com::5d020034-ff2c-4e7e-8d00-e94708d613b2" providerId="AD" clId="Web-{9E40FD65-39EC-AB2F-BB32-25D6E8348A36}" dt="2024-02-29T13:46:36.823" v="131"/>
          <ac:spMkLst>
            <pc:docMk/>
            <pc:sldMk cId="989006033" sldId="2147479593"/>
            <ac:spMk id="13" creationId="{54823303-BCC9-ECEE-17BB-4253BA9206CC}"/>
          </ac:spMkLst>
        </pc:spChg>
        <pc:spChg chg="del">
          <ac:chgData name="Karmakar, Sumit" userId="S::skarmakar@elogex.com::5d020034-ff2c-4e7e-8d00-e94708d613b2" providerId="AD" clId="Web-{9E40FD65-39EC-AB2F-BB32-25D6E8348A36}" dt="2024-02-29T13:46:34.011" v="73"/>
          <ac:spMkLst>
            <pc:docMk/>
            <pc:sldMk cId="989006033" sldId="2147479593"/>
            <ac:spMk id="16" creationId="{B5AF5118-934D-ED8C-32FD-A0EB3DB939CC}"/>
          </ac:spMkLst>
        </pc:spChg>
        <pc:spChg chg="del">
          <ac:chgData name="Karmakar, Sumit" userId="S::skarmakar@elogex.com::5d020034-ff2c-4e7e-8d00-e94708d613b2" providerId="AD" clId="Web-{9E40FD65-39EC-AB2F-BB32-25D6E8348A36}" dt="2024-02-29T13:46:34.104" v="130"/>
          <ac:spMkLst>
            <pc:docMk/>
            <pc:sldMk cId="989006033" sldId="2147479593"/>
            <ac:spMk id="18" creationId="{D08D1E87-3539-6412-CC76-36257568E39B}"/>
          </ac:spMkLst>
        </pc:spChg>
        <pc:spChg chg="del">
          <ac:chgData name="Karmakar, Sumit" userId="S::skarmakar@elogex.com::5d020034-ff2c-4e7e-8d00-e94708d613b2" providerId="AD" clId="Web-{9E40FD65-39EC-AB2F-BB32-25D6E8348A36}" dt="2024-02-29T13:46:34.011" v="72"/>
          <ac:spMkLst>
            <pc:docMk/>
            <pc:sldMk cId="989006033" sldId="2147479593"/>
            <ac:spMk id="19" creationId="{EAC7D094-79F4-C3B7-76FD-5B9DB08262C0}"/>
          </ac:spMkLst>
        </pc:spChg>
        <pc:spChg chg="del">
          <ac:chgData name="Karmakar, Sumit" userId="S::skarmakar@elogex.com::5d020034-ff2c-4e7e-8d00-e94708d613b2" providerId="AD" clId="Web-{9E40FD65-39EC-AB2F-BB32-25D6E8348A36}" dt="2024-02-29T13:46:34.089" v="126"/>
          <ac:spMkLst>
            <pc:docMk/>
            <pc:sldMk cId="989006033" sldId="2147479593"/>
            <ac:spMk id="20" creationId="{1775269A-58DE-8B2C-06E7-E85D7C0A9AC7}"/>
          </ac:spMkLst>
        </pc:spChg>
        <pc:spChg chg="del">
          <ac:chgData name="Karmakar, Sumit" userId="S::skarmakar@elogex.com::5d020034-ff2c-4e7e-8d00-e94708d613b2" providerId="AD" clId="Web-{9E40FD65-39EC-AB2F-BB32-25D6E8348A36}" dt="2024-02-29T13:46:34.011" v="71"/>
          <ac:spMkLst>
            <pc:docMk/>
            <pc:sldMk cId="989006033" sldId="2147479593"/>
            <ac:spMk id="21" creationId="{AB825143-C4A4-34CD-E0D6-110D811F1CD8}"/>
          </ac:spMkLst>
        </pc:spChg>
        <pc:spChg chg="del">
          <ac:chgData name="Karmakar, Sumit" userId="S::skarmakar@elogex.com::5d020034-ff2c-4e7e-8d00-e94708d613b2" providerId="AD" clId="Web-{9E40FD65-39EC-AB2F-BB32-25D6E8348A36}" dt="2024-02-29T13:46:34.011" v="70"/>
          <ac:spMkLst>
            <pc:docMk/>
            <pc:sldMk cId="989006033" sldId="2147479593"/>
            <ac:spMk id="22" creationId="{D96BAC4B-9442-D02C-6D90-D09A029E452E}"/>
          </ac:spMkLst>
        </pc:spChg>
        <pc:spChg chg="del">
          <ac:chgData name="Karmakar, Sumit" userId="S::skarmakar@elogex.com::5d020034-ff2c-4e7e-8d00-e94708d613b2" providerId="AD" clId="Web-{9E40FD65-39EC-AB2F-BB32-25D6E8348A36}" dt="2024-02-29T13:46:34.011" v="69"/>
          <ac:spMkLst>
            <pc:docMk/>
            <pc:sldMk cId="989006033" sldId="2147479593"/>
            <ac:spMk id="23" creationId="{0AFBBBAA-FCB5-CDD6-6755-E3B00BB05C21}"/>
          </ac:spMkLst>
        </pc:spChg>
        <pc:spChg chg="del">
          <ac:chgData name="Karmakar, Sumit" userId="S::skarmakar@elogex.com::5d020034-ff2c-4e7e-8d00-e94708d613b2" providerId="AD" clId="Web-{9E40FD65-39EC-AB2F-BB32-25D6E8348A36}" dt="2024-02-29T13:46:34.089" v="111"/>
          <ac:spMkLst>
            <pc:docMk/>
            <pc:sldMk cId="989006033" sldId="2147479593"/>
            <ac:spMk id="97" creationId="{5C5E5422-24DC-19B7-3CB5-1695EAB9F43E}"/>
          </ac:spMkLst>
        </pc:spChg>
        <pc:spChg chg="del">
          <ac:chgData name="Karmakar, Sumit" userId="S::skarmakar@elogex.com::5d020034-ff2c-4e7e-8d00-e94708d613b2" providerId="AD" clId="Web-{9E40FD65-39EC-AB2F-BB32-25D6E8348A36}" dt="2024-02-29T13:46:34.011" v="64"/>
          <ac:spMkLst>
            <pc:docMk/>
            <pc:sldMk cId="989006033" sldId="2147479593"/>
            <ac:spMk id="98" creationId="{BF99669C-7E02-48B3-1383-99FD13303441}"/>
          </ac:spMkLst>
        </pc:spChg>
        <pc:spChg chg="del">
          <ac:chgData name="Karmakar, Sumit" userId="S::skarmakar@elogex.com::5d020034-ff2c-4e7e-8d00-e94708d613b2" providerId="AD" clId="Web-{9E40FD65-39EC-AB2F-BB32-25D6E8348A36}" dt="2024-02-29T13:46:34.011" v="63"/>
          <ac:spMkLst>
            <pc:docMk/>
            <pc:sldMk cId="989006033" sldId="2147479593"/>
            <ac:spMk id="99" creationId="{824F1A2D-0599-C77A-C92C-85A3E055583B}"/>
          </ac:spMkLst>
        </pc:spChg>
        <pc:spChg chg="del">
          <ac:chgData name="Karmakar, Sumit" userId="S::skarmakar@elogex.com::5d020034-ff2c-4e7e-8d00-e94708d613b2" providerId="AD" clId="Web-{9E40FD65-39EC-AB2F-BB32-25D6E8348A36}" dt="2024-02-29T13:46:34.104" v="129"/>
          <ac:spMkLst>
            <pc:docMk/>
            <pc:sldMk cId="989006033" sldId="2147479593"/>
            <ac:spMk id="102" creationId="{1F5607BC-2BE2-B775-A4B8-C1BCD3153D04}"/>
          </ac:spMkLst>
        </pc:spChg>
        <pc:spChg chg="mod">
          <ac:chgData name="Karmakar, Sumit" userId="S::skarmakar@elogex.com::5d020034-ff2c-4e7e-8d00-e94708d613b2" providerId="AD" clId="Web-{9E40FD65-39EC-AB2F-BB32-25D6E8348A36}" dt="2024-02-29T13:52:57.317" v="247" actId="20577"/>
          <ac:spMkLst>
            <pc:docMk/>
            <pc:sldMk cId="989006033" sldId="2147479593"/>
            <ac:spMk id="103" creationId="{E9BC58D8-3B51-476B-A1B4-A962EC2D056C}"/>
          </ac:spMkLst>
        </pc:spChg>
        <pc:spChg chg="del">
          <ac:chgData name="Karmakar, Sumit" userId="S::skarmakar@elogex.com::5d020034-ff2c-4e7e-8d00-e94708d613b2" providerId="AD" clId="Web-{9E40FD65-39EC-AB2F-BB32-25D6E8348A36}" dt="2024-02-29T13:46:34.058" v="84"/>
          <ac:spMkLst>
            <pc:docMk/>
            <pc:sldMk cId="989006033" sldId="2147479593"/>
            <ac:spMk id="104" creationId="{61530C67-7756-03A5-0152-BB58EA3D3CE2}"/>
          </ac:spMkLst>
        </pc:spChg>
        <pc:spChg chg="del">
          <ac:chgData name="Karmakar, Sumit" userId="S::skarmakar@elogex.com::5d020034-ff2c-4e7e-8d00-e94708d613b2" providerId="AD" clId="Web-{9E40FD65-39EC-AB2F-BB32-25D6E8348A36}" dt="2024-02-29T13:46:34.089" v="110"/>
          <ac:spMkLst>
            <pc:docMk/>
            <pc:sldMk cId="989006033" sldId="2147479593"/>
            <ac:spMk id="106" creationId="{FD4FA2EE-62C9-7648-9075-AE1B8405CDFC}"/>
          </ac:spMkLst>
        </pc:spChg>
        <pc:spChg chg="del">
          <ac:chgData name="Karmakar, Sumit" userId="S::skarmakar@elogex.com::5d020034-ff2c-4e7e-8d00-e94708d613b2" providerId="AD" clId="Web-{9E40FD65-39EC-AB2F-BB32-25D6E8348A36}" dt="2024-02-29T13:46:34.089" v="109"/>
          <ac:spMkLst>
            <pc:docMk/>
            <pc:sldMk cId="989006033" sldId="2147479593"/>
            <ac:spMk id="107" creationId="{37B29025-14A8-F71E-221B-C17BC7C4F7E5}"/>
          </ac:spMkLst>
        </pc:spChg>
        <pc:spChg chg="del">
          <ac:chgData name="Karmakar, Sumit" userId="S::skarmakar@elogex.com::5d020034-ff2c-4e7e-8d00-e94708d613b2" providerId="AD" clId="Web-{9E40FD65-39EC-AB2F-BB32-25D6E8348A36}" dt="2024-02-29T13:46:34.089" v="108"/>
          <ac:spMkLst>
            <pc:docMk/>
            <pc:sldMk cId="989006033" sldId="2147479593"/>
            <ac:spMk id="108" creationId="{833BAE63-2A4E-E55E-2E82-A924D2FF365D}"/>
          </ac:spMkLst>
        </pc:spChg>
        <pc:spChg chg="del">
          <ac:chgData name="Karmakar, Sumit" userId="S::skarmakar@elogex.com::5d020034-ff2c-4e7e-8d00-e94708d613b2" providerId="AD" clId="Web-{9E40FD65-39EC-AB2F-BB32-25D6E8348A36}" dt="2024-02-29T13:46:34.058" v="83"/>
          <ac:spMkLst>
            <pc:docMk/>
            <pc:sldMk cId="989006033" sldId="2147479593"/>
            <ac:spMk id="109" creationId="{5CB3DF9B-B673-16CA-AE17-7011E3C030BF}"/>
          </ac:spMkLst>
        </pc:spChg>
        <pc:spChg chg="del">
          <ac:chgData name="Karmakar, Sumit" userId="S::skarmakar@elogex.com::5d020034-ff2c-4e7e-8d00-e94708d613b2" providerId="AD" clId="Web-{9E40FD65-39EC-AB2F-BB32-25D6E8348A36}" dt="2024-02-29T13:46:34.089" v="107"/>
          <ac:spMkLst>
            <pc:docMk/>
            <pc:sldMk cId="989006033" sldId="2147479593"/>
            <ac:spMk id="112" creationId="{BB6FB7E6-13F1-35BC-3943-279626CA7892}"/>
          </ac:spMkLst>
        </pc:spChg>
        <pc:spChg chg="del">
          <ac:chgData name="Karmakar, Sumit" userId="S::skarmakar@elogex.com::5d020034-ff2c-4e7e-8d00-e94708d613b2" providerId="AD" clId="Web-{9E40FD65-39EC-AB2F-BB32-25D6E8348A36}" dt="2024-02-29T13:46:34.058" v="82"/>
          <ac:spMkLst>
            <pc:docMk/>
            <pc:sldMk cId="989006033" sldId="2147479593"/>
            <ac:spMk id="113" creationId="{61F67ECF-5565-7D7E-41CD-F6222B17048A}"/>
          </ac:spMkLst>
        </pc:spChg>
        <pc:spChg chg="del">
          <ac:chgData name="Karmakar, Sumit" userId="S::skarmakar@elogex.com::5d020034-ff2c-4e7e-8d00-e94708d613b2" providerId="AD" clId="Web-{9E40FD65-39EC-AB2F-BB32-25D6E8348A36}" dt="2024-02-29T13:46:34.058" v="81"/>
          <ac:spMkLst>
            <pc:docMk/>
            <pc:sldMk cId="989006033" sldId="2147479593"/>
            <ac:spMk id="117" creationId="{9237C238-0DBB-EB90-0ACC-F2DDFAAD4C95}"/>
          </ac:spMkLst>
        </pc:spChg>
        <pc:spChg chg="del">
          <ac:chgData name="Karmakar, Sumit" userId="S::skarmakar@elogex.com::5d020034-ff2c-4e7e-8d00-e94708d613b2" providerId="AD" clId="Web-{9E40FD65-39EC-AB2F-BB32-25D6E8348A36}" dt="2024-02-29T13:46:34.011" v="61"/>
          <ac:spMkLst>
            <pc:docMk/>
            <pc:sldMk cId="989006033" sldId="2147479593"/>
            <ac:spMk id="120" creationId="{B134F20A-EC83-BD82-1734-59DF7BA6DD7A}"/>
          </ac:spMkLst>
        </pc:spChg>
        <pc:spChg chg="del">
          <ac:chgData name="Karmakar, Sumit" userId="S::skarmakar@elogex.com::5d020034-ff2c-4e7e-8d00-e94708d613b2" providerId="AD" clId="Web-{9E40FD65-39EC-AB2F-BB32-25D6E8348A36}" dt="2024-02-29T13:46:34.011" v="60"/>
          <ac:spMkLst>
            <pc:docMk/>
            <pc:sldMk cId="989006033" sldId="2147479593"/>
            <ac:spMk id="121" creationId="{90CB59C4-597B-BCDC-8E97-848DB4AFE6D0}"/>
          </ac:spMkLst>
        </pc:spChg>
        <pc:spChg chg="del">
          <ac:chgData name="Karmakar, Sumit" userId="S::skarmakar@elogex.com::5d020034-ff2c-4e7e-8d00-e94708d613b2" providerId="AD" clId="Web-{9E40FD65-39EC-AB2F-BB32-25D6E8348A36}" dt="2024-02-29T13:46:34.011" v="58"/>
          <ac:spMkLst>
            <pc:docMk/>
            <pc:sldMk cId="989006033" sldId="2147479593"/>
            <ac:spMk id="125" creationId="{7743B4B1-DF05-111E-4E50-07F2320EF163}"/>
          </ac:spMkLst>
        </pc:spChg>
        <pc:spChg chg="del">
          <ac:chgData name="Karmakar, Sumit" userId="S::skarmakar@elogex.com::5d020034-ff2c-4e7e-8d00-e94708d613b2" providerId="AD" clId="Web-{9E40FD65-39EC-AB2F-BB32-25D6E8348A36}" dt="2024-02-29T13:46:34.011" v="57"/>
          <ac:spMkLst>
            <pc:docMk/>
            <pc:sldMk cId="989006033" sldId="2147479593"/>
            <ac:spMk id="126" creationId="{DF649F77-2033-632F-93AF-54FC877273D5}"/>
          </ac:spMkLst>
        </pc:spChg>
        <pc:spChg chg="del">
          <ac:chgData name="Karmakar, Sumit" userId="S::skarmakar@elogex.com::5d020034-ff2c-4e7e-8d00-e94708d613b2" providerId="AD" clId="Web-{9E40FD65-39EC-AB2F-BB32-25D6E8348A36}" dt="2024-02-29T13:46:34.011" v="56"/>
          <ac:spMkLst>
            <pc:docMk/>
            <pc:sldMk cId="989006033" sldId="2147479593"/>
            <ac:spMk id="127" creationId="{F5E241AC-0479-EBE2-3702-4DADBA78A8D7}"/>
          </ac:spMkLst>
        </pc:spChg>
        <pc:spChg chg="del">
          <ac:chgData name="Karmakar, Sumit" userId="S::skarmakar@elogex.com::5d020034-ff2c-4e7e-8d00-e94708d613b2" providerId="AD" clId="Web-{9E40FD65-39EC-AB2F-BB32-25D6E8348A36}" dt="2024-02-29T13:46:34.011" v="55"/>
          <ac:spMkLst>
            <pc:docMk/>
            <pc:sldMk cId="989006033" sldId="2147479593"/>
            <ac:spMk id="128" creationId="{3608C182-AB7C-7218-CBE7-78339D1A672B}"/>
          </ac:spMkLst>
        </pc:spChg>
        <pc:spChg chg="del">
          <ac:chgData name="Karmakar, Sumit" userId="S::skarmakar@elogex.com::5d020034-ff2c-4e7e-8d00-e94708d613b2" providerId="AD" clId="Web-{9E40FD65-39EC-AB2F-BB32-25D6E8348A36}" dt="2024-02-29T13:46:34.011" v="54"/>
          <ac:spMkLst>
            <pc:docMk/>
            <pc:sldMk cId="989006033" sldId="2147479593"/>
            <ac:spMk id="129" creationId="{7D199EA0-A5A6-1725-E3EA-71431B68686F}"/>
          </ac:spMkLst>
        </pc:spChg>
        <pc:spChg chg="del">
          <ac:chgData name="Karmakar, Sumit" userId="S::skarmakar@elogex.com::5d020034-ff2c-4e7e-8d00-e94708d613b2" providerId="AD" clId="Web-{9E40FD65-39EC-AB2F-BB32-25D6E8348A36}" dt="2024-02-29T13:46:34.089" v="106"/>
          <ac:spMkLst>
            <pc:docMk/>
            <pc:sldMk cId="989006033" sldId="2147479593"/>
            <ac:spMk id="132" creationId="{F9353111-B961-3BB1-BF2D-2D40C4B2894D}"/>
          </ac:spMkLst>
        </pc:spChg>
        <pc:spChg chg="del">
          <ac:chgData name="Karmakar, Sumit" userId="S::skarmakar@elogex.com::5d020034-ff2c-4e7e-8d00-e94708d613b2" providerId="AD" clId="Web-{9E40FD65-39EC-AB2F-BB32-25D6E8348A36}" dt="2024-02-29T13:46:34.089" v="105"/>
          <ac:spMkLst>
            <pc:docMk/>
            <pc:sldMk cId="989006033" sldId="2147479593"/>
            <ac:spMk id="133" creationId="{FB34992B-7359-0EC4-2FBA-8699E92EA228}"/>
          </ac:spMkLst>
        </pc:spChg>
        <pc:spChg chg="del">
          <ac:chgData name="Karmakar, Sumit" userId="S::skarmakar@elogex.com::5d020034-ff2c-4e7e-8d00-e94708d613b2" providerId="AD" clId="Web-{9E40FD65-39EC-AB2F-BB32-25D6E8348A36}" dt="2024-02-29T13:46:34.089" v="103"/>
          <ac:spMkLst>
            <pc:docMk/>
            <pc:sldMk cId="989006033" sldId="2147479593"/>
            <ac:spMk id="136" creationId="{82CA7CD8-A24D-F8C3-0783-C73B27E5E0AF}"/>
          </ac:spMkLst>
        </pc:spChg>
        <pc:spChg chg="del">
          <ac:chgData name="Karmakar, Sumit" userId="S::skarmakar@elogex.com::5d020034-ff2c-4e7e-8d00-e94708d613b2" providerId="AD" clId="Web-{9E40FD65-39EC-AB2F-BB32-25D6E8348A36}" dt="2024-02-29T13:46:34.011" v="53"/>
          <ac:spMkLst>
            <pc:docMk/>
            <pc:sldMk cId="989006033" sldId="2147479593"/>
            <ac:spMk id="137" creationId="{18718179-1AF2-8188-41C7-5D907B535710}"/>
          </ac:spMkLst>
        </pc:spChg>
        <pc:spChg chg="del">
          <ac:chgData name="Karmakar, Sumit" userId="S::skarmakar@elogex.com::5d020034-ff2c-4e7e-8d00-e94708d613b2" providerId="AD" clId="Web-{9E40FD65-39EC-AB2F-BB32-25D6E8348A36}" dt="2024-02-29T13:46:34.011" v="50"/>
          <ac:spMkLst>
            <pc:docMk/>
            <pc:sldMk cId="989006033" sldId="2147479593"/>
            <ac:spMk id="145" creationId="{1B6FBE33-0F58-3685-8DEE-732BB0EF7B4F}"/>
          </ac:spMkLst>
        </pc:spChg>
        <pc:spChg chg="del">
          <ac:chgData name="Karmakar, Sumit" userId="S::skarmakar@elogex.com::5d020034-ff2c-4e7e-8d00-e94708d613b2" providerId="AD" clId="Web-{9E40FD65-39EC-AB2F-BB32-25D6E8348A36}" dt="2024-02-29T13:46:34.089" v="99"/>
          <ac:spMkLst>
            <pc:docMk/>
            <pc:sldMk cId="989006033" sldId="2147479593"/>
            <ac:spMk id="147" creationId="{38115407-D9FA-D9F3-E26C-1D1D8BAAE72A}"/>
          </ac:spMkLst>
        </pc:spChg>
        <pc:spChg chg="del">
          <ac:chgData name="Karmakar, Sumit" userId="S::skarmakar@elogex.com::5d020034-ff2c-4e7e-8d00-e94708d613b2" providerId="AD" clId="Web-{9E40FD65-39EC-AB2F-BB32-25D6E8348A36}" dt="2024-02-29T13:46:33.995" v="43"/>
          <ac:spMkLst>
            <pc:docMk/>
            <pc:sldMk cId="989006033" sldId="2147479593"/>
            <ac:spMk id="157" creationId="{2BA67ADA-0ACC-88B3-BEF8-C5DCD0152333}"/>
          </ac:spMkLst>
        </pc:spChg>
        <pc:spChg chg="del">
          <ac:chgData name="Karmakar, Sumit" userId="S::skarmakar@elogex.com::5d020034-ff2c-4e7e-8d00-e94708d613b2" providerId="AD" clId="Web-{9E40FD65-39EC-AB2F-BB32-25D6E8348A36}" dt="2024-02-29T13:46:33.995" v="41"/>
          <ac:spMkLst>
            <pc:docMk/>
            <pc:sldMk cId="989006033" sldId="2147479593"/>
            <ac:spMk id="159" creationId="{DB883B16-8D30-AE2A-2A22-63588367A0BA}"/>
          </ac:spMkLst>
        </pc:spChg>
        <pc:spChg chg="del">
          <ac:chgData name="Karmakar, Sumit" userId="S::skarmakar@elogex.com::5d020034-ff2c-4e7e-8d00-e94708d613b2" providerId="AD" clId="Web-{9E40FD65-39EC-AB2F-BB32-25D6E8348A36}" dt="2024-02-29T13:46:33.995" v="40"/>
          <ac:spMkLst>
            <pc:docMk/>
            <pc:sldMk cId="989006033" sldId="2147479593"/>
            <ac:spMk id="160" creationId="{0F7CB4C4-36F2-C409-115E-6129407832C3}"/>
          </ac:spMkLst>
        </pc:spChg>
        <pc:spChg chg="del">
          <ac:chgData name="Karmakar, Sumit" userId="S::skarmakar@elogex.com::5d020034-ff2c-4e7e-8d00-e94708d613b2" providerId="AD" clId="Web-{9E40FD65-39EC-AB2F-BB32-25D6E8348A36}" dt="2024-02-29T13:46:33.995" v="39"/>
          <ac:spMkLst>
            <pc:docMk/>
            <pc:sldMk cId="989006033" sldId="2147479593"/>
            <ac:spMk id="161" creationId="{553A8117-36F0-A13F-DD9E-AB3B40A875E6}"/>
          </ac:spMkLst>
        </pc:spChg>
        <pc:spChg chg="del">
          <ac:chgData name="Karmakar, Sumit" userId="S::skarmakar@elogex.com::5d020034-ff2c-4e7e-8d00-e94708d613b2" providerId="AD" clId="Web-{9E40FD65-39EC-AB2F-BB32-25D6E8348A36}" dt="2024-02-29T13:46:34.089" v="98"/>
          <ac:spMkLst>
            <pc:docMk/>
            <pc:sldMk cId="989006033" sldId="2147479593"/>
            <ac:spMk id="162" creationId="{16CA2C44-99FA-847D-5551-89C821DE6D02}"/>
          </ac:spMkLst>
        </pc:spChg>
        <pc:spChg chg="del">
          <ac:chgData name="Karmakar, Sumit" userId="S::skarmakar@elogex.com::5d020034-ff2c-4e7e-8d00-e94708d613b2" providerId="AD" clId="Web-{9E40FD65-39EC-AB2F-BB32-25D6E8348A36}" dt="2024-02-29T13:46:33.995" v="38"/>
          <ac:spMkLst>
            <pc:docMk/>
            <pc:sldMk cId="989006033" sldId="2147479593"/>
            <ac:spMk id="166" creationId="{028E6E67-FC9C-D502-5DEF-6A6158B520E9}"/>
          </ac:spMkLst>
        </pc:spChg>
        <pc:spChg chg="del">
          <ac:chgData name="Karmakar, Sumit" userId="S::skarmakar@elogex.com::5d020034-ff2c-4e7e-8d00-e94708d613b2" providerId="AD" clId="Web-{9E40FD65-39EC-AB2F-BB32-25D6E8348A36}" dt="2024-02-29T13:46:33.995" v="37"/>
          <ac:spMkLst>
            <pc:docMk/>
            <pc:sldMk cId="989006033" sldId="2147479593"/>
            <ac:spMk id="167" creationId="{893B06BC-56B6-F003-5E7B-E195B7383802}"/>
          </ac:spMkLst>
        </pc:spChg>
        <pc:spChg chg="del">
          <ac:chgData name="Karmakar, Sumit" userId="S::skarmakar@elogex.com::5d020034-ff2c-4e7e-8d00-e94708d613b2" providerId="AD" clId="Web-{9E40FD65-39EC-AB2F-BB32-25D6E8348A36}" dt="2024-02-29T13:46:33.995" v="36"/>
          <ac:spMkLst>
            <pc:docMk/>
            <pc:sldMk cId="989006033" sldId="2147479593"/>
            <ac:spMk id="168" creationId="{FB27F706-B0A6-884E-C95A-52F9B451E13C}"/>
          </ac:spMkLst>
        </pc:spChg>
        <pc:spChg chg="del">
          <ac:chgData name="Karmakar, Sumit" userId="S::skarmakar@elogex.com::5d020034-ff2c-4e7e-8d00-e94708d613b2" providerId="AD" clId="Web-{9E40FD65-39EC-AB2F-BB32-25D6E8348A36}" dt="2024-02-29T13:46:34.089" v="97"/>
          <ac:spMkLst>
            <pc:docMk/>
            <pc:sldMk cId="989006033" sldId="2147479593"/>
            <ac:spMk id="188" creationId="{63F104CA-B8F5-E936-DC45-A213A8776FFF}"/>
          </ac:spMkLst>
        </pc:spChg>
        <pc:spChg chg="del">
          <ac:chgData name="Karmakar, Sumit" userId="S::skarmakar@elogex.com::5d020034-ff2c-4e7e-8d00-e94708d613b2" providerId="AD" clId="Web-{9E40FD65-39EC-AB2F-BB32-25D6E8348A36}" dt="2024-02-29T13:46:34.073" v="96"/>
          <ac:spMkLst>
            <pc:docMk/>
            <pc:sldMk cId="989006033" sldId="2147479593"/>
            <ac:spMk id="190" creationId="{3360DE7A-B116-5324-8378-43CCDCA540E5}"/>
          </ac:spMkLst>
        </pc:spChg>
        <pc:spChg chg="del">
          <ac:chgData name="Karmakar, Sumit" userId="S::skarmakar@elogex.com::5d020034-ff2c-4e7e-8d00-e94708d613b2" providerId="AD" clId="Web-{9E40FD65-39EC-AB2F-BB32-25D6E8348A36}" dt="2024-02-29T13:46:34.073" v="93"/>
          <ac:spMkLst>
            <pc:docMk/>
            <pc:sldMk cId="989006033" sldId="2147479593"/>
            <ac:spMk id="226" creationId="{2286A549-1DB4-60CE-9650-0DD5CA57AA9A}"/>
          </ac:spMkLst>
        </pc:spChg>
        <pc:spChg chg="del">
          <ac:chgData name="Karmakar, Sumit" userId="S::skarmakar@elogex.com::5d020034-ff2c-4e7e-8d00-e94708d613b2" providerId="AD" clId="Web-{9E40FD65-39EC-AB2F-BB32-25D6E8348A36}" dt="2024-02-29T13:46:34.073" v="91"/>
          <ac:spMkLst>
            <pc:docMk/>
            <pc:sldMk cId="989006033" sldId="2147479593"/>
            <ac:spMk id="230" creationId="{EE49ECB8-4FF4-FBE3-3700-18C6A06AACDB}"/>
          </ac:spMkLst>
        </pc:spChg>
        <pc:spChg chg="del">
          <ac:chgData name="Karmakar, Sumit" userId="S::skarmakar@elogex.com::5d020034-ff2c-4e7e-8d00-e94708d613b2" providerId="AD" clId="Web-{9E40FD65-39EC-AB2F-BB32-25D6E8348A36}" dt="2024-02-29T13:46:34.073" v="90"/>
          <ac:spMkLst>
            <pc:docMk/>
            <pc:sldMk cId="989006033" sldId="2147479593"/>
            <ac:spMk id="231" creationId="{EB3F3708-2F2E-5F1D-E63A-FA053D73D5CF}"/>
          </ac:spMkLst>
        </pc:spChg>
        <pc:spChg chg="del">
          <ac:chgData name="Karmakar, Sumit" userId="S::skarmakar@elogex.com::5d020034-ff2c-4e7e-8d00-e94708d613b2" providerId="AD" clId="Web-{9E40FD65-39EC-AB2F-BB32-25D6E8348A36}" dt="2024-02-29T13:46:34.073" v="89"/>
          <ac:spMkLst>
            <pc:docMk/>
            <pc:sldMk cId="989006033" sldId="2147479593"/>
            <ac:spMk id="232" creationId="{38D38CF4-8973-4E91-2CE4-DD1361F905E0}"/>
          </ac:spMkLst>
        </pc:spChg>
        <pc:grpChg chg="del">
          <ac:chgData name="Karmakar, Sumit" userId="S::skarmakar@elogex.com::5d020034-ff2c-4e7e-8d00-e94708d613b2" providerId="AD" clId="Web-{9E40FD65-39EC-AB2F-BB32-25D6E8348A36}" dt="2024-02-29T13:46:34.042" v="80"/>
          <ac:grpSpMkLst>
            <pc:docMk/>
            <pc:sldMk cId="989006033" sldId="2147479593"/>
            <ac:grpSpMk id="3" creationId="{E028EF1D-B617-C9EE-FC16-659B5F130BF2}"/>
          </ac:grpSpMkLst>
        </pc:grpChg>
        <pc:grpChg chg="del">
          <ac:chgData name="Karmakar, Sumit" userId="S::skarmakar@elogex.com::5d020034-ff2c-4e7e-8d00-e94708d613b2" providerId="AD" clId="Web-{9E40FD65-39EC-AB2F-BB32-25D6E8348A36}" dt="2024-02-29T13:46:34.011" v="68"/>
          <ac:grpSpMkLst>
            <pc:docMk/>
            <pc:sldMk cId="989006033" sldId="2147479593"/>
            <ac:grpSpMk id="24" creationId="{7F78B887-6DD4-1340-F920-0EFDC3054422}"/>
          </ac:grpSpMkLst>
        </pc:grpChg>
        <pc:grpChg chg="del">
          <ac:chgData name="Karmakar, Sumit" userId="S::skarmakar@elogex.com::5d020034-ff2c-4e7e-8d00-e94708d613b2" providerId="AD" clId="Web-{9E40FD65-39EC-AB2F-BB32-25D6E8348A36}" dt="2024-02-29T13:46:34.089" v="125"/>
          <ac:grpSpMkLst>
            <pc:docMk/>
            <pc:sldMk cId="989006033" sldId="2147479593"/>
            <ac:grpSpMk id="27" creationId="{770B9544-A2FA-D6A2-9223-3667FFA74C49}"/>
          </ac:grpSpMkLst>
        </pc:grpChg>
        <pc:grpChg chg="del">
          <ac:chgData name="Karmakar, Sumit" userId="S::skarmakar@elogex.com::5d020034-ff2c-4e7e-8d00-e94708d613b2" providerId="AD" clId="Web-{9E40FD65-39EC-AB2F-BB32-25D6E8348A36}" dt="2024-02-29T13:46:34.089" v="124"/>
          <ac:grpSpMkLst>
            <pc:docMk/>
            <pc:sldMk cId="989006033" sldId="2147479593"/>
            <ac:grpSpMk id="33" creationId="{91B6D385-0151-0A82-8DD7-05C40C389A65}"/>
          </ac:grpSpMkLst>
        </pc:grpChg>
        <pc:grpChg chg="del">
          <ac:chgData name="Karmakar, Sumit" userId="S::skarmakar@elogex.com::5d020034-ff2c-4e7e-8d00-e94708d613b2" providerId="AD" clId="Web-{9E40FD65-39EC-AB2F-BB32-25D6E8348A36}" dt="2024-02-29T13:46:34.089" v="123"/>
          <ac:grpSpMkLst>
            <pc:docMk/>
            <pc:sldMk cId="989006033" sldId="2147479593"/>
            <ac:grpSpMk id="36" creationId="{69442F6B-B84F-C3CF-C610-7DB25142DE68}"/>
          </ac:grpSpMkLst>
        </pc:grpChg>
        <pc:grpChg chg="del">
          <ac:chgData name="Karmakar, Sumit" userId="S::skarmakar@elogex.com::5d020034-ff2c-4e7e-8d00-e94708d613b2" providerId="AD" clId="Web-{9E40FD65-39EC-AB2F-BB32-25D6E8348A36}" dt="2024-02-29T13:46:34.011" v="67"/>
          <ac:grpSpMkLst>
            <pc:docMk/>
            <pc:sldMk cId="989006033" sldId="2147479593"/>
            <ac:grpSpMk id="62" creationId="{39042602-7571-37BE-C340-90C07DC9F391}"/>
          </ac:grpSpMkLst>
        </pc:grpChg>
        <pc:grpChg chg="del">
          <ac:chgData name="Karmakar, Sumit" userId="S::skarmakar@elogex.com::5d020034-ff2c-4e7e-8d00-e94708d613b2" providerId="AD" clId="Web-{9E40FD65-39EC-AB2F-BB32-25D6E8348A36}" dt="2024-02-29T13:46:34.011" v="66"/>
          <ac:grpSpMkLst>
            <pc:docMk/>
            <pc:sldMk cId="989006033" sldId="2147479593"/>
            <ac:grpSpMk id="65" creationId="{1D347030-5C3F-0B37-53F4-7C9C8C3DF4B5}"/>
          </ac:grpSpMkLst>
        </pc:grpChg>
        <pc:grpChg chg="del">
          <ac:chgData name="Karmakar, Sumit" userId="S::skarmakar@elogex.com::5d020034-ff2c-4e7e-8d00-e94708d613b2" providerId="AD" clId="Web-{9E40FD65-39EC-AB2F-BB32-25D6E8348A36}" dt="2024-02-29T13:46:34.011" v="65"/>
          <ac:grpSpMkLst>
            <pc:docMk/>
            <pc:sldMk cId="989006033" sldId="2147479593"/>
            <ac:grpSpMk id="86" creationId="{F962619F-1709-451E-B35D-760E709DB73D}"/>
          </ac:grpSpMkLst>
        </pc:grpChg>
        <pc:grpChg chg="del">
          <ac:chgData name="Karmakar, Sumit" userId="S::skarmakar@elogex.com::5d020034-ff2c-4e7e-8d00-e94708d613b2" providerId="AD" clId="Web-{9E40FD65-39EC-AB2F-BB32-25D6E8348A36}" dt="2024-02-29T13:46:34.089" v="112"/>
          <ac:grpSpMkLst>
            <pc:docMk/>
            <pc:sldMk cId="989006033" sldId="2147479593"/>
            <ac:grpSpMk id="90" creationId="{DC0FBE77-9BC4-F896-C5F3-478E63E723FB}"/>
          </ac:grpSpMkLst>
        </pc:grpChg>
        <pc:grpChg chg="del">
          <ac:chgData name="Karmakar, Sumit" userId="S::skarmakar@elogex.com::5d020034-ff2c-4e7e-8d00-e94708d613b2" providerId="AD" clId="Web-{9E40FD65-39EC-AB2F-BB32-25D6E8348A36}" dt="2024-02-29T13:46:34.011" v="62"/>
          <ac:grpSpMkLst>
            <pc:docMk/>
            <pc:sldMk cId="989006033" sldId="2147479593"/>
            <ac:grpSpMk id="100" creationId="{BBD74483-E925-63C6-3F0E-DB05C87E532A}"/>
          </ac:grpSpMkLst>
        </pc:grpChg>
        <pc:grpChg chg="del">
          <ac:chgData name="Karmakar, Sumit" userId="S::skarmakar@elogex.com::5d020034-ff2c-4e7e-8d00-e94708d613b2" providerId="AD" clId="Web-{9E40FD65-39EC-AB2F-BB32-25D6E8348A36}" dt="2024-02-29T13:46:34.011" v="59"/>
          <ac:grpSpMkLst>
            <pc:docMk/>
            <pc:sldMk cId="989006033" sldId="2147479593"/>
            <ac:grpSpMk id="122" creationId="{6AEE4829-6600-B923-4914-BAEB923EDB5D}"/>
          </ac:grpSpMkLst>
        </pc:grpChg>
        <pc:grpChg chg="del">
          <ac:chgData name="Karmakar, Sumit" userId="S::skarmakar@elogex.com::5d020034-ff2c-4e7e-8d00-e94708d613b2" providerId="AD" clId="Web-{9E40FD65-39EC-AB2F-BB32-25D6E8348A36}" dt="2024-02-29T13:46:34.011" v="44"/>
          <ac:grpSpMkLst>
            <pc:docMk/>
            <pc:sldMk cId="989006033" sldId="2147479593"/>
            <ac:grpSpMk id="154" creationId="{10325E37-EF74-42F6-F944-BF02E5AA7D9F}"/>
          </ac:grpSpMkLst>
        </pc:grpChg>
        <pc:grpChg chg="del">
          <ac:chgData name="Karmakar, Sumit" userId="S::skarmakar@elogex.com::5d020034-ff2c-4e7e-8d00-e94708d613b2" providerId="AD" clId="Web-{9E40FD65-39EC-AB2F-BB32-25D6E8348A36}" dt="2024-02-29T13:46:34.073" v="94"/>
          <ac:grpSpMkLst>
            <pc:docMk/>
            <pc:sldMk cId="989006033" sldId="2147479593"/>
            <ac:grpSpMk id="201" creationId="{17310CC7-DFFF-1713-F79A-4D899B1E926C}"/>
          </ac:grpSpMkLst>
        </pc:grpChg>
        <pc:grpChg chg="del">
          <ac:chgData name="Karmakar, Sumit" userId="S::skarmakar@elogex.com::5d020034-ff2c-4e7e-8d00-e94708d613b2" providerId="AD" clId="Web-{9E40FD65-39EC-AB2F-BB32-25D6E8348A36}" dt="2024-02-29T13:46:34.073" v="92"/>
          <ac:grpSpMkLst>
            <pc:docMk/>
            <pc:sldMk cId="989006033" sldId="2147479593"/>
            <ac:grpSpMk id="227" creationId="{14761402-41A1-6738-96AB-D6F144DF2BB5}"/>
          </ac:grpSpMkLst>
        </pc:grpChg>
        <pc:picChg chg="del">
          <ac:chgData name="Karmakar, Sumit" userId="S::skarmakar@elogex.com::5d020034-ff2c-4e7e-8d00-e94708d613b2" providerId="AD" clId="Web-{9E40FD65-39EC-AB2F-BB32-25D6E8348A36}" dt="2024-02-29T13:46:34.011" v="75"/>
          <ac:picMkLst>
            <pc:docMk/>
            <pc:sldMk cId="989006033" sldId="2147479593"/>
            <ac:picMk id="2" creationId="{F9F72AA1-DD23-AAEB-3594-0DC76F0C688B}"/>
          </ac:picMkLst>
        </pc:picChg>
        <pc:picChg chg="del">
          <ac:chgData name="Karmakar, Sumit" userId="S::skarmakar@elogex.com::5d020034-ff2c-4e7e-8d00-e94708d613b2" providerId="AD" clId="Web-{9E40FD65-39EC-AB2F-BB32-25D6E8348A36}" dt="2024-02-29T13:46:34.104" v="128"/>
          <ac:picMkLst>
            <pc:docMk/>
            <pc:sldMk cId="989006033" sldId="2147479593"/>
            <ac:picMk id="5" creationId="{3428DED1-E5DF-F3D4-FDE8-80807B791C22}"/>
          </ac:picMkLst>
        </pc:picChg>
        <pc:picChg chg="del">
          <ac:chgData name="Karmakar, Sumit" userId="S::skarmakar@elogex.com::5d020034-ff2c-4e7e-8d00-e94708d613b2" providerId="AD" clId="Web-{9E40FD65-39EC-AB2F-BB32-25D6E8348A36}" dt="2024-02-29T13:46:34.042" v="79"/>
          <ac:picMkLst>
            <pc:docMk/>
            <pc:sldMk cId="989006033" sldId="2147479593"/>
            <ac:picMk id="7" creationId="{B437F8F2-7982-B74E-EB22-12D488E4582F}"/>
          </ac:picMkLst>
        </pc:picChg>
        <pc:picChg chg="del">
          <ac:chgData name="Karmakar, Sumit" userId="S::skarmakar@elogex.com::5d020034-ff2c-4e7e-8d00-e94708d613b2" providerId="AD" clId="Web-{9E40FD65-39EC-AB2F-BB32-25D6E8348A36}" dt="2024-02-29T13:46:34.026" v="76"/>
          <ac:picMkLst>
            <pc:docMk/>
            <pc:sldMk cId="989006033" sldId="2147479593"/>
            <ac:picMk id="10" creationId="{11B74EF0-FF10-8FB5-BA82-58D22BF34BED}"/>
          </ac:picMkLst>
        </pc:picChg>
        <pc:picChg chg="del">
          <ac:chgData name="Karmakar, Sumit" userId="S::skarmakar@elogex.com::5d020034-ff2c-4e7e-8d00-e94708d613b2" providerId="AD" clId="Web-{9E40FD65-39EC-AB2F-BB32-25D6E8348A36}" dt="2024-02-29T13:46:34.011" v="74"/>
          <ac:picMkLst>
            <pc:docMk/>
            <pc:sldMk cId="989006033" sldId="2147479593"/>
            <ac:picMk id="12" creationId="{7F8F0512-E6B3-D76B-8D6A-B4B00CECA859}"/>
          </ac:picMkLst>
        </pc:picChg>
        <pc:picChg chg="del">
          <ac:chgData name="Karmakar, Sumit" userId="S::skarmakar@elogex.com::5d020034-ff2c-4e7e-8d00-e94708d613b2" providerId="AD" clId="Web-{9E40FD65-39EC-AB2F-BB32-25D6E8348A36}" dt="2024-02-29T13:46:34.089" v="122"/>
          <ac:picMkLst>
            <pc:docMk/>
            <pc:sldMk cId="989006033" sldId="2147479593"/>
            <ac:picMk id="51" creationId="{26C3E68F-5A0B-0774-0A49-40E2C24E92D0}"/>
          </ac:picMkLst>
        </pc:picChg>
        <pc:picChg chg="del">
          <ac:chgData name="Karmakar, Sumit" userId="S::skarmakar@elogex.com::5d020034-ff2c-4e7e-8d00-e94708d613b2" providerId="AD" clId="Web-{9E40FD65-39EC-AB2F-BB32-25D6E8348A36}" dt="2024-02-29T13:46:34.089" v="121"/>
          <ac:picMkLst>
            <pc:docMk/>
            <pc:sldMk cId="989006033" sldId="2147479593"/>
            <ac:picMk id="54" creationId="{327FE103-2D9D-32E4-2590-8F09AAE84D11}"/>
          </ac:picMkLst>
        </pc:picChg>
        <pc:picChg chg="del">
          <ac:chgData name="Karmakar, Sumit" userId="S::skarmakar@elogex.com::5d020034-ff2c-4e7e-8d00-e94708d613b2" providerId="AD" clId="Web-{9E40FD65-39EC-AB2F-BB32-25D6E8348A36}" dt="2024-02-29T13:46:34.089" v="120"/>
          <ac:picMkLst>
            <pc:docMk/>
            <pc:sldMk cId="989006033" sldId="2147479593"/>
            <ac:picMk id="56" creationId="{9D7A2425-9365-4A78-598E-ED2EF61B9CBA}"/>
          </ac:picMkLst>
        </pc:picChg>
        <pc:picChg chg="del">
          <ac:chgData name="Karmakar, Sumit" userId="S::skarmakar@elogex.com::5d020034-ff2c-4e7e-8d00-e94708d613b2" providerId="AD" clId="Web-{9E40FD65-39EC-AB2F-BB32-25D6E8348A36}" dt="2024-02-29T13:46:34.089" v="119"/>
          <ac:picMkLst>
            <pc:docMk/>
            <pc:sldMk cId="989006033" sldId="2147479593"/>
            <ac:picMk id="58" creationId="{FD1450F7-1667-4848-2ACD-EFB3BC6BE6B9}"/>
          </ac:picMkLst>
        </pc:picChg>
        <pc:picChg chg="del">
          <ac:chgData name="Karmakar, Sumit" userId="S::skarmakar@elogex.com::5d020034-ff2c-4e7e-8d00-e94708d613b2" providerId="AD" clId="Web-{9E40FD65-39EC-AB2F-BB32-25D6E8348A36}" dt="2024-02-29T13:46:34.089" v="118"/>
          <ac:picMkLst>
            <pc:docMk/>
            <pc:sldMk cId="989006033" sldId="2147479593"/>
            <ac:picMk id="59" creationId="{0DDE284E-CBEC-C0D4-6E4C-60AA7F8993A6}"/>
          </ac:picMkLst>
        </pc:picChg>
        <pc:picChg chg="del">
          <ac:chgData name="Karmakar, Sumit" userId="S::skarmakar@elogex.com::5d020034-ff2c-4e7e-8d00-e94708d613b2" providerId="AD" clId="Web-{9E40FD65-39EC-AB2F-BB32-25D6E8348A36}" dt="2024-02-29T13:46:34.073" v="88"/>
          <ac:picMkLst>
            <pc:docMk/>
            <pc:sldMk cId="989006033" sldId="2147479593"/>
            <ac:picMk id="87" creationId="{8F51DB2E-9671-5B7B-55E7-C2717FDCBDAD}"/>
          </ac:picMkLst>
        </pc:picChg>
        <pc:picChg chg="del">
          <ac:chgData name="Karmakar, Sumit" userId="S::skarmakar@elogex.com::5d020034-ff2c-4e7e-8d00-e94708d613b2" providerId="AD" clId="Web-{9E40FD65-39EC-AB2F-BB32-25D6E8348A36}" dt="2024-02-29T13:46:34.058" v="87"/>
          <ac:picMkLst>
            <pc:docMk/>
            <pc:sldMk cId="989006033" sldId="2147479593"/>
            <ac:picMk id="88" creationId="{F9ADFCB2-4BF7-511D-1C3A-111E61557101}"/>
          </ac:picMkLst>
        </pc:picChg>
        <pc:picChg chg="del">
          <ac:chgData name="Karmakar, Sumit" userId="S::skarmakar@elogex.com::5d020034-ff2c-4e7e-8d00-e94708d613b2" providerId="AD" clId="Web-{9E40FD65-39EC-AB2F-BB32-25D6E8348A36}" dt="2024-02-29T13:46:34.089" v="104"/>
          <ac:picMkLst>
            <pc:docMk/>
            <pc:sldMk cId="989006033" sldId="2147479593"/>
            <ac:picMk id="135" creationId="{2678A218-FF22-B524-5DCF-4C53C8BAE410}"/>
          </ac:picMkLst>
        </pc:picChg>
        <pc:picChg chg="del">
          <ac:chgData name="Karmakar, Sumit" userId="S::skarmakar@elogex.com::5d020034-ff2c-4e7e-8d00-e94708d613b2" providerId="AD" clId="Web-{9E40FD65-39EC-AB2F-BB32-25D6E8348A36}" dt="2024-02-29T13:46:34.011" v="52"/>
          <ac:picMkLst>
            <pc:docMk/>
            <pc:sldMk cId="989006033" sldId="2147479593"/>
            <ac:picMk id="141" creationId="{35AFD291-9A34-5E33-A80D-1C4982F8D04A}"/>
          </ac:picMkLst>
        </pc:picChg>
        <pc:picChg chg="del">
          <ac:chgData name="Karmakar, Sumit" userId="S::skarmakar@elogex.com::5d020034-ff2c-4e7e-8d00-e94708d613b2" providerId="AD" clId="Web-{9E40FD65-39EC-AB2F-BB32-25D6E8348A36}" dt="2024-02-29T13:46:34.011" v="51"/>
          <ac:picMkLst>
            <pc:docMk/>
            <pc:sldMk cId="989006033" sldId="2147479593"/>
            <ac:picMk id="142" creationId="{95BFEB58-CD00-8B98-3F30-34B67933ED77}"/>
          </ac:picMkLst>
        </pc:picChg>
        <pc:picChg chg="del">
          <ac:chgData name="Karmakar, Sumit" userId="S::skarmakar@elogex.com::5d020034-ff2c-4e7e-8d00-e94708d613b2" providerId="AD" clId="Web-{9E40FD65-39EC-AB2F-BB32-25D6E8348A36}" dt="2024-02-29T13:46:34.089" v="101"/>
          <ac:picMkLst>
            <pc:docMk/>
            <pc:sldMk cId="989006033" sldId="2147479593"/>
            <ac:picMk id="143" creationId="{43C9193B-ACA8-B2F9-A4D3-2658A2466F94}"/>
          </ac:picMkLst>
        </pc:picChg>
        <pc:picChg chg="del">
          <ac:chgData name="Karmakar, Sumit" userId="S::skarmakar@elogex.com::5d020034-ff2c-4e7e-8d00-e94708d613b2" providerId="AD" clId="Web-{9E40FD65-39EC-AB2F-BB32-25D6E8348A36}" dt="2024-02-29T13:46:34.011" v="49"/>
          <ac:picMkLst>
            <pc:docMk/>
            <pc:sldMk cId="989006033" sldId="2147479593"/>
            <ac:picMk id="146" creationId="{8728373E-3DA0-DEE1-4067-4A86EF457628}"/>
          </ac:picMkLst>
        </pc:picChg>
        <pc:picChg chg="del">
          <ac:chgData name="Karmakar, Sumit" userId="S::skarmakar@elogex.com::5d020034-ff2c-4e7e-8d00-e94708d613b2" providerId="AD" clId="Web-{9E40FD65-39EC-AB2F-BB32-25D6E8348A36}" dt="2024-02-29T13:46:34.011" v="48"/>
          <ac:picMkLst>
            <pc:docMk/>
            <pc:sldMk cId="989006033" sldId="2147479593"/>
            <ac:picMk id="149" creationId="{782A16E0-2B08-F73F-D3B7-0A5F48129F14}"/>
          </ac:picMkLst>
        </pc:picChg>
        <pc:picChg chg="del">
          <ac:chgData name="Karmakar, Sumit" userId="S::skarmakar@elogex.com::5d020034-ff2c-4e7e-8d00-e94708d613b2" providerId="AD" clId="Web-{9E40FD65-39EC-AB2F-BB32-25D6E8348A36}" dt="2024-02-29T13:46:34.011" v="47"/>
          <ac:picMkLst>
            <pc:docMk/>
            <pc:sldMk cId="989006033" sldId="2147479593"/>
            <ac:picMk id="150" creationId="{A866F0F8-AA89-2198-C9A2-A2DB11EF79DD}"/>
          </ac:picMkLst>
        </pc:picChg>
        <pc:picChg chg="del">
          <ac:chgData name="Karmakar, Sumit" userId="S::skarmakar@elogex.com::5d020034-ff2c-4e7e-8d00-e94708d613b2" providerId="AD" clId="Web-{9E40FD65-39EC-AB2F-BB32-25D6E8348A36}" dt="2024-02-29T13:46:34.011" v="46"/>
          <ac:picMkLst>
            <pc:docMk/>
            <pc:sldMk cId="989006033" sldId="2147479593"/>
            <ac:picMk id="151" creationId="{4C033D60-C244-97EF-7E8B-DBD6DD274E22}"/>
          </ac:picMkLst>
        </pc:picChg>
        <pc:picChg chg="del">
          <ac:chgData name="Karmakar, Sumit" userId="S::skarmakar@elogex.com::5d020034-ff2c-4e7e-8d00-e94708d613b2" providerId="AD" clId="Web-{9E40FD65-39EC-AB2F-BB32-25D6E8348A36}" dt="2024-02-29T13:46:34.011" v="45"/>
          <ac:picMkLst>
            <pc:docMk/>
            <pc:sldMk cId="989006033" sldId="2147479593"/>
            <ac:picMk id="152" creationId="{F25CFAC6-B955-D2F2-2899-A3AA0F28254B}"/>
          </ac:picMkLst>
        </pc:picChg>
        <pc:picChg chg="del">
          <ac:chgData name="Karmakar, Sumit" userId="S::skarmakar@elogex.com::5d020034-ff2c-4e7e-8d00-e94708d613b2" providerId="AD" clId="Web-{9E40FD65-39EC-AB2F-BB32-25D6E8348A36}" dt="2024-02-29T13:46:33.995" v="42"/>
          <ac:picMkLst>
            <pc:docMk/>
            <pc:sldMk cId="989006033" sldId="2147479593"/>
            <ac:picMk id="158" creationId="{96622CE5-62C9-83F0-BA82-A367DC012BE5}"/>
          </ac:picMkLst>
        </pc:picChg>
        <pc:picChg chg="del">
          <ac:chgData name="Karmakar, Sumit" userId="S::skarmakar@elogex.com::5d020034-ff2c-4e7e-8d00-e94708d613b2" providerId="AD" clId="Web-{9E40FD65-39EC-AB2F-BB32-25D6E8348A36}" dt="2024-02-29T13:46:33.995" v="35"/>
          <ac:picMkLst>
            <pc:docMk/>
            <pc:sldMk cId="989006033" sldId="2147479593"/>
            <ac:picMk id="169" creationId="{3C833311-A46D-6A78-AC69-0B7D4DBD1492}"/>
          </ac:picMkLst>
        </pc:picChg>
        <pc:cxnChg chg="del mod">
          <ac:chgData name="Karmakar, Sumit" userId="S::skarmakar@elogex.com::5d020034-ff2c-4e7e-8d00-e94708d613b2" providerId="AD" clId="Web-{9E40FD65-39EC-AB2F-BB32-25D6E8348A36}" dt="2024-02-29T13:46:34.026" v="78"/>
          <ac:cxnSpMkLst>
            <pc:docMk/>
            <pc:sldMk cId="989006033" sldId="2147479593"/>
            <ac:cxnSpMk id="8" creationId="{5E915111-EA72-168D-EE81-99115808E760}"/>
          </ac:cxnSpMkLst>
        </pc:cxnChg>
        <pc:cxnChg chg="del mod">
          <ac:chgData name="Karmakar, Sumit" userId="S::skarmakar@elogex.com::5d020034-ff2c-4e7e-8d00-e94708d613b2" providerId="AD" clId="Web-{9E40FD65-39EC-AB2F-BB32-25D6E8348A36}" dt="2024-02-29T13:46:34.104" v="127"/>
          <ac:cxnSpMkLst>
            <pc:docMk/>
            <pc:sldMk cId="989006033" sldId="2147479593"/>
            <ac:cxnSpMk id="14" creationId="{BB60D2E4-0D1F-6133-7B23-18B4D5B54DE6}"/>
          </ac:cxnSpMkLst>
        </pc:cxnChg>
        <pc:cxnChg chg="del mod">
          <ac:chgData name="Karmakar, Sumit" userId="S::skarmakar@elogex.com::5d020034-ff2c-4e7e-8d00-e94708d613b2" providerId="AD" clId="Web-{9E40FD65-39EC-AB2F-BB32-25D6E8348A36}" dt="2024-02-29T13:46:34.089" v="117"/>
          <ac:cxnSpMkLst>
            <pc:docMk/>
            <pc:sldMk cId="989006033" sldId="2147479593"/>
            <ac:cxnSpMk id="69" creationId="{10E64DAC-3DB9-7162-E949-0103842E6006}"/>
          </ac:cxnSpMkLst>
        </pc:cxnChg>
        <pc:cxnChg chg="del mod">
          <ac:chgData name="Karmakar, Sumit" userId="S::skarmakar@elogex.com::5d020034-ff2c-4e7e-8d00-e94708d613b2" providerId="AD" clId="Web-{9E40FD65-39EC-AB2F-BB32-25D6E8348A36}" dt="2024-02-29T13:46:34.089" v="116"/>
          <ac:cxnSpMkLst>
            <pc:docMk/>
            <pc:sldMk cId="989006033" sldId="2147479593"/>
            <ac:cxnSpMk id="75" creationId="{79B3B09A-CDF6-9571-CB95-33AAB2CF5012}"/>
          </ac:cxnSpMkLst>
        </pc:cxnChg>
        <pc:cxnChg chg="del mod">
          <ac:chgData name="Karmakar, Sumit" userId="S::skarmakar@elogex.com::5d020034-ff2c-4e7e-8d00-e94708d613b2" providerId="AD" clId="Web-{9E40FD65-39EC-AB2F-BB32-25D6E8348A36}" dt="2024-02-29T13:46:34.089" v="115"/>
          <ac:cxnSpMkLst>
            <pc:docMk/>
            <pc:sldMk cId="989006033" sldId="2147479593"/>
            <ac:cxnSpMk id="78" creationId="{565DF10F-B536-920A-6494-E0989D27B0D6}"/>
          </ac:cxnSpMkLst>
        </pc:cxnChg>
        <pc:cxnChg chg="del mod">
          <ac:chgData name="Karmakar, Sumit" userId="S::skarmakar@elogex.com::5d020034-ff2c-4e7e-8d00-e94708d613b2" providerId="AD" clId="Web-{9E40FD65-39EC-AB2F-BB32-25D6E8348A36}" dt="2024-02-29T13:46:34.089" v="114"/>
          <ac:cxnSpMkLst>
            <pc:docMk/>
            <pc:sldMk cId="989006033" sldId="2147479593"/>
            <ac:cxnSpMk id="81" creationId="{24B8D4D8-D76A-1978-7286-82AF715C5267}"/>
          </ac:cxnSpMkLst>
        </pc:cxnChg>
        <pc:cxnChg chg="del mod">
          <ac:chgData name="Karmakar, Sumit" userId="S::skarmakar@elogex.com::5d020034-ff2c-4e7e-8d00-e94708d613b2" providerId="AD" clId="Web-{9E40FD65-39EC-AB2F-BB32-25D6E8348A36}" dt="2024-02-29T13:46:34.089" v="113"/>
          <ac:cxnSpMkLst>
            <pc:docMk/>
            <pc:sldMk cId="989006033" sldId="2147479593"/>
            <ac:cxnSpMk id="84" creationId="{E9F72A81-66A8-1FF0-FDE9-FAC099C654A4}"/>
          </ac:cxnSpMkLst>
        </pc:cxnChg>
        <pc:cxnChg chg="del mod">
          <ac:chgData name="Karmakar, Sumit" userId="S::skarmakar@elogex.com::5d020034-ff2c-4e7e-8d00-e94708d613b2" providerId="AD" clId="Web-{9E40FD65-39EC-AB2F-BB32-25D6E8348A36}" dt="2024-02-29T13:46:34.058" v="86"/>
          <ac:cxnSpMkLst>
            <pc:docMk/>
            <pc:sldMk cId="989006033" sldId="2147479593"/>
            <ac:cxnSpMk id="89" creationId="{C69A5FA1-1913-9E1F-8A20-79FCAC90B299}"/>
          </ac:cxnSpMkLst>
        </pc:cxnChg>
        <pc:cxnChg chg="del mod">
          <ac:chgData name="Karmakar, Sumit" userId="S::skarmakar@elogex.com::5d020034-ff2c-4e7e-8d00-e94708d613b2" providerId="AD" clId="Web-{9E40FD65-39EC-AB2F-BB32-25D6E8348A36}" dt="2024-02-29T13:46:34.058" v="85"/>
          <ac:cxnSpMkLst>
            <pc:docMk/>
            <pc:sldMk cId="989006033" sldId="2147479593"/>
            <ac:cxnSpMk id="95" creationId="{5EF8A502-3CC5-8B5D-21C8-5B19C97A25D8}"/>
          </ac:cxnSpMkLst>
        </pc:cxnChg>
        <pc:cxnChg chg="del mod">
          <ac:chgData name="Karmakar, Sumit" userId="S::skarmakar@elogex.com::5d020034-ff2c-4e7e-8d00-e94708d613b2" providerId="AD" clId="Web-{9E40FD65-39EC-AB2F-BB32-25D6E8348A36}" dt="2024-02-29T13:46:34.089" v="102"/>
          <ac:cxnSpMkLst>
            <pc:docMk/>
            <pc:sldMk cId="989006033" sldId="2147479593"/>
            <ac:cxnSpMk id="140" creationId="{A1504160-BF66-F960-6DA4-3E497DA3107F}"/>
          </ac:cxnSpMkLst>
        </pc:cxnChg>
        <pc:cxnChg chg="del mod">
          <ac:chgData name="Karmakar, Sumit" userId="S::skarmakar@elogex.com::5d020034-ff2c-4e7e-8d00-e94708d613b2" providerId="AD" clId="Web-{9E40FD65-39EC-AB2F-BB32-25D6E8348A36}" dt="2024-02-29T13:46:34.089" v="100"/>
          <ac:cxnSpMkLst>
            <pc:docMk/>
            <pc:sldMk cId="989006033" sldId="2147479593"/>
            <ac:cxnSpMk id="144" creationId="{E8030F25-1F27-9ABC-358F-F1939F260C2B}"/>
          </ac:cxnSpMkLst>
        </pc:cxnChg>
        <pc:cxnChg chg="del mod">
          <ac:chgData name="Karmakar, Sumit" userId="S::skarmakar@elogex.com::5d020034-ff2c-4e7e-8d00-e94708d613b2" providerId="AD" clId="Web-{9E40FD65-39EC-AB2F-BB32-25D6E8348A36}" dt="2024-02-29T13:46:34.073" v="95"/>
          <ac:cxnSpMkLst>
            <pc:docMk/>
            <pc:sldMk cId="989006033" sldId="2147479593"/>
            <ac:cxnSpMk id="191" creationId="{3043395E-E095-E489-940E-45BB9753B3A8}"/>
          </ac:cxnSpMkLst>
        </pc:cxnChg>
      </pc:sldChg>
      <pc:sldChg chg="delSp modSp">
        <pc:chgData name="Karmakar, Sumit" userId="S::skarmakar@elogex.com::5d020034-ff2c-4e7e-8d00-e94708d613b2" providerId="AD" clId="Web-{9E40FD65-39EC-AB2F-BB32-25D6E8348A36}" dt="2024-02-29T13:53:05.176" v="250" actId="20577"/>
        <pc:sldMkLst>
          <pc:docMk/>
          <pc:sldMk cId="4082499125" sldId="2147479704"/>
        </pc:sldMkLst>
        <pc:spChg chg="mod">
          <ac:chgData name="Karmakar, Sumit" userId="S::skarmakar@elogex.com::5d020034-ff2c-4e7e-8d00-e94708d613b2" providerId="AD" clId="Web-{9E40FD65-39EC-AB2F-BB32-25D6E8348A36}" dt="2024-02-29T13:53:05.176" v="250" actId="20577"/>
          <ac:spMkLst>
            <pc:docMk/>
            <pc:sldMk cId="4082499125" sldId="2147479704"/>
            <ac:spMk id="2" creationId="{9EEF2002-EC66-31A0-CDB0-B27A5C3877BF}"/>
          </ac:spMkLst>
        </pc:spChg>
        <pc:spChg chg="del">
          <ac:chgData name="Karmakar, Sumit" userId="S::skarmakar@elogex.com::5d020034-ff2c-4e7e-8d00-e94708d613b2" providerId="AD" clId="Web-{9E40FD65-39EC-AB2F-BB32-25D6E8348A36}" dt="2024-02-29T13:46:47.777" v="139"/>
          <ac:spMkLst>
            <pc:docMk/>
            <pc:sldMk cId="4082499125" sldId="2147479704"/>
            <ac:spMk id="495" creationId="{E3A3EE98-C2CE-D54B-B7B9-39EC9B55951F}"/>
          </ac:spMkLst>
        </pc:spChg>
        <pc:spChg chg="del">
          <ac:chgData name="Karmakar, Sumit" userId="S::skarmakar@elogex.com::5d020034-ff2c-4e7e-8d00-e94708d613b2" providerId="AD" clId="Web-{9E40FD65-39EC-AB2F-BB32-25D6E8348A36}" dt="2024-02-29T13:46:47.777" v="138"/>
          <ac:spMkLst>
            <pc:docMk/>
            <pc:sldMk cId="4082499125" sldId="2147479704"/>
            <ac:spMk id="496" creationId="{AB6BABF1-9913-B84D-A93A-D6AB2A6EBECB}"/>
          </ac:spMkLst>
        </pc:spChg>
        <pc:spChg chg="del">
          <ac:chgData name="Karmakar, Sumit" userId="S::skarmakar@elogex.com::5d020034-ff2c-4e7e-8d00-e94708d613b2" providerId="AD" clId="Web-{9E40FD65-39EC-AB2F-BB32-25D6E8348A36}" dt="2024-02-29T13:46:47.777" v="137"/>
          <ac:spMkLst>
            <pc:docMk/>
            <pc:sldMk cId="4082499125" sldId="2147479704"/>
            <ac:spMk id="497" creationId="{85DDC21B-E6AA-9B41-8F2F-AA6AB717B03D}"/>
          </ac:spMkLst>
        </pc:spChg>
        <pc:spChg chg="del">
          <ac:chgData name="Karmakar, Sumit" userId="S::skarmakar@elogex.com::5d020034-ff2c-4e7e-8d00-e94708d613b2" providerId="AD" clId="Web-{9E40FD65-39EC-AB2F-BB32-25D6E8348A36}" dt="2024-02-29T13:46:47.777" v="136"/>
          <ac:spMkLst>
            <pc:docMk/>
            <pc:sldMk cId="4082499125" sldId="2147479704"/>
            <ac:spMk id="498" creationId="{30525AAB-99D7-9B4B-8449-C82E0D43577D}"/>
          </ac:spMkLst>
        </pc:spChg>
        <pc:spChg chg="del">
          <ac:chgData name="Karmakar, Sumit" userId="S::skarmakar@elogex.com::5d020034-ff2c-4e7e-8d00-e94708d613b2" providerId="AD" clId="Web-{9E40FD65-39EC-AB2F-BB32-25D6E8348A36}" dt="2024-02-29T13:46:47.777" v="134"/>
          <ac:spMkLst>
            <pc:docMk/>
            <pc:sldMk cId="4082499125" sldId="2147479704"/>
            <ac:spMk id="509" creationId="{D6BE3649-7D9B-AD4D-86F1-C9C22ED531E5}"/>
          </ac:spMkLst>
        </pc:spChg>
        <pc:spChg chg="del">
          <ac:chgData name="Karmakar, Sumit" userId="S::skarmakar@elogex.com::5d020034-ff2c-4e7e-8d00-e94708d613b2" providerId="AD" clId="Web-{9E40FD65-39EC-AB2F-BB32-25D6E8348A36}" dt="2024-02-29T13:46:47.777" v="140"/>
          <ac:spMkLst>
            <pc:docMk/>
            <pc:sldMk cId="4082499125" sldId="2147479704"/>
            <ac:spMk id="511" creationId="{BA76D40D-7912-4849-ABD9-F2D54C0CF2ED}"/>
          </ac:spMkLst>
        </pc:spChg>
        <pc:grpChg chg="del">
          <ac:chgData name="Karmakar, Sumit" userId="S::skarmakar@elogex.com::5d020034-ff2c-4e7e-8d00-e94708d613b2" providerId="AD" clId="Web-{9E40FD65-39EC-AB2F-BB32-25D6E8348A36}" dt="2024-02-29T13:46:47.777" v="135"/>
          <ac:grpSpMkLst>
            <pc:docMk/>
            <pc:sldMk cId="4082499125" sldId="2147479704"/>
            <ac:grpSpMk id="4" creationId="{5BA1E5C3-163E-3857-6493-A9410028E93A}"/>
          </ac:grpSpMkLst>
        </pc:grpChg>
        <pc:grpChg chg="del">
          <ac:chgData name="Karmakar, Sumit" userId="S::skarmakar@elogex.com::5d020034-ff2c-4e7e-8d00-e94708d613b2" providerId="AD" clId="Web-{9E40FD65-39EC-AB2F-BB32-25D6E8348A36}" dt="2024-02-29T13:46:47.777" v="132"/>
          <ac:grpSpMkLst>
            <pc:docMk/>
            <pc:sldMk cId="4082499125" sldId="2147479704"/>
            <ac:grpSpMk id="13" creationId="{B697CF62-6AA1-347F-1491-031FD35E45CC}"/>
          </ac:grpSpMkLst>
        </pc:grpChg>
        <pc:grpChg chg="del">
          <ac:chgData name="Karmakar, Sumit" userId="S::skarmakar@elogex.com::5d020034-ff2c-4e7e-8d00-e94708d613b2" providerId="AD" clId="Web-{9E40FD65-39EC-AB2F-BB32-25D6E8348A36}" dt="2024-02-29T13:46:47.777" v="133"/>
          <ac:grpSpMkLst>
            <pc:docMk/>
            <pc:sldMk cId="4082499125" sldId="2147479704"/>
            <ac:grpSpMk id="18" creationId="{EA1DC2D7-3DF8-0E55-AF10-CAF808273653}"/>
          </ac:grpSpMkLst>
        </pc:grpChg>
      </pc:sldChg>
      <pc:sldChg chg="addSp delSp modSp">
        <pc:chgData name="Karmakar, Sumit" userId="S::skarmakar@elogex.com::5d020034-ff2c-4e7e-8d00-e94708d613b2" providerId="AD" clId="Web-{9E40FD65-39EC-AB2F-BB32-25D6E8348A36}" dt="2024-02-29T13:52:34.176" v="244" actId="20577"/>
        <pc:sldMkLst>
          <pc:docMk/>
          <pc:sldMk cId="2371631138" sldId="2147479780"/>
        </pc:sldMkLst>
        <pc:spChg chg="mod">
          <ac:chgData name="Karmakar, Sumit" userId="S::skarmakar@elogex.com::5d020034-ff2c-4e7e-8d00-e94708d613b2" providerId="AD" clId="Web-{9E40FD65-39EC-AB2F-BB32-25D6E8348A36}" dt="2024-02-29T13:52:34.176" v="244" actId="20577"/>
          <ac:spMkLst>
            <pc:docMk/>
            <pc:sldMk cId="2371631138" sldId="2147479780"/>
            <ac:spMk id="5" creationId="{AA965B8F-560B-560F-794A-6338F063A727}"/>
          </ac:spMkLst>
        </pc:spChg>
        <pc:spChg chg="add mod">
          <ac:chgData name="Karmakar, Sumit" userId="S::skarmakar@elogex.com::5d020034-ff2c-4e7e-8d00-e94708d613b2" providerId="AD" clId="Web-{9E40FD65-39EC-AB2F-BB32-25D6E8348A36}" dt="2024-02-29T13:51:15.205" v="231" actId="14100"/>
          <ac:spMkLst>
            <pc:docMk/>
            <pc:sldMk cId="2371631138" sldId="2147479780"/>
            <ac:spMk id="6" creationId="{6830FACA-7047-C8D0-75CD-BD592A11908B}"/>
          </ac:spMkLst>
        </pc:spChg>
        <pc:picChg chg="del">
          <ac:chgData name="Karmakar, Sumit" userId="S::skarmakar@elogex.com::5d020034-ff2c-4e7e-8d00-e94708d613b2" providerId="AD" clId="Web-{9E40FD65-39EC-AB2F-BB32-25D6E8348A36}" dt="2024-02-29T13:46:06.510" v="24"/>
          <ac:picMkLst>
            <pc:docMk/>
            <pc:sldMk cId="2371631138" sldId="2147479780"/>
            <ac:picMk id="2" creationId="{9C4150CF-09D1-145C-2091-4DE2599C386E}"/>
          </ac:picMkLst>
        </pc:picChg>
      </pc:sldChg>
      <pc:sldChg chg="del">
        <pc:chgData name="Karmakar, Sumit" userId="S::skarmakar@elogex.com::5d020034-ff2c-4e7e-8d00-e94708d613b2" providerId="AD" clId="Web-{9E40FD65-39EC-AB2F-BB32-25D6E8348A36}" dt="2024-02-29T13:50:00.938" v="215"/>
        <pc:sldMkLst>
          <pc:docMk/>
          <pc:sldMk cId="2768228940" sldId="2147480034"/>
        </pc:sldMkLst>
      </pc:sldChg>
      <pc:sldChg chg="addSp delSp modSp">
        <pc:chgData name="Karmakar, Sumit" userId="S::skarmakar@elogex.com::5d020034-ff2c-4e7e-8d00-e94708d613b2" providerId="AD" clId="Web-{9E40FD65-39EC-AB2F-BB32-25D6E8348A36}" dt="2024-02-29T13:54:36.304" v="267" actId="20577"/>
        <pc:sldMkLst>
          <pc:docMk/>
          <pc:sldMk cId="3934650505" sldId="2147480035"/>
        </pc:sldMkLst>
        <pc:spChg chg="del">
          <ac:chgData name="Karmakar, Sumit" userId="S::skarmakar@elogex.com::5d020034-ff2c-4e7e-8d00-e94708d613b2" providerId="AD" clId="Web-{9E40FD65-39EC-AB2F-BB32-25D6E8348A36}" dt="2024-02-29T13:49:30.077" v="204"/>
          <ac:spMkLst>
            <pc:docMk/>
            <pc:sldMk cId="3934650505" sldId="2147480035"/>
            <ac:spMk id="3" creationId="{24CB9D74-97AD-1FBC-EDC5-62BA0759608C}"/>
          </ac:spMkLst>
        </pc:spChg>
        <pc:spChg chg="del">
          <ac:chgData name="Karmakar, Sumit" userId="S::skarmakar@elogex.com::5d020034-ff2c-4e7e-8d00-e94708d613b2" providerId="AD" clId="Web-{9E40FD65-39EC-AB2F-BB32-25D6E8348A36}" dt="2024-02-29T13:49:19.999" v="202"/>
          <ac:spMkLst>
            <pc:docMk/>
            <pc:sldMk cId="3934650505" sldId="2147480035"/>
            <ac:spMk id="4" creationId="{869B021C-0A2D-0974-C759-F09E100EA085}"/>
          </ac:spMkLst>
        </pc:spChg>
        <pc:spChg chg="add del mod">
          <ac:chgData name="Karmakar, Sumit" userId="S::skarmakar@elogex.com::5d020034-ff2c-4e7e-8d00-e94708d613b2" providerId="AD" clId="Web-{9E40FD65-39EC-AB2F-BB32-25D6E8348A36}" dt="2024-02-29T13:49:22.265" v="203"/>
          <ac:spMkLst>
            <pc:docMk/>
            <pc:sldMk cId="3934650505" sldId="2147480035"/>
            <ac:spMk id="5" creationId="{D8E421EB-777A-6283-7AB0-3AA5367D528C}"/>
          </ac:spMkLst>
        </pc:spChg>
        <pc:spChg chg="add del mod">
          <ac:chgData name="Karmakar, Sumit" userId="S::skarmakar@elogex.com::5d020034-ff2c-4e7e-8d00-e94708d613b2" providerId="AD" clId="Web-{9E40FD65-39EC-AB2F-BB32-25D6E8348A36}" dt="2024-02-29T13:54:29.678" v="265"/>
          <ac:spMkLst>
            <pc:docMk/>
            <pc:sldMk cId="3934650505" sldId="2147480035"/>
            <ac:spMk id="8" creationId="{2F5569A6-C6D6-BEE9-A16B-5F2B16105F7D}"/>
          </ac:spMkLst>
        </pc:spChg>
        <pc:spChg chg="mod">
          <ac:chgData name="Karmakar, Sumit" userId="S::skarmakar@elogex.com::5d020034-ff2c-4e7e-8d00-e94708d613b2" providerId="AD" clId="Web-{9E40FD65-39EC-AB2F-BB32-25D6E8348A36}" dt="2024-02-29T13:54:36.304" v="267" actId="20577"/>
          <ac:spMkLst>
            <pc:docMk/>
            <pc:sldMk cId="3934650505" sldId="2147480035"/>
            <ac:spMk id="10" creationId="{DD834547-15B2-50FF-CD1E-C9F6FB93CB4A}"/>
          </ac:spMkLst>
        </pc:spChg>
        <pc:picChg chg="del">
          <ac:chgData name="Karmakar, Sumit" userId="S::skarmakar@elogex.com::5d020034-ff2c-4e7e-8d00-e94708d613b2" providerId="AD" clId="Web-{9E40FD65-39EC-AB2F-BB32-25D6E8348A36}" dt="2024-02-29T13:49:19.952" v="201"/>
          <ac:picMkLst>
            <pc:docMk/>
            <pc:sldMk cId="3934650505" sldId="2147480035"/>
            <ac:picMk id="7" creationId="{5451621E-B60F-EE69-2366-FB1668EFB254}"/>
          </ac:picMkLst>
        </pc:picChg>
      </pc:sldChg>
      <pc:sldChg chg="delSp modSp">
        <pc:chgData name="Karmakar, Sumit" userId="S::skarmakar@elogex.com::5d020034-ff2c-4e7e-8d00-e94708d613b2" providerId="AD" clId="Web-{9E40FD65-39EC-AB2F-BB32-25D6E8348A36}" dt="2024-02-29T15:01:34.183" v="273" actId="20577"/>
        <pc:sldMkLst>
          <pc:docMk/>
          <pc:sldMk cId="2726751487" sldId="2147480051"/>
        </pc:sldMkLst>
        <pc:spChg chg="mod">
          <ac:chgData name="Karmakar, Sumit" userId="S::skarmakar@elogex.com::5d020034-ff2c-4e7e-8d00-e94708d613b2" providerId="AD" clId="Web-{9E40FD65-39EC-AB2F-BB32-25D6E8348A36}" dt="2024-02-29T15:01:34.183" v="273" actId="20577"/>
          <ac:spMkLst>
            <pc:docMk/>
            <pc:sldMk cId="2726751487" sldId="2147480051"/>
            <ac:spMk id="3" creationId="{C26A9C8E-A19C-B642-0966-CD47C599D327}"/>
          </ac:spMkLst>
        </pc:spChg>
        <pc:spChg chg="del">
          <ac:chgData name="Karmakar, Sumit" userId="S::skarmakar@elogex.com::5d020034-ff2c-4e7e-8d00-e94708d613b2" providerId="AD" clId="Web-{9E40FD65-39EC-AB2F-BB32-25D6E8348A36}" dt="2024-02-29T13:46:58.402" v="144"/>
          <ac:spMkLst>
            <pc:docMk/>
            <pc:sldMk cId="2726751487" sldId="2147480051"/>
            <ac:spMk id="17" creationId="{A15AE102-52C0-33E4-2F60-7A5F776CA708}"/>
          </ac:spMkLst>
        </pc:spChg>
        <pc:picChg chg="del">
          <ac:chgData name="Karmakar, Sumit" userId="S::skarmakar@elogex.com::5d020034-ff2c-4e7e-8d00-e94708d613b2" providerId="AD" clId="Web-{9E40FD65-39EC-AB2F-BB32-25D6E8348A36}" dt="2024-02-29T13:46:58.386" v="142"/>
          <ac:picMkLst>
            <pc:docMk/>
            <pc:sldMk cId="2726751487" sldId="2147480051"/>
            <ac:picMk id="6" creationId="{84558EEB-6739-3797-DB10-D8F2C858037C}"/>
          </ac:picMkLst>
        </pc:picChg>
        <pc:picChg chg="del">
          <ac:chgData name="Karmakar, Sumit" userId="S::skarmakar@elogex.com::5d020034-ff2c-4e7e-8d00-e94708d613b2" providerId="AD" clId="Web-{9E40FD65-39EC-AB2F-BB32-25D6E8348A36}" dt="2024-02-29T13:46:58.402" v="143"/>
          <ac:picMkLst>
            <pc:docMk/>
            <pc:sldMk cId="2726751487" sldId="2147480051"/>
            <ac:picMk id="8" creationId="{9742DFB5-E8D8-EB4A-E182-08E6C71F523A}"/>
          </ac:picMkLst>
        </pc:picChg>
        <pc:picChg chg="del">
          <ac:chgData name="Karmakar, Sumit" userId="S::skarmakar@elogex.com::5d020034-ff2c-4e7e-8d00-e94708d613b2" providerId="AD" clId="Web-{9E40FD65-39EC-AB2F-BB32-25D6E8348A36}" dt="2024-02-29T13:46:58.386" v="141"/>
          <ac:picMkLst>
            <pc:docMk/>
            <pc:sldMk cId="2726751487" sldId="2147480051"/>
            <ac:picMk id="10" creationId="{4227BCA7-CB44-BED0-8DB7-1117791276B4}"/>
          </ac:picMkLst>
        </pc:picChg>
      </pc:sldChg>
      <pc:sldChg chg="addSp delSp modSp del">
        <pc:chgData name="Karmakar, Sumit" userId="S::skarmakar@elogex.com::5d020034-ff2c-4e7e-8d00-e94708d613b2" providerId="AD" clId="Web-{9E40FD65-39EC-AB2F-BB32-25D6E8348A36}" dt="2024-02-29T13:53:35.099" v="253"/>
        <pc:sldMkLst>
          <pc:docMk/>
          <pc:sldMk cId="3227021263" sldId="2147480052"/>
        </pc:sldMkLst>
        <pc:spChg chg="del">
          <ac:chgData name="Karmakar, Sumit" userId="S::skarmakar@elogex.com::5d020034-ff2c-4e7e-8d00-e94708d613b2" providerId="AD" clId="Web-{9E40FD65-39EC-AB2F-BB32-25D6E8348A36}" dt="2024-02-29T13:47:06.043" v="148"/>
          <ac:spMkLst>
            <pc:docMk/>
            <pc:sldMk cId="3227021263" sldId="2147480052"/>
            <ac:spMk id="3" creationId="{3BBAE0CD-E042-A708-442A-8D12A602852F}"/>
          </ac:spMkLst>
        </pc:spChg>
        <pc:spChg chg="add mod">
          <ac:chgData name="Karmakar, Sumit" userId="S::skarmakar@elogex.com::5d020034-ff2c-4e7e-8d00-e94708d613b2" providerId="AD" clId="Web-{9E40FD65-39EC-AB2F-BB32-25D6E8348A36}" dt="2024-02-29T13:47:06.074" v="149"/>
          <ac:spMkLst>
            <pc:docMk/>
            <pc:sldMk cId="3227021263" sldId="2147480052"/>
            <ac:spMk id="5" creationId="{36B1A58F-A2E2-4E0A-C2C3-2E826BFA1695}"/>
          </ac:spMkLst>
        </pc:spChg>
        <pc:spChg chg="mod">
          <ac:chgData name="Karmakar, Sumit" userId="S::skarmakar@elogex.com::5d020034-ff2c-4e7e-8d00-e94708d613b2" providerId="AD" clId="Web-{9E40FD65-39EC-AB2F-BB32-25D6E8348A36}" dt="2024-02-29T13:53:25.099" v="252" actId="20577"/>
          <ac:spMkLst>
            <pc:docMk/>
            <pc:sldMk cId="3227021263" sldId="2147480052"/>
            <ac:spMk id="9" creationId="{3FE748FA-211B-C46A-4CF9-06ACC742B074}"/>
          </ac:spMkLst>
        </pc:spChg>
        <pc:spChg chg="del">
          <ac:chgData name="Karmakar, Sumit" userId="S::skarmakar@elogex.com::5d020034-ff2c-4e7e-8d00-e94708d613b2" providerId="AD" clId="Web-{9E40FD65-39EC-AB2F-BB32-25D6E8348A36}" dt="2024-02-29T13:47:06.074" v="149"/>
          <ac:spMkLst>
            <pc:docMk/>
            <pc:sldMk cId="3227021263" sldId="2147480052"/>
            <ac:spMk id="16" creationId="{A50AD2A8-7AFD-31B6-CFB7-B863E10D9932}"/>
          </ac:spMkLst>
        </pc:spChg>
        <pc:picChg chg="del">
          <ac:chgData name="Karmakar, Sumit" userId="S::skarmakar@elogex.com::5d020034-ff2c-4e7e-8d00-e94708d613b2" providerId="AD" clId="Web-{9E40FD65-39EC-AB2F-BB32-25D6E8348A36}" dt="2024-02-29T13:47:06.043" v="147"/>
          <ac:picMkLst>
            <pc:docMk/>
            <pc:sldMk cId="3227021263" sldId="2147480052"/>
            <ac:picMk id="4" creationId="{6EB00B6E-8C09-756C-5284-834FD14BB091}"/>
          </ac:picMkLst>
        </pc:picChg>
        <pc:picChg chg="del">
          <ac:chgData name="Karmakar, Sumit" userId="S::skarmakar@elogex.com::5d020034-ff2c-4e7e-8d00-e94708d613b2" providerId="AD" clId="Web-{9E40FD65-39EC-AB2F-BB32-25D6E8348A36}" dt="2024-02-29T13:47:06.043" v="145"/>
          <ac:picMkLst>
            <pc:docMk/>
            <pc:sldMk cId="3227021263" sldId="2147480052"/>
            <ac:picMk id="6" creationId="{1779C2D0-C496-1ED8-3876-A7994E827071}"/>
          </ac:picMkLst>
        </pc:picChg>
        <pc:picChg chg="del">
          <ac:chgData name="Karmakar, Sumit" userId="S::skarmakar@elogex.com::5d020034-ff2c-4e7e-8d00-e94708d613b2" providerId="AD" clId="Web-{9E40FD65-39EC-AB2F-BB32-25D6E8348A36}" dt="2024-02-29T13:47:06.043" v="146"/>
          <ac:picMkLst>
            <pc:docMk/>
            <pc:sldMk cId="3227021263" sldId="2147480052"/>
            <ac:picMk id="8" creationId="{4399D2C9-B57D-3CF0-2870-55A3DE6E381C}"/>
          </ac:picMkLst>
        </pc:picChg>
      </pc:sldChg>
      <pc:sldChg chg="delSp modSp">
        <pc:chgData name="Karmakar, Sumit" userId="S::skarmakar@elogex.com::5d020034-ff2c-4e7e-8d00-e94708d613b2" providerId="AD" clId="Web-{9E40FD65-39EC-AB2F-BB32-25D6E8348A36}" dt="2024-02-29T13:53:51.443" v="256" actId="20577"/>
        <pc:sldMkLst>
          <pc:docMk/>
          <pc:sldMk cId="1256363016" sldId="2147480053"/>
        </pc:sldMkLst>
        <pc:spChg chg="mod">
          <ac:chgData name="Karmakar, Sumit" userId="S::skarmakar@elogex.com::5d020034-ff2c-4e7e-8d00-e94708d613b2" providerId="AD" clId="Web-{9E40FD65-39EC-AB2F-BB32-25D6E8348A36}" dt="2024-02-29T13:53:51.443" v="256" actId="20577"/>
          <ac:spMkLst>
            <pc:docMk/>
            <pc:sldMk cId="1256363016" sldId="2147480053"/>
            <ac:spMk id="2" creationId="{1F3ACA6A-A3FC-4A53-FA25-14B4F15E0A4E}"/>
          </ac:spMkLst>
        </pc:spChg>
        <pc:spChg chg="mod">
          <ac:chgData name="Karmakar, Sumit" userId="S::skarmakar@elogex.com::5d020034-ff2c-4e7e-8d00-e94708d613b2" providerId="AD" clId="Web-{9E40FD65-39EC-AB2F-BB32-25D6E8348A36}" dt="2024-02-29T13:50:23.173" v="223" actId="20577"/>
          <ac:spMkLst>
            <pc:docMk/>
            <pc:sldMk cId="1256363016" sldId="2147480053"/>
            <ac:spMk id="3" creationId="{F6ED7C67-64ED-FE15-79E4-15B983E1476A}"/>
          </ac:spMkLst>
        </pc:spChg>
        <pc:picChg chg="del">
          <ac:chgData name="Karmakar, Sumit" userId="S::skarmakar@elogex.com::5d020034-ff2c-4e7e-8d00-e94708d613b2" providerId="AD" clId="Web-{9E40FD65-39EC-AB2F-BB32-25D6E8348A36}" dt="2024-02-29T13:47:22.215" v="150"/>
          <ac:picMkLst>
            <pc:docMk/>
            <pc:sldMk cId="1256363016" sldId="2147480053"/>
            <ac:picMk id="12" creationId="{E18D2325-23E0-4AE4-FB2A-E03EF903383B}"/>
          </ac:picMkLst>
        </pc:picChg>
      </pc:sldChg>
      <pc:sldChg chg="delSp modSp">
        <pc:chgData name="Karmakar, Sumit" userId="S::skarmakar@elogex.com::5d020034-ff2c-4e7e-8d00-e94708d613b2" providerId="AD" clId="Web-{9E40FD65-39EC-AB2F-BB32-25D6E8348A36}" dt="2024-02-29T13:54:16.381" v="262" actId="20577"/>
        <pc:sldMkLst>
          <pc:docMk/>
          <pc:sldMk cId="4120199038" sldId="2147480054"/>
        </pc:sldMkLst>
        <pc:spChg chg="del">
          <ac:chgData name="Karmakar, Sumit" userId="S::skarmakar@elogex.com::5d020034-ff2c-4e7e-8d00-e94708d613b2" providerId="AD" clId="Web-{9E40FD65-39EC-AB2F-BB32-25D6E8348A36}" dt="2024-02-29T13:49:06.358" v="182"/>
          <ac:spMkLst>
            <pc:docMk/>
            <pc:sldMk cId="4120199038" sldId="2147480054"/>
            <ac:spMk id="2" creationId="{05A5726A-83D2-6B0B-0156-D2DF0C066BC6}"/>
          </ac:spMkLst>
        </pc:spChg>
        <pc:spChg chg="del">
          <ac:chgData name="Karmakar, Sumit" userId="S::skarmakar@elogex.com::5d020034-ff2c-4e7e-8d00-e94708d613b2" providerId="AD" clId="Web-{9E40FD65-39EC-AB2F-BB32-25D6E8348A36}" dt="2024-02-29T13:49:06.374" v="200"/>
          <ac:spMkLst>
            <pc:docMk/>
            <pc:sldMk cId="4120199038" sldId="2147480054"/>
            <ac:spMk id="3" creationId="{CB21432B-DFFC-5551-843B-F9B64F480963}"/>
          </ac:spMkLst>
        </pc:spChg>
        <pc:spChg chg="del">
          <ac:chgData name="Karmakar, Sumit" userId="S::skarmakar@elogex.com::5d020034-ff2c-4e7e-8d00-e94708d613b2" providerId="AD" clId="Web-{9E40FD65-39EC-AB2F-BB32-25D6E8348A36}" dt="2024-02-29T13:49:06.374" v="199"/>
          <ac:spMkLst>
            <pc:docMk/>
            <pc:sldMk cId="4120199038" sldId="2147480054"/>
            <ac:spMk id="4" creationId="{5D479B39-9997-8ADD-653E-76BB3A641439}"/>
          </ac:spMkLst>
        </pc:spChg>
        <pc:spChg chg="del">
          <ac:chgData name="Karmakar, Sumit" userId="S::skarmakar@elogex.com::5d020034-ff2c-4e7e-8d00-e94708d613b2" providerId="AD" clId="Web-{9E40FD65-39EC-AB2F-BB32-25D6E8348A36}" dt="2024-02-29T13:49:06.374" v="197"/>
          <ac:spMkLst>
            <pc:docMk/>
            <pc:sldMk cId="4120199038" sldId="2147480054"/>
            <ac:spMk id="6" creationId="{9E39110D-E7F2-A6C0-3F51-44B9B81F8F56}"/>
          </ac:spMkLst>
        </pc:spChg>
        <pc:spChg chg="del">
          <ac:chgData name="Karmakar, Sumit" userId="S::skarmakar@elogex.com::5d020034-ff2c-4e7e-8d00-e94708d613b2" providerId="AD" clId="Web-{9E40FD65-39EC-AB2F-BB32-25D6E8348A36}" dt="2024-02-29T13:49:06.374" v="196"/>
          <ac:spMkLst>
            <pc:docMk/>
            <pc:sldMk cId="4120199038" sldId="2147480054"/>
            <ac:spMk id="7" creationId="{E3C34123-B93B-D4DB-2315-FE6FB30808CB}"/>
          </ac:spMkLst>
        </pc:spChg>
        <pc:spChg chg="del">
          <ac:chgData name="Karmakar, Sumit" userId="S::skarmakar@elogex.com::5d020034-ff2c-4e7e-8d00-e94708d613b2" providerId="AD" clId="Web-{9E40FD65-39EC-AB2F-BB32-25D6E8348A36}" dt="2024-02-29T13:49:06.374" v="195"/>
          <ac:spMkLst>
            <pc:docMk/>
            <pc:sldMk cId="4120199038" sldId="2147480054"/>
            <ac:spMk id="9" creationId="{8D3E007D-E825-0FE0-005B-CB6DC95376D8}"/>
          </ac:spMkLst>
        </pc:spChg>
        <pc:spChg chg="del">
          <ac:chgData name="Karmakar, Sumit" userId="S::skarmakar@elogex.com::5d020034-ff2c-4e7e-8d00-e94708d613b2" providerId="AD" clId="Web-{9E40FD65-39EC-AB2F-BB32-25D6E8348A36}" dt="2024-02-29T13:49:06.374" v="193"/>
          <ac:spMkLst>
            <pc:docMk/>
            <pc:sldMk cId="4120199038" sldId="2147480054"/>
            <ac:spMk id="11" creationId="{5B1062EA-3A1B-3F0F-41E0-7201CE6F35D0}"/>
          </ac:spMkLst>
        </pc:spChg>
        <pc:spChg chg="del">
          <ac:chgData name="Karmakar, Sumit" userId="S::skarmakar@elogex.com::5d020034-ff2c-4e7e-8d00-e94708d613b2" providerId="AD" clId="Web-{9E40FD65-39EC-AB2F-BB32-25D6E8348A36}" dt="2024-02-29T13:49:06.374" v="192"/>
          <ac:spMkLst>
            <pc:docMk/>
            <pc:sldMk cId="4120199038" sldId="2147480054"/>
            <ac:spMk id="12" creationId="{ED80686F-03A3-7558-A19D-AE8F02911DF9}"/>
          </ac:spMkLst>
        </pc:spChg>
        <pc:spChg chg="del">
          <ac:chgData name="Karmakar, Sumit" userId="S::skarmakar@elogex.com::5d020034-ff2c-4e7e-8d00-e94708d613b2" providerId="AD" clId="Web-{9E40FD65-39EC-AB2F-BB32-25D6E8348A36}" dt="2024-02-29T13:49:06.374" v="191"/>
          <ac:spMkLst>
            <pc:docMk/>
            <pc:sldMk cId="4120199038" sldId="2147480054"/>
            <ac:spMk id="13" creationId="{93E8390D-5AAC-EFCB-A791-4F9A661988CA}"/>
          </ac:spMkLst>
        </pc:spChg>
        <pc:spChg chg="del">
          <ac:chgData name="Karmakar, Sumit" userId="S::skarmakar@elogex.com::5d020034-ff2c-4e7e-8d00-e94708d613b2" providerId="AD" clId="Web-{9E40FD65-39EC-AB2F-BB32-25D6E8348A36}" dt="2024-02-29T13:49:06.358" v="190"/>
          <ac:spMkLst>
            <pc:docMk/>
            <pc:sldMk cId="4120199038" sldId="2147480054"/>
            <ac:spMk id="14" creationId="{6144F13D-F21D-E532-95E1-ADE88F1FD0D4}"/>
          </ac:spMkLst>
        </pc:spChg>
        <pc:spChg chg="del">
          <ac:chgData name="Karmakar, Sumit" userId="S::skarmakar@elogex.com::5d020034-ff2c-4e7e-8d00-e94708d613b2" providerId="AD" clId="Web-{9E40FD65-39EC-AB2F-BB32-25D6E8348A36}" dt="2024-02-29T13:49:06.358" v="188"/>
          <ac:spMkLst>
            <pc:docMk/>
            <pc:sldMk cId="4120199038" sldId="2147480054"/>
            <ac:spMk id="16" creationId="{FCE353FA-BF92-4A9A-27AE-353E2D0BB29A}"/>
          </ac:spMkLst>
        </pc:spChg>
        <pc:spChg chg="del">
          <ac:chgData name="Karmakar, Sumit" userId="S::skarmakar@elogex.com::5d020034-ff2c-4e7e-8d00-e94708d613b2" providerId="AD" clId="Web-{9E40FD65-39EC-AB2F-BB32-25D6E8348A36}" dt="2024-02-29T13:49:06.358" v="187"/>
          <ac:spMkLst>
            <pc:docMk/>
            <pc:sldMk cId="4120199038" sldId="2147480054"/>
            <ac:spMk id="18" creationId="{B3C9253C-A9E7-8462-22F3-54C1AD7C5816}"/>
          </ac:spMkLst>
        </pc:spChg>
        <pc:spChg chg="del">
          <ac:chgData name="Karmakar, Sumit" userId="S::skarmakar@elogex.com::5d020034-ff2c-4e7e-8d00-e94708d613b2" providerId="AD" clId="Web-{9E40FD65-39EC-AB2F-BB32-25D6E8348A36}" dt="2024-02-29T13:49:06.358" v="186"/>
          <ac:spMkLst>
            <pc:docMk/>
            <pc:sldMk cId="4120199038" sldId="2147480054"/>
            <ac:spMk id="19" creationId="{6FF6ABA0-2AB8-1CC1-BF90-0AD7C3DEB26F}"/>
          </ac:spMkLst>
        </pc:spChg>
        <pc:spChg chg="del">
          <ac:chgData name="Karmakar, Sumit" userId="S::skarmakar@elogex.com::5d020034-ff2c-4e7e-8d00-e94708d613b2" providerId="AD" clId="Web-{9E40FD65-39EC-AB2F-BB32-25D6E8348A36}" dt="2024-02-29T13:49:06.358" v="184"/>
          <ac:spMkLst>
            <pc:docMk/>
            <pc:sldMk cId="4120199038" sldId="2147480054"/>
            <ac:spMk id="21" creationId="{6FB9EE7F-9D47-9D07-4F8B-4810358E9B40}"/>
          </ac:spMkLst>
        </pc:spChg>
        <pc:spChg chg="mod">
          <ac:chgData name="Karmakar, Sumit" userId="S::skarmakar@elogex.com::5d020034-ff2c-4e7e-8d00-e94708d613b2" providerId="AD" clId="Web-{9E40FD65-39EC-AB2F-BB32-25D6E8348A36}" dt="2024-02-29T13:54:16.381" v="262" actId="20577"/>
          <ac:spMkLst>
            <pc:docMk/>
            <pc:sldMk cId="4120199038" sldId="2147480054"/>
            <ac:spMk id="28" creationId="{B6A815B0-61D4-BF39-24FB-17B394083FB3}"/>
          </ac:spMkLst>
        </pc:spChg>
        <pc:picChg chg="del">
          <ac:chgData name="Karmakar, Sumit" userId="S::skarmakar@elogex.com::5d020034-ff2c-4e7e-8d00-e94708d613b2" providerId="AD" clId="Web-{9E40FD65-39EC-AB2F-BB32-25D6E8348A36}" dt="2024-02-29T13:49:06.358" v="183"/>
          <ac:picMkLst>
            <pc:docMk/>
            <pc:sldMk cId="4120199038" sldId="2147480054"/>
            <ac:picMk id="25" creationId="{E2D4DC60-5BFF-26A2-1E82-76236B2DE943}"/>
          </ac:picMkLst>
        </pc:picChg>
        <pc:cxnChg chg="del">
          <ac:chgData name="Karmakar, Sumit" userId="S::skarmakar@elogex.com::5d020034-ff2c-4e7e-8d00-e94708d613b2" providerId="AD" clId="Web-{9E40FD65-39EC-AB2F-BB32-25D6E8348A36}" dt="2024-02-29T13:49:06.374" v="198"/>
          <ac:cxnSpMkLst>
            <pc:docMk/>
            <pc:sldMk cId="4120199038" sldId="2147480054"/>
            <ac:cxnSpMk id="5" creationId="{B271683B-E98B-F634-B1A3-01E193D3D977}"/>
          </ac:cxnSpMkLst>
        </pc:cxnChg>
        <pc:cxnChg chg="del">
          <ac:chgData name="Karmakar, Sumit" userId="S::skarmakar@elogex.com::5d020034-ff2c-4e7e-8d00-e94708d613b2" providerId="AD" clId="Web-{9E40FD65-39EC-AB2F-BB32-25D6E8348A36}" dt="2024-02-29T13:49:06.374" v="194"/>
          <ac:cxnSpMkLst>
            <pc:docMk/>
            <pc:sldMk cId="4120199038" sldId="2147480054"/>
            <ac:cxnSpMk id="10" creationId="{BE036AE5-0158-ED4D-41BD-017F9FF8D172}"/>
          </ac:cxnSpMkLst>
        </pc:cxnChg>
        <pc:cxnChg chg="del">
          <ac:chgData name="Karmakar, Sumit" userId="S::skarmakar@elogex.com::5d020034-ff2c-4e7e-8d00-e94708d613b2" providerId="AD" clId="Web-{9E40FD65-39EC-AB2F-BB32-25D6E8348A36}" dt="2024-02-29T13:49:06.358" v="189"/>
          <ac:cxnSpMkLst>
            <pc:docMk/>
            <pc:sldMk cId="4120199038" sldId="2147480054"/>
            <ac:cxnSpMk id="15" creationId="{1321D5C9-5FF1-B256-3C1D-B8134410A7AF}"/>
          </ac:cxnSpMkLst>
        </pc:cxnChg>
        <pc:cxnChg chg="del">
          <ac:chgData name="Karmakar, Sumit" userId="S::skarmakar@elogex.com::5d020034-ff2c-4e7e-8d00-e94708d613b2" providerId="AD" clId="Web-{9E40FD65-39EC-AB2F-BB32-25D6E8348A36}" dt="2024-02-29T13:49:06.358" v="185"/>
          <ac:cxnSpMkLst>
            <pc:docMk/>
            <pc:sldMk cId="4120199038" sldId="2147480054"/>
            <ac:cxnSpMk id="20" creationId="{0935AAE7-326F-C77C-4ED7-E8ED0915B752}"/>
          </ac:cxnSpMkLst>
        </pc:cxnChg>
      </pc:sldChg>
      <pc:sldChg chg="delSp modSp ord">
        <pc:chgData name="Karmakar, Sumit" userId="S::skarmakar@elogex.com::5d020034-ff2c-4e7e-8d00-e94708d613b2" providerId="AD" clId="Web-{9E40FD65-39EC-AB2F-BB32-25D6E8348A36}" dt="2024-02-29T13:55:58.306" v="271"/>
        <pc:sldMkLst>
          <pc:docMk/>
          <pc:sldMk cId="1360639107" sldId="2147480056"/>
        </pc:sldMkLst>
        <pc:spChg chg="mod">
          <ac:chgData name="Karmakar, Sumit" userId="S::skarmakar@elogex.com::5d020034-ff2c-4e7e-8d00-e94708d613b2" providerId="AD" clId="Web-{9E40FD65-39EC-AB2F-BB32-25D6E8348A36}" dt="2024-02-29T13:54:59.695" v="270" actId="20577"/>
          <ac:spMkLst>
            <pc:docMk/>
            <pc:sldMk cId="1360639107" sldId="2147480056"/>
            <ac:spMk id="6" creationId="{4FE54BED-B526-5C89-0382-9852A1073AC5}"/>
          </ac:spMkLst>
        </pc:spChg>
        <pc:spChg chg="del">
          <ac:chgData name="Karmakar, Sumit" userId="S::skarmakar@elogex.com::5d020034-ff2c-4e7e-8d00-e94708d613b2" providerId="AD" clId="Web-{9E40FD65-39EC-AB2F-BB32-25D6E8348A36}" dt="2024-02-29T13:49:50.531" v="209"/>
          <ac:spMkLst>
            <pc:docMk/>
            <pc:sldMk cId="1360639107" sldId="2147480056"/>
            <ac:spMk id="21" creationId="{4494828C-8AFC-5F21-F8A7-03594E2C6A89}"/>
          </ac:spMkLst>
        </pc:spChg>
        <pc:spChg chg="del">
          <ac:chgData name="Karmakar, Sumit" userId="S::skarmakar@elogex.com::5d020034-ff2c-4e7e-8d00-e94708d613b2" providerId="AD" clId="Web-{9E40FD65-39EC-AB2F-BB32-25D6E8348A36}" dt="2024-02-29T13:49:50.531" v="208"/>
          <ac:spMkLst>
            <pc:docMk/>
            <pc:sldMk cId="1360639107" sldId="2147480056"/>
            <ac:spMk id="22" creationId="{5CC14F33-7F8B-3D17-2DB2-7891A48F9593}"/>
          </ac:spMkLst>
        </pc:spChg>
        <pc:spChg chg="del">
          <ac:chgData name="Karmakar, Sumit" userId="S::skarmakar@elogex.com::5d020034-ff2c-4e7e-8d00-e94708d613b2" providerId="AD" clId="Web-{9E40FD65-39EC-AB2F-BB32-25D6E8348A36}" dt="2024-02-29T13:49:50.531" v="207"/>
          <ac:spMkLst>
            <pc:docMk/>
            <pc:sldMk cId="1360639107" sldId="2147480056"/>
            <ac:spMk id="23" creationId="{BA9A042D-0283-E466-1834-AA647000E965}"/>
          </ac:spMkLst>
        </pc:spChg>
        <pc:picChg chg="del">
          <ac:chgData name="Karmakar, Sumit" userId="S::skarmakar@elogex.com::5d020034-ff2c-4e7e-8d00-e94708d613b2" providerId="AD" clId="Web-{9E40FD65-39EC-AB2F-BB32-25D6E8348A36}" dt="2024-02-29T13:49:50.531" v="212"/>
          <ac:picMkLst>
            <pc:docMk/>
            <pc:sldMk cId="1360639107" sldId="2147480056"/>
            <ac:picMk id="16" creationId="{8AD179B3-CB96-A27D-E7A6-3498601476D3}"/>
          </ac:picMkLst>
        </pc:picChg>
        <pc:picChg chg="del">
          <ac:chgData name="Karmakar, Sumit" userId="S::skarmakar@elogex.com::5d020034-ff2c-4e7e-8d00-e94708d613b2" providerId="AD" clId="Web-{9E40FD65-39EC-AB2F-BB32-25D6E8348A36}" dt="2024-02-29T13:49:50.531" v="211"/>
          <ac:picMkLst>
            <pc:docMk/>
            <pc:sldMk cId="1360639107" sldId="2147480056"/>
            <ac:picMk id="18" creationId="{0B6EB06A-A011-47D9-6CDE-AABDCAA2C6AD}"/>
          </ac:picMkLst>
        </pc:picChg>
        <pc:picChg chg="del">
          <ac:chgData name="Karmakar, Sumit" userId="S::skarmakar@elogex.com::5d020034-ff2c-4e7e-8d00-e94708d613b2" providerId="AD" clId="Web-{9E40FD65-39EC-AB2F-BB32-25D6E8348A36}" dt="2024-02-29T13:49:50.531" v="210"/>
          <ac:picMkLst>
            <pc:docMk/>
            <pc:sldMk cId="1360639107" sldId="2147480056"/>
            <ac:picMk id="20" creationId="{4C466686-8102-E0B1-4480-C150C0237FC8}"/>
          </ac:picMkLst>
        </pc:picChg>
        <pc:cxnChg chg="del">
          <ac:chgData name="Karmakar, Sumit" userId="S::skarmakar@elogex.com::5d020034-ff2c-4e7e-8d00-e94708d613b2" providerId="AD" clId="Web-{9E40FD65-39EC-AB2F-BB32-25D6E8348A36}" dt="2024-02-29T13:49:50.531" v="214"/>
          <ac:cxnSpMkLst>
            <pc:docMk/>
            <pc:sldMk cId="1360639107" sldId="2147480056"/>
            <ac:cxnSpMk id="12" creationId="{C4E631C7-53BD-9E27-E121-212472EADF4A}"/>
          </ac:cxnSpMkLst>
        </pc:cxnChg>
        <pc:cxnChg chg="del">
          <ac:chgData name="Karmakar, Sumit" userId="S::skarmakar@elogex.com::5d020034-ff2c-4e7e-8d00-e94708d613b2" providerId="AD" clId="Web-{9E40FD65-39EC-AB2F-BB32-25D6E8348A36}" dt="2024-02-29T13:49:50.531" v="213"/>
          <ac:cxnSpMkLst>
            <pc:docMk/>
            <pc:sldMk cId="1360639107" sldId="2147480056"/>
            <ac:cxnSpMk id="13" creationId="{CFCB14CB-209D-FF24-4FA9-57D5AFB21718}"/>
          </ac:cxnSpMkLst>
        </pc:cxnChg>
      </pc:sldChg>
      <pc:sldChg chg="delSp modSp">
        <pc:chgData name="Karmakar, Sumit" userId="S::skarmakar@elogex.com::5d020034-ff2c-4e7e-8d00-e94708d613b2" providerId="AD" clId="Web-{9E40FD65-39EC-AB2F-BB32-25D6E8348A36}" dt="2024-02-29T13:50:51.204" v="227" actId="20577"/>
        <pc:sldMkLst>
          <pc:docMk/>
          <pc:sldMk cId="3899884770" sldId="2147480057"/>
        </pc:sldMkLst>
        <pc:spChg chg="del">
          <ac:chgData name="Karmakar, Sumit" userId="S::skarmakar@elogex.com::5d020034-ff2c-4e7e-8d00-e94708d613b2" providerId="AD" clId="Web-{9E40FD65-39EC-AB2F-BB32-25D6E8348A36}" dt="2024-02-29T13:45:01.712" v="2"/>
          <ac:spMkLst>
            <pc:docMk/>
            <pc:sldMk cId="3899884770" sldId="2147480057"/>
            <ac:spMk id="2" creationId="{69ACCC06-2367-0785-08B3-B4ED18D078F2}"/>
          </ac:spMkLst>
        </pc:spChg>
        <pc:spChg chg="del">
          <ac:chgData name="Karmakar, Sumit" userId="S::skarmakar@elogex.com::5d020034-ff2c-4e7e-8d00-e94708d613b2" providerId="AD" clId="Web-{9E40FD65-39EC-AB2F-BB32-25D6E8348A36}" dt="2024-02-29T13:45:01.712" v="12"/>
          <ac:spMkLst>
            <pc:docMk/>
            <pc:sldMk cId="3899884770" sldId="2147480057"/>
            <ac:spMk id="4" creationId="{84E3C27E-A8FE-6F18-598A-6CE7A218CF4B}"/>
          </ac:spMkLst>
        </pc:spChg>
        <pc:spChg chg="del">
          <ac:chgData name="Karmakar, Sumit" userId="S::skarmakar@elogex.com::5d020034-ff2c-4e7e-8d00-e94708d613b2" providerId="AD" clId="Web-{9E40FD65-39EC-AB2F-BB32-25D6E8348A36}" dt="2024-02-29T13:45:01.712" v="11"/>
          <ac:spMkLst>
            <pc:docMk/>
            <pc:sldMk cId="3899884770" sldId="2147480057"/>
            <ac:spMk id="5" creationId="{723BF6AE-1EE7-587B-845C-BFEA8C5B0FC1}"/>
          </ac:spMkLst>
        </pc:spChg>
        <pc:spChg chg="del">
          <ac:chgData name="Karmakar, Sumit" userId="S::skarmakar@elogex.com::5d020034-ff2c-4e7e-8d00-e94708d613b2" providerId="AD" clId="Web-{9E40FD65-39EC-AB2F-BB32-25D6E8348A36}" dt="2024-02-29T13:45:01.712" v="8"/>
          <ac:spMkLst>
            <pc:docMk/>
            <pc:sldMk cId="3899884770" sldId="2147480057"/>
            <ac:spMk id="6" creationId="{BDD147D1-DD95-1D3B-7207-6796CE22BFB1}"/>
          </ac:spMkLst>
        </pc:spChg>
        <pc:spChg chg="del">
          <ac:chgData name="Karmakar, Sumit" userId="S::skarmakar@elogex.com::5d020034-ff2c-4e7e-8d00-e94708d613b2" providerId="AD" clId="Web-{9E40FD65-39EC-AB2F-BB32-25D6E8348A36}" dt="2024-02-29T13:45:01.712" v="10"/>
          <ac:spMkLst>
            <pc:docMk/>
            <pc:sldMk cId="3899884770" sldId="2147480057"/>
            <ac:spMk id="8" creationId="{DBC7E1A4-A905-DA01-8505-B703074C9A49}"/>
          </ac:spMkLst>
        </pc:spChg>
        <pc:spChg chg="mod">
          <ac:chgData name="Karmakar, Sumit" userId="S::skarmakar@elogex.com::5d020034-ff2c-4e7e-8d00-e94708d613b2" providerId="AD" clId="Web-{9E40FD65-39EC-AB2F-BB32-25D6E8348A36}" dt="2024-02-29T13:50:51.204" v="227" actId="20577"/>
          <ac:spMkLst>
            <pc:docMk/>
            <pc:sldMk cId="3899884770" sldId="2147480057"/>
            <ac:spMk id="9" creationId="{77BF7A6F-F6A9-7609-58FE-3FBABB9C2198}"/>
          </ac:spMkLst>
        </pc:spChg>
        <pc:spChg chg="del">
          <ac:chgData name="Karmakar, Sumit" userId="S::skarmakar@elogex.com::5d020034-ff2c-4e7e-8d00-e94708d613b2" providerId="AD" clId="Web-{9E40FD65-39EC-AB2F-BB32-25D6E8348A36}" dt="2024-02-29T13:45:01.712" v="7"/>
          <ac:spMkLst>
            <pc:docMk/>
            <pc:sldMk cId="3899884770" sldId="2147480057"/>
            <ac:spMk id="10" creationId="{837939EA-29CF-904F-633F-85FBFD76B321}"/>
          </ac:spMkLst>
        </pc:spChg>
        <pc:spChg chg="del">
          <ac:chgData name="Karmakar, Sumit" userId="S::skarmakar@elogex.com::5d020034-ff2c-4e7e-8d00-e94708d613b2" providerId="AD" clId="Web-{9E40FD65-39EC-AB2F-BB32-25D6E8348A36}" dt="2024-02-29T13:45:01.712" v="9"/>
          <ac:spMkLst>
            <pc:docMk/>
            <pc:sldMk cId="3899884770" sldId="2147480057"/>
            <ac:spMk id="12" creationId="{E2BBE3C0-BD1E-961C-BA2D-05692BAA8E82}"/>
          </ac:spMkLst>
        </pc:spChg>
        <pc:spChg chg="del">
          <ac:chgData name="Karmakar, Sumit" userId="S::skarmakar@elogex.com::5d020034-ff2c-4e7e-8d00-e94708d613b2" providerId="AD" clId="Web-{9E40FD65-39EC-AB2F-BB32-25D6E8348A36}" dt="2024-02-29T13:45:01.712" v="17"/>
          <ac:spMkLst>
            <pc:docMk/>
            <pc:sldMk cId="3899884770" sldId="2147480057"/>
            <ac:spMk id="18" creationId="{3119A8A2-1DFF-A9B6-94D8-6276D307DAEB}"/>
          </ac:spMkLst>
        </pc:spChg>
        <pc:spChg chg="del">
          <ac:chgData name="Karmakar, Sumit" userId="S::skarmakar@elogex.com::5d020034-ff2c-4e7e-8d00-e94708d613b2" providerId="AD" clId="Web-{9E40FD65-39EC-AB2F-BB32-25D6E8348A36}" dt="2024-02-29T13:45:01.712" v="16"/>
          <ac:spMkLst>
            <pc:docMk/>
            <pc:sldMk cId="3899884770" sldId="2147480057"/>
            <ac:spMk id="19" creationId="{4C0D6A71-E9B0-8EE7-DF1D-77143ADDD0FE}"/>
          </ac:spMkLst>
        </pc:spChg>
        <pc:spChg chg="del">
          <ac:chgData name="Karmakar, Sumit" userId="S::skarmakar@elogex.com::5d020034-ff2c-4e7e-8d00-e94708d613b2" providerId="AD" clId="Web-{9E40FD65-39EC-AB2F-BB32-25D6E8348A36}" dt="2024-02-29T13:45:01.712" v="15"/>
          <ac:spMkLst>
            <pc:docMk/>
            <pc:sldMk cId="3899884770" sldId="2147480057"/>
            <ac:spMk id="20" creationId="{54664C03-D093-D71B-653C-93A4C5E2921A}"/>
          </ac:spMkLst>
        </pc:spChg>
        <pc:spChg chg="del">
          <ac:chgData name="Karmakar, Sumit" userId="S::skarmakar@elogex.com::5d020034-ff2c-4e7e-8d00-e94708d613b2" providerId="AD" clId="Web-{9E40FD65-39EC-AB2F-BB32-25D6E8348A36}" dt="2024-02-29T13:45:01.712" v="1"/>
          <ac:spMkLst>
            <pc:docMk/>
            <pc:sldMk cId="3899884770" sldId="2147480057"/>
            <ac:spMk id="23" creationId="{B62214DB-060F-C5D0-FEE7-13D908B21A92}"/>
          </ac:spMkLst>
        </pc:spChg>
        <pc:spChg chg="del">
          <ac:chgData name="Karmakar, Sumit" userId="S::skarmakar@elogex.com::5d020034-ff2c-4e7e-8d00-e94708d613b2" providerId="AD" clId="Web-{9E40FD65-39EC-AB2F-BB32-25D6E8348A36}" dt="2024-02-29T13:45:01.712" v="0"/>
          <ac:spMkLst>
            <pc:docMk/>
            <pc:sldMk cId="3899884770" sldId="2147480057"/>
            <ac:spMk id="24" creationId="{979197DF-59C6-B768-9098-F44BA8747969}"/>
          </ac:spMkLst>
        </pc:spChg>
        <pc:spChg chg="del">
          <ac:chgData name="Karmakar, Sumit" userId="S::skarmakar@elogex.com::5d020034-ff2c-4e7e-8d00-e94708d613b2" providerId="AD" clId="Web-{9E40FD65-39EC-AB2F-BB32-25D6E8348A36}" dt="2024-02-29T13:45:13.868" v="21"/>
          <ac:spMkLst>
            <pc:docMk/>
            <pc:sldMk cId="3899884770" sldId="2147480057"/>
            <ac:spMk id="25" creationId="{3DE40BB6-E42F-420F-D1ED-A4D546C4824F}"/>
          </ac:spMkLst>
        </pc:spChg>
        <pc:picChg chg="del">
          <ac:chgData name="Karmakar, Sumit" userId="S::skarmakar@elogex.com::5d020034-ff2c-4e7e-8d00-e94708d613b2" providerId="AD" clId="Web-{9E40FD65-39EC-AB2F-BB32-25D6E8348A36}" dt="2024-02-29T13:45:01.712" v="6"/>
          <ac:picMkLst>
            <pc:docMk/>
            <pc:sldMk cId="3899884770" sldId="2147480057"/>
            <ac:picMk id="3" creationId="{1DFF0738-5AE0-0AB0-435D-02804802D063}"/>
          </ac:picMkLst>
        </pc:picChg>
        <pc:picChg chg="del">
          <ac:chgData name="Karmakar, Sumit" userId="S::skarmakar@elogex.com::5d020034-ff2c-4e7e-8d00-e94708d613b2" providerId="AD" clId="Web-{9E40FD65-39EC-AB2F-BB32-25D6E8348A36}" dt="2024-02-29T13:45:01.712" v="5"/>
          <ac:picMkLst>
            <pc:docMk/>
            <pc:sldMk cId="3899884770" sldId="2147480057"/>
            <ac:picMk id="11" creationId="{2C1D19D2-1F38-3AB4-8A2B-AC6B33913C0E}"/>
          </ac:picMkLst>
        </pc:picChg>
        <pc:picChg chg="del">
          <ac:chgData name="Karmakar, Sumit" userId="S::skarmakar@elogex.com::5d020034-ff2c-4e7e-8d00-e94708d613b2" providerId="AD" clId="Web-{9E40FD65-39EC-AB2F-BB32-25D6E8348A36}" dt="2024-02-29T13:45:01.712" v="4"/>
          <ac:picMkLst>
            <pc:docMk/>
            <pc:sldMk cId="3899884770" sldId="2147480057"/>
            <ac:picMk id="13" creationId="{72D2EEB0-1511-35FE-0702-8E3AB8239694}"/>
          </ac:picMkLst>
        </pc:picChg>
        <pc:picChg chg="del">
          <ac:chgData name="Karmakar, Sumit" userId="S::skarmakar@elogex.com::5d020034-ff2c-4e7e-8d00-e94708d613b2" providerId="AD" clId="Web-{9E40FD65-39EC-AB2F-BB32-25D6E8348A36}" dt="2024-02-29T13:45:01.712" v="20"/>
          <ac:picMkLst>
            <pc:docMk/>
            <pc:sldMk cId="3899884770" sldId="2147480057"/>
            <ac:picMk id="14" creationId="{92E1CBFB-AFE3-875B-2AAC-415A4773A674}"/>
          </ac:picMkLst>
        </pc:picChg>
        <pc:picChg chg="del">
          <ac:chgData name="Karmakar, Sumit" userId="S::skarmakar@elogex.com::5d020034-ff2c-4e7e-8d00-e94708d613b2" providerId="AD" clId="Web-{9E40FD65-39EC-AB2F-BB32-25D6E8348A36}" dt="2024-02-29T13:45:01.712" v="3"/>
          <ac:picMkLst>
            <pc:docMk/>
            <pc:sldMk cId="3899884770" sldId="2147480057"/>
            <ac:picMk id="15" creationId="{F6F3D21F-10D2-DDDE-C425-CA69AE896C17}"/>
          </ac:picMkLst>
        </pc:picChg>
        <pc:picChg chg="del">
          <ac:chgData name="Karmakar, Sumit" userId="S::skarmakar@elogex.com::5d020034-ff2c-4e7e-8d00-e94708d613b2" providerId="AD" clId="Web-{9E40FD65-39EC-AB2F-BB32-25D6E8348A36}" dt="2024-02-29T13:45:01.712" v="19"/>
          <ac:picMkLst>
            <pc:docMk/>
            <pc:sldMk cId="3899884770" sldId="2147480057"/>
            <ac:picMk id="16" creationId="{780BA77F-DB20-C0E8-58E9-9DC00FB4D7B1}"/>
          </ac:picMkLst>
        </pc:picChg>
        <pc:picChg chg="del">
          <ac:chgData name="Karmakar, Sumit" userId="S::skarmakar@elogex.com::5d020034-ff2c-4e7e-8d00-e94708d613b2" providerId="AD" clId="Web-{9E40FD65-39EC-AB2F-BB32-25D6E8348A36}" dt="2024-02-29T13:45:01.712" v="18"/>
          <ac:picMkLst>
            <pc:docMk/>
            <pc:sldMk cId="3899884770" sldId="2147480057"/>
            <ac:picMk id="17" creationId="{CF05BD7C-D542-E24E-B2C8-974BF312EB47}"/>
          </ac:picMkLst>
        </pc:picChg>
        <pc:picChg chg="del">
          <ac:chgData name="Karmakar, Sumit" userId="S::skarmakar@elogex.com::5d020034-ff2c-4e7e-8d00-e94708d613b2" providerId="AD" clId="Web-{9E40FD65-39EC-AB2F-BB32-25D6E8348A36}" dt="2024-02-29T13:45:01.712" v="14"/>
          <ac:picMkLst>
            <pc:docMk/>
            <pc:sldMk cId="3899884770" sldId="2147480057"/>
            <ac:picMk id="1026" creationId="{3AAA1A86-0353-67BB-B41F-F2410C5E78C0}"/>
          </ac:picMkLst>
        </pc:picChg>
        <pc:picChg chg="del">
          <ac:chgData name="Karmakar, Sumit" userId="S::skarmakar@elogex.com::5d020034-ff2c-4e7e-8d00-e94708d613b2" providerId="AD" clId="Web-{9E40FD65-39EC-AB2F-BB32-25D6E8348A36}" dt="2024-02-29T13:45:01.712" v="13"/>
          <ac:picMkLst>
            <pc:docMk/>
            <pc:sldMk cId="3899884770" sldId="2147480057"/>
            <ac:picMk id="1032" creationId="{E2D9AABC-DF9B-9CA1-F7C8-2D24663EA7F7}"/>
          </ac:picMkLst>
        </pc:picChg>
      </pc:sldChg>
      <pc:sldChg chg="del">
        <pc:chgData name="Karmakar, Sumit" userId="S::skarmakar@elogex.com::5d020034-ff2c-4e7e-8d00-e94708d613b2" providerId="AD" clId="Web-{9E40FD65-39EC-AB2F-BB32-25D6E8348A36}" dt="2024-02-29T13:50:07.688" v="216"/>
        <pc:sldMkLst>
          <pc:docMk/>
          <pc:sldMk cId="2476771074" sldId="2147480058"/>
        </pc:sldMkLst>
      </pc:sldChg>
      <pc:sldChg chg="del">
        <pc:chgData name="Karmakar, Sumit" userId="S::skarmakar@elogex.com::5d020034-ff2c-4e7e-8d00-e94708d613b2" providerId="AD" clId="Web-{9E40FD65-39EC-AB2F-BB32-25D6E8348A36}" dt="2024-02-29T13:50:07.862" v="217"/>
        <pc:sldMkLst>
          <pc:docMk/>
          <pc:sldMk cId="2990194005" sldId="2147480059"/>
        </pc:sldMkLst>
      </pc:sldChg>
    </pc:docChg>
  </pc:docChgLst>
  <pc:docChgLst>
    <pc:chgData name="Karmakar, Sumit" userId="S::skarmakar@elogex.com::5d020034-ff2c-4e7e-8d00-e94708d613b2" providerId="AD" clId="Web-{139AF620-35FB-4590-285A-B67F6ABEDA00}"/>
    <pc:docChg chg="modSld">
      <pc:chgData name="Karmakar, Sumit" userId="S::skarmakar@elogex.com::5d020034-ff2c-4e7e-8d00-e94708d613b2" providerId="AD" clId="Web-{139AF620-35FB-4590-285A-B67F6ABEDA00}" dt="2024-02-26T17:27:10.493" v="22" actId="20577"/>
      <pc:docMkLst>
        <pc:docMk/>
      </pc:docMkLst>
      <pc:sldChg chg="modSp">
        <pc:chgData name="Karmakar, Sumit" userId="S::skarmakar@elogex.com::5d020034-ff2c-4e7e-8d00-e94708d613b2" providerId="AD" clId="Web-{139AF620-35FB-4590-285A-B67F6ABEDA00}" dt="2024-02-26T17:26:53.571" v="20" actId="20577"/>
        <pc:sldMkLst>
          <pc:docMk/>
          <pc:sldMk cId="3853618670" sldId="310"/>
        </pc:sldMkLst>
        <pc:spChg chg="mod">
          <ac:chgData name="Karmakar, Sumit" userId="S::skarmakar@elogex.com::5d020034-ff2c-4e7e-8d00-e94708d613b2" providerId="AD" clId="Web-{139AF620-35FB-4590-285A-B67F6ABEDA00}" dt="2024-02-26T17:26:53.571" v="20" actId="20577"/>
          <ac:spMkLst>
            <pc:docMk/>
            <pc:sldMk cId="3853618670" sldId="310"/>
            <ac:spMk id="10" creationId="{8D4A47EA-9BE7-EF00-303D-E6AF9A73A44F}"/>
          </ac:spMkLst>
        </pc:spChg>
      </pc:sldChg>
      <pc:sldChg chg="delSp modSp">
        <pc:chgData name="Karmakar, Sumit" userId="S::skarmakar@elogex.com::5d020034-ff2c-4e7e-8d00-e94708d613b2" providerId="AD" clId="Web-{139AF620-35FB-4590-285A-B67F6ABEDA00}" dt="2024-02-26T17:26:18.023" v="17"/>
        <pc:sldMkLst>
          <pc:docMk/>
          <pc:sldMk cId="281351634" sldId="2147375232"/>
        </pc:sldMkLst>
        <pc:spChg chg="mod">
          <ac:chgData name="Karmakar, Sumit" userId="S::skarmakar@elogex.com::5d020034-ff2c-4e7e-8d00-e94708d613b2" providerId="AD" clId="Web-{139AF620-35FB-4590-285A-B67F6ABEDA00}" dt="2024-02-26T17:22:52.408" v="3" actId="20577"/>
          <ac:spMkLst>
            <pc:docMk/>
            <pc:sldMk cId="281351634" sldId="2147375232"/>
            <ac:spMk id="6" creationId="{417C87F0-9007-7AF1-73B7-E68FB34B1F7C}"/>
          </ac:spMkLst>
        </pc:spChg>
        <pc:picChg chg="del">
          <ac:chgData name="Karmakar, Sumit" userId="S::skarmakar@elogex.com::5d020034-ff2c-4e7e-8d00-e94708d613b2" providerId="AD" clId="Web-{139AF620-35FB-4590-285A-B67F6ABEDA00}" dt="2024-02-26T17:26:18.023" v="17"/>
          <ac:picMkLst>
            <pc:docMk/>
            <pc:sldMk cId="281351634" sldId="2147375232"/>
            <ac:picMk id="8" creationId="{29A0BA0D-BC9D-7192-B34E-73AD8747CA06}"/>
          </ac:picMkLst>
        </pc:picChg>
      </pc:sldChg>
      <pc:sldChg chg="modSp">
        <pc:chgData name="Karmakar, Sumit" userId="S::skarmakar@elogex.com::5d020034-ff2c-4e7e-8d00-e94708d613b2" providerId="AD" clId="Web-{139AF620-35FB-4590-285A-B67F6ABEDA00}" dt="2024-02-26T17:26:29.742" v="18" actId="20577"/>
        <pc:sldMkLst>
          <pc:docMk/>
          <pc:sldMk cId="2371631138" sldId="2147479780"/>
        </pc:sldMkLst>
        <pc:spChg chg="mod">
          <ac:chgData name="Karmakar, Sumit" userId="S::skarmakar@elogex.com::5d020034-ff2c-4e7e-8d00-e94708d613b2" providerId="AD" clId="Web-{139AF620-35FB-4590-285A-B67F6ABEDA00}" dt="2024-02-26T17:26:29.742" v="18" actId="20577"/>
          <ac:spMkLst>
            <pc:docMk/>
            <pc:sldMk cId="2371631138" sldId="2147479780"/>
            <ac:spMk id="5" creationId="{AA965B8F-560B-560F-794A-6338F063A727}"/>
          </ac:spMkLst>
        </pc:spChg>
      </pc:sldChg>
      <pc:sldChg chg="modSp">
        <pc:chgData name="Karmakar, Sumit" userId="S::skarmakar@elogex.com::5d020034-ff2c-4e7e-8d00-e94708d613b2" providerId="AD" clId="Web-{139AF620-35FB-4590-285A-B67F6ABEDA00}" dt="2024-02-26T17:27:10.493" v="22" actId="20577"/>
        <pc:sldMkLst>
          <pc:docMk/>
          <pc:sldMk cId="2768228940" sldId="2147480034"/>
        </pc:sldMkLst>
        <pc:spChg chg="mod">
          <ac:chgData name="Karmakar, Sumit" userId="S::skarmakar@elogex.com::5d020034-ff2c-4e7e-8d00-e94708d613b2" providerId="AD" clId="Web-{139AF620-35FB-4590-285A-B67F6ABEDA00}" dt="2024-02-26T17:27:10.493" v="22" actId="20577"/>
          <ac:spMkLst>
            <pc:docMk/>
            <pc:sldMk cId="2768228940" sldId="2147480034"/>
            <ac:spMk id="3" creationId="{5BD8F34E-7D67-1BBE-D4B2-85EE63373B51}"/>
          </ac:spMkLst>
        </pc:spChg>
      </pc:sldChg>
      <pc:sldChg chg="addSp delSp modSp">
        <pc:chgData name="Karmakar, Sumit" userId="S::skarmakar@elogex.com::5d020034-ff2c-4e7e-8d00-e94708d613b2" providerId="AD" clId="Web-{139AF620-35FB-4590-285A-B67F6ABEDA00}" dt="2024-02-26T17:26:04.366" v="16" actId="1076"/>
        <pc:sldMkLst>
          <pc:docMk/>
          <pc:sldMk cId="3899884770" sldId="2147480057"/>
        </pc:sldMkLst>
        <pc:spChg chg="add del">
          <ac:chgData name="Karmakar, Sumit" userId="S::skarmakar@elogex.com::5d020034-ff2c-4e7e-8d00-e94708d613b2" providerId="AD" clId="Web-{139AF620-35FB-4590-285A-B67F6ABEDA00}" dt="2024-02-26T17:23:26.254" v="5"/>
          <ac:spMkLst>
            <pc:docMk/>
            <pc:sldMk cId="3899884770" sldId="2147480057"/>
            <ac:spMk id="2" creationId="{8F5430F3-2B4C-C5D4-FF5B-67D4A7ED96B5}"/>
          </ac:spMkLst>
        </pc:spChg>
        <pc:spChg chg="mod">
          <ac:chgData name="Karmakar, Sumit" userId="S::skarmakar@elogex.com::5d020034-ff2c-4e7e-8d00-e94708d613b2" providerId="AD" clId="Web-{139AF620-35FB-4590-285A-B67F6ABEDA00}" dt="2024-02-26T17:24:56.537" v="12" actId="20577"/>
          <ac:spMkLst>
            <pc:docMk/>
            <pc:sldMk cId="3899884770" sldId="2147480057"/>
            <ac:spMk id="9" creationId="{77BF7A6F-F6A9-7609-58FE-3FBABB9C2198}"/>
          </ac:spMkLst>
        </pc:spChg>
        <pc:spChg chg="add del">
          <ac:chgData name="Karmakar, Sumit" userId="S::skarmakar@elogex.com::5d020034-ff2c-4e7e-8d00-e94708d613b2" providerId="AD" clId="Web-{139AF620-35FB-4590-285A-B67F6ABEDA00}" dt="2024-02-26T17:23:48.175" v="7"/>
          <ac:spMkLst>
            <pc:docMk/>
            <pc:sldMk cId="3899884770" sldId="2147480057"/>
            <ac:spMk id="21" creationId="{8F80D309-5DC5-4D7B-90DF-3CB076814E7C}"/>
          </ac:spMkLst>
        </pc:spChg>
        <pc:spChg chg="add del">
          <ac:chgData name="Karmakar, Sumit" userId="S::skarmakar@elogex.com::5d020034-ff2c-4e7e-8d00-e94708d613b2" providerId="AD" clId="Web-{139AF620-35FB-4590-285A-B67F6ABEDA00}" dt="2024-02-26T17:24:16.286" v="9"/>
          <ac:spMkLst>
            <pc:docMk/>
            <pc:sldMk cId="3899884770" sldId="2147480057"/>
            <ac:spMk id="22" creationId="{6C99EA08-F388-90C5-0C65-0FC57A74D711}"/>
          </ac:spMkLst>
        </pc:spChg>
        <pc:spChg chg="add">
          <ac:chgData name="Karmakar, Sumit" userId="S::skarmakar@elogex.com::5d020034-ff2c-4e7e-8d00-e94708d613b2" providerId="AD" clId="Web-{139AF620-35FB-4590-285A-B67F6ABEDA00}" dt="2024-02-26T17:25:24.318" v="14"/>
          <ac:spMkLst>
            <pc:docMk/>
            <pc:sldMk cId="3899884770" sldId="2147480057"/>
            <ac:spMk id="24" creationId="{3799ACBC-6E0A-7B2C-DDA3-82C5930CA225}"/>
          </ac:spMkLst>
        </pc:spChg>
        <pc:spChg chg="add">
          <ac:chgData name="Karmakar, Sumit" userId="S::skarmakar@elogex.com::5d020034-ff2c-4e7e-8d00-e94708d613b2" providerId="AD" clId="Web-{139AF620-35FB-4590-285A-B67F6ABEDA00}" dt="2024-02-26T17:25:40.741" v="15"/>
          <ac:spMkLst>
            <pc:docMk/>
            <pc:sldMk cId="3899884770" sldId="2147480057"/>
            <ac:spMk id="27" creationId="{3799ACBC-6E0A-7B2C-DDA3-82C5930CA225}"/>
          </ac:spMkLst>
        </pc:spChg>
        <pc:grpChg chg="add">
          <ac:chgData name="Karmakar, Sumit" userId="S::skarmakar@elogex.com::5d020034-ff2c-4e7e-8d00-e94708d613b2" providerId="AD" clId="Web-{139AF620-35FB-4590-285A-B67F6ABEDA00}" dt="2024-02-26T17:25:24.318" v="14"/>
          <ac:grpSpMkLst>
            <pc:docMk/>
            <pc:sldMk cId="3899884770" sldId="2147480057"/>
            <ac:grpSpMk id="23" creationId="{F32102A0-312A-9B06-9D01-E106A2723F76}"/>
          </ac:grpSpMkLst>
        </pc:grpChg>
        <pc:grpChg chg="add mod">
          <ac:chgData name="Karmakar, Sumit" userId="S::skarmakar@elogex.com::5d020034-ff2c-4e7e-8d00-e94708d613b2" providerId="AD" clId="Web-{139AF620-35FB-4590-285A-B67F6ABEDA00}" dt="2024-02-26T17:26:04.366" v="16" actId="1076"/>
          <ac:grpSpMkLst>
            <pc:docMk/>
            <pc:sldMk cId="3899884770" sldId="2147480057"/>
            <ac:grpSpMk id="26" creationId="{F32102A0-312A-9B06-9D01-E106A2723F76}"/>
          </ac:grpSpMkLst>
        </pc:grpChg>
        <pc:picChg chg="del">
          <ac:chgData name="Karmakar, Sumit" userId="S::skarmakar@elogex.com::5d020034-ff2c-4e7e-8d00-e94708d613b2" providerId="AD" clId="Web-{139AF620-35FB-4590-285A-B67F6ABEDA00}" dt="2024-02-26T17:25:11.068" v="13"/>
          <ac:picMkLst>
            <pc:docMk/>
            <pc:sldMk cId="3899884770" sldId="2147480057"/>
            <ac:picMk id="7" creationId="{58F94FDD-225C-E3C9-F9B1-D0BC928BF976}"/>
          </ac:picMkLst>
        </pc:picChg>
        <pc:picChg chg="add">
          <ac:chgData name="Karmakar, Sumit" userId="S::skarmakar@elogex.com::5d020034-ff2c-4e7e-8d00-e94708d613b2" providerId="AD" clId="Web-{139AF620-35FB-4590-285A-B67F6ABEDA00}" dt="2024-02-26T17:25:24.318" v="14"/>
          <ac:picMkLst>
            <pc:docMk/>
            <pc:sldMk cId="3899884770" sldId="2147480057"/>
            <ac:picMk id="25" creationId="{040D2C62-A71A-6AEB-ABE9-15F3C8BE2016}"/>
          </ac:picMkLst>
        </pc:picChg>
        <pc:picChg chg="add">
          <ac:chgData name="Karmakar, Sumit" userId="S::skarmakar@elogex.com::5d020034-ff2c-4e7e-8d00-e94708d613b2" providerId="AD" clId="Web-{139AF620-35FB-4590-285A-B67F6ABEDA00}" dt="2024-02-26T17:25:40.741" v="15"/>
          <ac:picMkLst>
            <pc:docMk/>
            <pc:sldMk cId="3899884770" sldId="2147480057"/>
            <ac:picMk id="28" creationId="{040D2C62-A71A-6AEB-ABE9-15F3C8BE2016}"/>
          </ac:picMkLst>
        </pc:picChg>
      </pc:sldChg>
    </pc:docChg>
  </pc:docChgLst>
  <pc:docChgLst>
    <pc:chgData name="Karmakar, Sumit" userId="S::skarmakar@elogex.com::5d020034-ff2c-4e7e-8d00-e94708d613b2" providerId="AD" clId="Web-{516C2AF9-7F89-20CB-30AE-A9938D770A53}"/>
    <pc:docChg chg="modSld">
      <pc:chgData name="Karmakar, Sumit" userId="S::skarmakar@elogex.com::5d020034-ff2c-4e7e-8d00-e94708d613b2" providerId="AD" clId="Web-{516C2AF9-7F89-20CB-30AE-A9938D770A53}" dt="2024-02-28T13:24:33" v="32" actId="20577"/>
      <pc:docMkLst>
        <pc:docMk/>
      </pc:docMkLst>
      <pc:sldChg chg="modSp">
        <pc:chgData name="Karmakar, Sumit" userId="S::skarmakar@elogex.com::5d020034-ff2c-4e7e-8d00-e94708d613b2" providerId="AD" clId="Web-{516C2AF9-7F89-20CB-30AE-A9938D770A53}" dt="2024-02-28T13:24:33" v="32" actId="20577"/>
        <pc:sldMkLst>
          <pc:docMk/>
          <pc:sldMk cId="2371631138" sldId="2147479780"/>
        </pc:sldMkLst>
        <pc:spChg chg="mod">
          <ac:chgData name="Karmakar, Sumit" userId="S::skarmakar@elogex.com::5d020034-ff2c-4e7e-8d00-e94708d613b2" providerId="AD" clId="Web-{516C2AF9-7F89-20CB-30AE-A9938D770A53}" dt="2024-02-28T13:24:33" v="32" actId="20577"/>
          <ac:spMkLst>
            <pc:docMk/>
            <pc:sldMk cId="2371631138" sldId="2147479780"/>
            <ac:spMk id="5" creationId="{AA965B8F-560B-560F-794A-6338F063A727}"/>
          </ac:spMkLst>
        </pc:spChg>
      </pc:sldChg>
      <pc:sldChg chg="addSp modSp">
        <pc:chgData name="Karmakar, Sumit" userId="S::skarmakar@elogex.com::5d020034-ff2c-4e7e-8d00-e94708d613b2" providerId="AD" clId="Web-{516C2AF9-7F89-20CB-30AE-A9938D770A53}" dt="2024-02-28T13:21:36.712" v="21" actId="20577"/>
        <pc:sldMkLst>
          <pc:docMk/>
          <pc:sldMk cId="3899884770" sldId="2147480057"/>
        </pc:sldMkLst>
        <pc:spChg chg="add mod">
          <ac:chgData name="Karmakar, Sumit" userId="S::skarmakar@elogex.com::5d020034-ff2c-4e7e-8d00-e94708d613b2" providerId="AD" clId="Web-{516C2AF9-7F89-20CB-30AE-A9938D770A53}" dt="2024-02-28T13:21:36.712" v="21" actId="20577"/>
          <ac:spMkLst>
            <pc:docMk/>
            <pc:sldMk cId="3899884770" sldId="2147480057"/>
            <ac:spMk id="25" creationId="{3DE40BB6-E42F-420F-D1ED-A4D546C4824F}"/>
          </ac:spMkLst>
        </pc:spChg>
      </pc:sldChg>
    </pc:docChg>
  </pc:docChgLst>
  <pc:docChgLst>
    <pc:chgData name="Karmakar, Sumit" userId="S::skarmakar@elogex.com::5d020034-ff2c-4e7e-8d00-e94708d613b2" providerId="AD" clId="Web-{C50B1480-C46E-7069-EB01-C555C6DB738E}"/>
    <pc:docChg chg="addSld delSld modSld sldOrd modSection">
      <pc:chgData name="Karmakar, Sumit" userId="S::skarmakar@elogex.com::5d020034-ff2c-4e7e-8d00-e94708d613b2" providerId="AD" clId="Web-{C50B1480-C46E-7069-EB01-C555C6DB738E}" dt="2024-03-11T17:22:08.498" v="249" actId="20577"/>
      <pc:docMkLst>
        <pc:docMk/>
      </pc:docMkLst>
      <pc:sldChg chg="modSp">
        <pc:chgData name="Karmakar, Sumit" userId="S::skarmakar@elogex.com::5d020034-ff2c-4e7e-8d00-e94708d613b2" providerId="AD" clId="Web-{C50B1480-C46E-7069-EB01-C555C6DB738E}" dt="2024-03-11T17:01:56.838" v="78" actId="20577"/>
        <pc:sldMkLst>
          <pc:docMk/>
          <pc:sldMk cId="2371631138" sldId="2147479780"/>
        </pc:sldMkLst>
        <pc:spChg chg="mod">
          <ac:chgData name="Karmakar, Sumit" userId="S::skarmakar@elogex.com::5d020034-ff2c-4e7e-8d00-e94708d613b2" providerId="AD" clId="Web-{C50B1480-C46E-7069-EB01-C555C6DB738E}" dt="2024-03-11T17:01:56.838" v="78" actId="20577"/>
          <ac:spMkLst>
            <pc:docMk/>
            <pc:sldMk cId="2371631138" sldId="2147479780"/>
            <ac:spMk id="5" creationId="{AA965B8F-560B-560F-794A-6338F063A727}"/>
          </ac:spMkLst>
        </pc:spChg>
      </pc:sldChg>
      <pc:sldChg chg="modSp del">
        <pc:chgData name="Karmakar, Sumit" userId="S::skarmakar@elogex.com::5d020034-ff2c-4e7e-8d00-e94708d613b2" providerId="AD" clId="Web-{C50B1480-C46E-7069-EB01-C555C6DB738E}" dt="2024-03-11T17:13:01.716" v="222"/>
        <pc:sldMkLst>
          <pc:docMk/>
          <pc:sldMk cId="3830398862" sldId="2147479784"/>
        </pc:sldMkLst>
        <pc:spChg chg="mod">
          <ac:chgData name="Karmakar, Sumit" userId="S::skarmakar@elogex.com::5d020034-ff2c-4e7e-8d00-e94708d613b2" providerId="AD" clId="Web-{C50B1480-C46E-7069-EB01-C555C6DB738E}" dt="2024-03-11T16:56:49.782" v="14" actId="1076"/>
          <ac:spMkLst>
            <pc:docMk/>
            <pc:sldMk cId="3830398862" sldId="2147479784"/>
            <ac:spMk id="1490" creationId="{B0CDEDB2-485A-AAD0-63D9-063477405477}"/>
          </ac:spMkLst>
        </pc:spChg>
        <pc:graphicFrameChg chg="modGraphic">
          <ac:chgData name="Karmakar, Sumit" userId="S::skarmakar@elogex.com::5d020034-ff2c-4e7e-8d00-e94708d613b2" providerId="AD" clId="Web-{C50B1480-C46E-7069-EB01-C555C6DB738E}" dt="2024-03-11T16:56:11.015" v="4" actId="20577"/>
          <ac:graphicFrameMkLst>
            <pc:docMk/>
            <pc:sldMk cId="3830398862" sldId="2147479784"/>
            <ac:graphicFrameMk id="54" creationId="{A7870F2B-624A-8CF7-13B3-4C6098793AF8}"/>
          </ac:graphicFrameMkLst>
        </pc:graphicFrameChg>
      </pc:sldChg>
      <pc:sldChg chg="del">
        <pc:chgData name="Karmakar, Sumit" userId="S::skarmakar@elogex.com::5d020034-ff2c-4e7e-8d00-e94708d613b2" providerId="AD" clId="Web-{C50B1480-C46E-7069-EB01-C555C6DB738E}" dt="2024-03-11T17:08:14.005" v="133"/>
        <pc:sldMkLst>
          <pc:docMk/>
          <pc:sldMk cId="369002401" sldId="2147480018"/>
        </pc:sldMkLst>
      </pc:sldChg>
      <pc:sldChg chg="del">
        <pc:chgData name="Karmakar, Sumit" userId="S::skarmakar@elogex.com::5d020034-ff2c-4e7e-8d00-e94708d613b2" providerId="AD" clId="Web-{C50B1480-C46E-7069-EB01-C555C6DB738E}" dt="2024-03-11T17:10:40.040" v="196"/>
        <pc:sldMkLst>
          <pc:docMk/>
          <pc:sldMk cId="2726751487" sldId="2147480051"/>
        </pc:sldMkLst>
      </pc:sldChg>
      <pc:sldChg chg="del">
        <pc:chgData name="Karmakar, Sumit" userId="S::skarmakar@elogex.com::5d020034-ff2c-4e7e-8d00-e94708d613b2" providerId="AD" clId="Web-{C50B1480-C46E-7069-EB01-C555C6DB738E}" dt="2024-03-11T17:12:16.653" v="211"/>
        <pc:sldMkLst>
          <pc:docMk/>
          <pc:sldMk cId="1256363016" sldId="2147480053"/>
        </pc:sldMkLst>
      </pc:sldChg>
      <pc:sldChg chg="del">
        <pc:chgData name="Karmakar, Sumit" userId="S::skarmakar@elogex.com::5d020034-ff2c-4e7e-8d00-e94708d613b2" providerId="AD" clId="Web-{C50B1480-C46E-7069-EB01-C555C6DB738E}" dt="2024-03-11T17:14:23.578" v="238"/>
        <pc:sldMkLst>
          <pc:docMk/>
          <pc:sldMk cId="2857832739" sldId="2147480092"/>
        </pc:sldMkLst>
      </pc:sldChg>
      <pc:sldChg chg="delSp modSp ord">
        <pc:chgData name="Karmakar, Sumit" userId="S::skarmakar@elogex.com::5d020034-ff2c-4e7e-8d00-e94708d613b2" providerId="AD" clId="Web-{C50B1480-C46E-7069-EB01-C555C6DB738E}" dt="2024-03-11T17:11:46.574" v="209"/>
        <pc:sldMkLst>
          <pc:docMk/>
          <pc:sldMk cId="1693912635" sldId="2147480094"/>
        </pc:sldMkLst>
        <pc:spChg chg="mod">
          <ac:chgData name="Karmakar, Sumit" userId="S::skarmakar@elogex.com::5d020034-ff2c-4e7e-8d00-e94708d613b2" providerId="AD" clId="Web-{C50B1480-C46E-7069-EB01-C555C6DB738E}" dt="2024-03-11T17:11:00.322" v="200" actId="20577"/>
          <ac:spMkLst>
            <pc:docMk/>
            <pc:sldMk cId="1693912635" sldId="2147480094"/>
            <ac:spMk id="9" creationId="{7FBA4B87-97CE-C427-F2E6-4E29EF3AAD3C}"/>
          </ac:spMkLst>
        </pc:spChg>
        <pc:picChg chg="del">
          <ac:chgData name="Karmakar, Sumit" userId="S::skarmakar@elogex.com::5d020034-ff2c-4e7e-8d00-e94708d613b2" providerId="AD" clId="Web-{C50B1480-C46E-7069-EB01-C555C6DB738E}" dt="2024-03-11T17:11:46.574" v="209"/>
          <ac:picMkLst>
            <pc:docMk/>
            <pc:sldMk cId="1693912635" sldId="2147480094"/>
            <ac:picMk id="55" creationId="{9B5600F8-9CCB-E146-2187-7AD1CDDC6C8D}"/>
          </ac:picMkLst>
        </pc:picChg>
      </pc:sldChg>
      <pc:sldChg chg="modSp">
        <pc:chgData name="Karmakar, Sumit" userId="S::skarmakar@elogex.com::5d020034-ff2c-4e7e-8d00-e94708d613b2" providerId="AD" clId="Web-{C50B1480-C46E-7069-EB01-C555C6DB738E}" dt="2024-03-11T17:03:51.904" v="87" actId="20577"/>
        <pc:sldMkLst>
          <pc:docMk/>
          <pc:sldMk cId="565861938" sldId="2147480095"/>
        </pc:sldMkLst>
        <pc:spChg chg="mod">
          <ac:chgData name="Karmakar, Sumit" userId="S::skarmakar@elogex.com::5d020034-ff2c-4e7e-8d00-e94708d613b2" providerId="AD" clId="Web-{C50B1480-C46E-7069-EB01-C555C6DB738E}" dt="2024-03-11T17:03:51.904" v="87" actId="20577"/>
          <ac:spMkLst>
            <pc:docMk/>
            <pc:sldMk cId="565861938" sldId="2147480095"/>
            <ac:spMk id="2" creationId="{0329E297-E798-08B1-A1CC-65371311D18E}"/>
          </ac:spMkLst>
        </pc:spChg>
      </pc:sldChg>
      <pc:sldChg chg="del">
        <pc:chgData name="Karmakar, Sumit" userId="S::skarmakar@elogex.com::5d020034-ff2c-4e7e-8d00-e94708d613b2" providerId="AD" clId="Web-{C50B1480-C46E-7069-EB01-C555C6DB738E}" dt="2024-03-11T17:09:45.554" v="177"/>
        <pc:sldMkLst>
          <pc:docMk/>
          <pc:sldMk cId="1839034157" sldId="2147480096"/>
        </pc:sldMkLst>
      </pc:sldChg>
      <pc:sldChg chg="addSp delSp modSp add replId">
        <pc:chgData name="Karmakar, Sumit" userId="S::skarmakar@elogex.com::5d020034-ff2c-4e7e-8d00-e94708d613b2" providerId="AD" clId="Web-{C50B1480-C46E-7069-EB01-C555C6DB738E}" dt="2024-03-11T17:07:58.473" v="132" actId="1076"/>
        <pc:sldMkLst>
          <pc:docMk/>
          <pc:sldMk cId="3611435049" sldId="2147480097"/>
        </pc:sldMkLst>
        <pc:spChg chg="mod">
          <ac:chgData name="Karmakar, Sumit" userId="S::skarmakar@elogex.com::5d020034-ff2c-4e7e-8d00-e94708d613b2" providerId="AD" clId="Web-{C50B1480-C46E-7069-EB01-C555C6DB738E}" dt="2024-03-11T17:07:29.613" v="127" actId="20577"/>
          <ac:spMkLst>
            <pc:docMk/>
            <pc:sldMk cId="3611435049" sldId="2147480097"/>
            <ac:spMk id="2" creationId="{0329E297-E798-08B1-A1CC-65371311D18E}"/>
          </ac:spMkLst>
        </pc:spChg>
        <pc:spChg chg="del">
          <ac:chgData name="Karmakar, Sumit" userId="S::skarmakar@elogex.com::5d020034-ff2c-4e7e-8d00-e94708d613b2" providerId="AD" clId="Web-{C50B1480-C46E-7069-EB01-C555C6DB738E}" dt="2024-03-11T17:04:20.029" v="89"/>
          <ac:spMkLst>
            <pc:docMk/>
            <pc:sldMk cId="3611435049" sldId="2147480097"/>
            <ac:spMk id="7" creationId="{2AF1768E-031C-DB93-EC23-2BF90B7BCB74}"/>
          </ac:spMkLst>
        </pc:spChg>
        <pc:spChg chg="add mod">
          <ac:chgData name="Karmakar, Sumit" userId="S::skarmakar@elogex.com::5d020034-ff2c-4e7e-8d00-e94708d613b2" providerId="AD" clId="Web-{C50B1480-C46E-7069-EB01-C555C6DB738E}" dt="2024-03-11T17:06:35.596" v="119" actId="1076"/>
          <ac:spMkLst>
            <pc:docMk/>
            <pc:sldMk cId="3611435049" sldId="2147480097"/>
            <ac:spMk id="11" creationId="{CFF7E678-C21E-3A88-7A7D-646832986BAA}"/>
          </ac:spMkLst>
        </pc:spChg>
        <pc:spChg chg="add mod">
          <ac:chgData name="Karmakar, Sumit" userId="S::skarmakar@elogex.com::5d020034-ff2c-4e7e-8d00-e94708d613b2" providerId="AD" clId="Web-{C50B1480-C46E-7069-EB01-C555C6DB738E}" dt="2024-03-11T17:04:59.327" v="109" actId="1076"/>
          <ac:spMkLst>
            <pc:docMk/>
            <pc:sldMk cId="3611435049" sldId="2147480097"/>
            <ac:spMk id="13" creationId="{9591BC70-8805-97F7-F795-9E7A8B12FB7E}"/>
          </ac:spMkLst>
        </pc:spChg>
        <pc:spChg chg="add mod">
          <ac:chgData name="Karmakar, Sumit" userId="S::skarmakar@elogex.com::5d020034-ff2c-4e7e-8d00-e94708d613b2" providerId="AD" clId="Web-{C50B1480-C46E-7069-EB01-C555C6DB738E}" dt="2024-03-11T17:05:53.016" v="115" actId="1076"/>
          <ac:spMkLst>
            <pc:docMk/>
            <pc:sldMk cId="3611435049" sldId="2147480097"/>
            <ac:spMk id="15" creationId="{357C8E22-DD4B-9E3D-18D7-8E08855F3764}"/>
          </ac:spMkLst>
        </pc:spChg>
        <pc:spChg chg="add mod">
          <ac:chgData name="Karmakar, Sumit" userId="S::skarmakar@elogex.com::5d020034-ff2c-4e7e-8d00-e94708d613b2" providerId="AD" clId="Web-{C50B1480-C46E-7069-EB01-C555C6DB738E}" dt="2024-03-11T17:06:24.799" v="117" actId="1076"/>
          <ac:spMkLst>
            <pc:docMk/>
            <pc:sldMk cId="3611435049" sldId="2147480097"/>
            <ac:spMk id="19" creationId="{F0893FC4-8AF1-7EEB-AC21-313DEB5254D2}"/>
          </ac:spMkLst>
        </pc:spChg>
        <pc:spChg chg="add mod">
          <ac:chgData name="Karmakar, Sumit" userId="S::skarmakar@elogex.com::5d020034-ff2c-4e7e-8d00-e94708d613b2" providerId="AD" clId="Web-{C50B1480-C46E-7069-EB01-C555C6DB738E}" dt="2024-03-11T17:06:50.893" v="121" actId="1076"/>
          <ac:spMkLst>
            <pc:docMk/>
            <pc:sldMk cId="3611435049" sldId="2147480097"/>
            <ac:spMk id="21" creationId="{05C10136-DDA3-1F51-BE8E-1BACC69C61F4}"/>
          </ac:spMkLst>
        </pc:spChg>
        <pc:spChg chg="del">
          <ac:chgData name="Karmakar, Sumit" userId="S::skarmakar@elogex.com::5d020034-ff2c-4e7e-8d00-e94708d613b2" providerId="AD" clId="Web-{C50B1480-C46E-7069-EB01-C555C6DB738E}" dt="2024-03-11T17:04:20.029" v="99"/>
          <ac:spMkLst>
            <pc:docMk/>
            <pc:sldMk cId="3611435049" sldId="2147480097"/>
            <ac:spMk id="35" creationId="{CB5BB574-C366-4E39-6E02-0FE46725EF8B}"/>
          </ac:spMkLst>
        </pc:spChg>
        <pc:spChg chg="del">
          <ac:chgData name="Karmakar, Sumit" userId="S::skarmakar@elogex.com::5d020034-ff2c-4e7e-8d00-e94708d613b2" providerId="AD" clId="Web-{C50B1480-C46E-7069-EB01-C555C6DB738E}" dt="2024-03-11T17:04:20.029" v="95"/>
          <ac:spMkLst>
            <pc:docMk/>
            <pc:sldMk cId="3611435049" sldId="2147480097"/>
            <ac:spMk id="57" creationId="{B40A93B2-47CB-DFF4-4C3F-55737EAC8DF5}"/>
          </ac:spMkLst>
        </pc:spChg>
        <pc:grpChg chg="del">
          <ac:chgData name="Karmakar, Sumit" userId="S::skarmakar@elogex.com::5d020034-ff2c-4e7e-8d00-e94708d613b2" providerId="AD" clId="Web-{C50B1480-C46E-7069-EB01-C555C6DB738E}" dt="2024-03-11T17:04:20.029" v="92"/>
          <ac:grpSpMkLst>
            <pc:docMk/>
            <pc:sldMk cId="3611435049" sldId="2147480097"/>
            <ac:grpSpMk id="36" creationId="{44D5F5C6-61AC-5590-CC69-F6BB6295AD86}"/>
          </ac:grpSpMkLst>
        </pc:grpChg>
        <pc:grpChg chg="del">
          <ac:chgData name="Karmakar, Sumit" userId="S::skarmakar@elogex.com::5d020034-ff2c-4e7e-8d00-e94708d613b2" providerId="AD" clId="Web-{C50B1480-C46E-7069-EB01-C555C6DB738E}" dt="2024-03-11T17:04:20.029" v="91"/>
          <ac:grpSpMkLst>
            <pc:docMk/>
            <pc:sldMk cId="3611435049" sldId="2147480097"/>
            <ac:grpSpMk id="39" creationId="{E12F2192-08A9-C6D2-59BF-6C5AEC85C4F1}"/>
          </ac:grpSpMkLst>
        </pc:grpChg>
        <pc:grpChg chg="del">
          <ac:chgData name="Karmakar, Sumit" userId="S::skarmakar@elogex.com::5d020034-ff2c-4e7e-8d00-e94708d613b2" providerId="AD" clId="Web-{C50B1480-C46E-7069-EB01-C555C6DB738E}" dt="2024-03-11T17:04:20.029" v="98"/>
          <ac:grpSpMkLst>
            <pc:docMk/>
            <pc:sldMk cId="3611435049" sldId="2147480097"/>
            <ac:grpSpMk id="42" creationId="{483CF175-83D8-3410-18BF-BCA554231BAC}"/>
          </ac:grpSpMkLst>
        </pc:grpChg>
        <pc:grpChg chg="del">
          <ac:chgData name="Karmakar, Sumit" userId="S::skarmakar@elogex.com::5d020034-ff2c-4e7e-8d00-e94708d613b2" providerId="AD" clId="Web-{C50B1480-C46E-7069-EB01-C555C6DB738E}" dt="2024-03-11T17:04:20.029" v="97"/>
          <ac:grpSpMkLst>
            <pc:docMk/>
            <pc:sldMk cId="3611435049" sldId="2147480097"/>
            <ac:grpSpMk id="45" creationId="{DA040813-9FA3-E824-4AF6-677E903C8431}"/>
          </ac:grpSpMkLst>
        </pc:grpChg>
        <pc:graphicFrameChg chg="del">
          <ac:chgData name="Karmakar, Sumit" userId="S::skarmakar@elogex.com::5d020034-ff2c-4e7e-8d00-e94708d613b2" providerId="AD" clId="Web-{C50B1480-C46E-7069-EB01-C555C6DB738E}" dt="2024-03-11T17:04:20.029" v="93"/>
          <ac:graphicFrameMkLst>
            <pc:docMk/>
            <pc:sldMk cId="3611435049" sldId="2147480097"/>
            <ac:graphicFrameMk id="4" creationId="{79080CB7-06B6-82CA-BE0D-A898B4E465A2}"/>
          </ac:graphicFrameMkLst>
        </pc:graphicFrameChg>
        <pc:graphicFrameChg chg="del">
          <ac:chgData name="Karmakar, Sumit" userId="S::skarmakar@elogex.com::5d020034-ff2c-4e7e-8d00-e94708d613b2" providerId="AD" clId="Web-{C50B1480-C46E-7069-EB01-C555C6DB738E}" dt="2024-03-11T17:04:20.029" v="90"/>
          <ac:graphicFrameMkLst>
            <pc:docMk/>
            <pc:sldMk cId="3611435049" sldId="2147480097"/>
            <ac:graphicFrameMk id="5" creationId="{37D500AB-85CD-ED69-A9E6-496AA1F5A14A}"/>
          </ac:graphicFrameMkLst>
        </pc:graphicFrameChg>
        <pc:graphicFrameChg chg="del">
          <ac:chgData name="Karmakar, Sumit" userId="S::skarmakar@elogex.com::5d020034-ff2c-4e7e-8d00-e94708d613b2" providerId="AD" clId="Web-{C50B1480-C46E-7069-EB01-C555C6DB738E}" dt="2024-03-11T17:04:20.029" v="101"/>
          <ac:graphicFrameMkLst>
            <pc:docMk/>
            <pc:sldMk cId="3611435049" sldId="2147480097"/>
            <ac:graphicFrameMk id="16" creationId="{9386FEDC-8876-077B-3622-ADD1D6A880A4}"/>
          </ac:graphicFrameMkLst>
        </pc:graphicFrameChg>
        <pc:graphicFrameChg chg="del">
          <ac:chgData name="Karmakar, Sumit" userId="S::skarmakar@elogex.com::5d020034-ff2c-4e7e-8d00-e94708d613b2" providerId="AD" clId="Web-{C50B1480-C46E-7069-EB01-C555C6DB738E}" dt="2024-03-11T17:04:20.029" v="100"/>
          <ac:graphicFrameMkLst>
            <pc:docMk/>
            <pc:sldMk cId="3611435049" sldId="2147480097"/>
            <ac:graphicFrameMk id="17" creationId="{E2282912-6E7A-93E6-E11A-CAB7D61222A7}"/>
          </ac:graphicFrameMkLst>
        </pc:graphicFrameChg>
        <pc:graphicFrameChg chg="del">
          <ac:chgData name="Karmakar, Sumit" userId="S::skarmakar@elogex.com::5d020034-ff2c-4e7e-8d00-e94708d613b2" providerId="AD" clId="Web-{C50B1480-C46E-7069-EB01-C555C6DB738E}" dt="2024-03-11T17:04:20.029" v="96"/>
          <ac:graphicFrameMkLst>
            <pc:docMk/>
            <pc:sldMk cId="3611435049" sldId="2147480097"/>
            <ac:graphicFrameMk id="55" creationId="{0DDB4D8A-FD51-7EB2-74C6-3BD441A69E42}"/>
          </ac:graphicFrameMkLst>
        </pc:graphicFrameChg>
        <pc:graphicFrameChg chg="del">
          <ac:chgData name="Karmakar, Sumit" userId="S::skarmakar@elogex.com::5d020034-ff2c-4e7e-8d00-e94708d613b2" providerId="AD" clId="Web-{C50B1480-C46E-7069-EB01-C555C6DB738E}" dt="2024-03-11T17:04:20.029" v="94"/>
          <ac:graphicFrameMkLst>
            <pc:docMk/>
            <pc:sldMk cId="3611435049" sldId="2147480097"/>
            <ac:graphicFrameMk id="58" creationId="{A4A3B5F2-2F53-FC1C-71F0-90917952E577}"/>
          </ac:graphicFrameMkLst>
        </pc:graphicFrameChg>
        <pc:picChg chg="add mod">
          <ac:chgData name="Karmakar, Sumit" userId="S::skarmakar@elogex.com::5d020034-ff2c-4e7e-8d00-e94708d613b2" providerId="AD" clId="Web-{C50B1480-C46E-7069-EB01-C555C6DB738E}" dt="2024-03-11T17:05:26.703" v="112" actId="14100"/>
          <ac:picMkLst>
            <pc:docMk/>
            <pc:sldMk cId="3611435049" sldId="2147480097"/>
            <ac:picMk id="6" creationId="{4AB2E6A1-EE90-E4B9-153A-93A8AEC183BC}"/>
          </ac:picMkLst>
        </pc:picChg>
        <pc:picChg chg="add mod">
          <ac:chgData name="Karmakar, Sumit" userId="S::skarmakar@elogex.com::5d020034-ff2c-4e7e-8d00-e94708d613b2" providerId="AD" clId="Web-{C50B1480-C46E-7069-EB01-C555C6DB738E}" dt="2024-03-11T17:06:30.236" v="118" actId="1076"/>
          <ac:picMkLst>
            <pc:docMk/>
            <pc:sldMk cId="3611435049" sldId="2147480097"/>
            <ac:picMk id="9" creationId="{1E96AD1B-F7ED-F3CC-1DA3-BECEB82A38F7}"/>
          </ac:picMkLst>
        </pc:picChg>
        <pc:picChg chg="add mod">
          <ac:chgData name="Karmakar, Sumit" userId="S::skarmakar@elogex.com::5d020034-ff2c-4e7e-8d00-e94708d613b2" providerId="AD" clId="Web-{C50B1480-C46E-7069-EB01-C555C6DB738E}" dt="2024-03-11T17:07:58.473" v="132" actId="1076"/>
          <ac:picMkLst>
            <pc:docMk/>
            <pc:sldMk cId="3611435049" sldId="2147480097"/>
            <ac:picMk id="23" creationId="{2DD8B11C-F504-BEA0-1181-FFDA8AD361AE}"/>
          </ac:picMkLst>
        </pc:picChg>
        <pc:picChg chg="add mod">
          <ac:chgData name="Karmakar, Sumit" userId="S::skarmakar@elogex.com::5d020034-ff2c-4e7e-8d00-e94708d613b2" providerId="AD" clId="Web-{C50B1480-C46E-7069-EB01-C555C6DB738E}" dt="2024-03-11T17:07:54.004" v="130" actId="1076"/>
          <ac:picMkLst>
            <pc:docMk/>
            <pc:sldMk cId="3611435049" sldId="2147480097"/>
            <ac:picMk id="25" creationId="{08A57211-0AB6-E099-C83F-FD41EC7E15FA}"/>
          </ac:picMkLst>
        </pc:picChg>
      </pc:sldChg>
      <pc:sldChg chg="addSp delSp modSp add replId addAnim">
        <pc:chgData name="Karmakar, Sumit" userId="S::skarmakar@elogex.com::5d020034-ff2c-4e7e-8d00-e94708d613b2" providerId="AD" clId="Web-{C50B1480-C46E-7069-EB01-C555C6DB738E}" dt="2024-03-11T17:22:08.498" v="249" actId="20577"/>
        <pc:sldMkLst>
          <pc:docMk/>
          <pc:sldMk cId="212255833" sldId="2147480098"/>
        </pc:sldMkLst>
        <pc:spChg chg="mod">
          <ac:chgData name="Karmakar, Sumit" userId="S::skarmakar@elogex.com::5d020034-ff2c-4e7e-8d00-e94708d613b2" providerId="AD" clId="Web-{C50B1480-C46E-7069-EB01-C555C6DB738E}" dt="2024-03-11T17:22:08.498" v="249" actId="20577"/>
          <ac:spMkLst>
            <pc:docMk/>
            <pc:sldMk cId="212255833" sldId="2147480098"/>
            <ac:spMk id="2" creationId="{0329E297-E798-08B1-A1CC-65371311D18E}"/>
          </ac:spMkLst>
        </pc:spChg>
        <pc:spChg chg="add mod">
          <ac:chgData name="Karmakar, Sumit" userId="S::skarmakar@elogex.com::5d020034-ff2c-4e7e-8d00-e94708d613b2" providerId="AD" clId="Web-{C50B1480-C46E-7069-EB01-C555C6DB738E}" dt="2024-03-11T17:09:09.960" v="157" actId="1076"/>
          <ac:spMkLst>
            <pc:docMk/>
            <pc:sldMk cId="212255833" sldId="2147480098"/>
            <ac:spMk id="4" creationId="{F0697669-9F12-8549-3D44-D25329EFB281}"/>
          </ac:spMkLst>
        </pc:spChg>
        <pc:spChg chg="add mod">
          <ac:chgData name="Karmakar, Sumit" userId="S::skarmakar@elogex.com::5d020034-ff2c-4e7e-8d00-e94708d613b2" providerId="AD" clId="Web-{C50B1480-C46E-7069-EB01-C555C6DB738E}" dt="2024-03-11T17:09:09.975" v="158" actId="1076"/>
          <ac:spMkLst>
            <pc:docMk/>
            <pc:sldMk cId="212255833" sldId="2147480098"/>
            <ac:spMk id="7" creationId="{A159AD5B-6053-5908-9F59-2480BFB85440}"/>
          </ac:spMkLst>
        </pc:spChg>
        <pc:spChg chg="add mod">
          <ac:chgData name="Karmakar, Sumit" userId="S::skarmakar@elogex.com::5d020034-ff2c-4e7e-8d00-e94708d613b2" providerId="AD" clId="Web-{C50B1480-C46E-7069-EB01-C555C6DB738E}" dt="2024-03-11T17:09:09.991" v="159" actId="1076"/>
          <ac:spMkLst>
            <pc:docMk/>
            <pc:sldMk cId="212255833" sldId="2147480098"/>
            <ac:spMk id="10" creationId="{C7F26662-E20E-39BE-53B4-81587EE8E670}"/>
          </ac:spMkLst>
        </pc:spChg>
        <pc:spChg chg="del">
          <ac:chgData name="Karmakar, Sumit" userId="S::skarmakar@elogex.com::5d020034-ff2c-4e7e-8d00-e94708d613b2" providerId="AD" clId="Web-{C50B1480-C46E-7069-EB01-C555C6DB738E}" dt="2024-03-11T17:08:28.068" v="141"/>
          <ac:spMkLst>
            <pc:docMk/>
            <pc:sldMk cId="212255833" sldId="2147480098"/>
            <ac:spMk id="11" creationId="{CFF7E678-C21E-3A88-7A7D-646832986BAA}"/>
          </ac:spMkLst>
        </pc:spChg>
        <pc:spChg chg="del">
          <ac:chgData name="Karmakar, Sumit" userId="S::skarmakar@elogex.com::5d020034-ff2c-4e7e-8d00-e94708d613b2" providerId="AD" clId="Web-{C50B1480-C46E-7069-EB01-C555C6DB738E}" dt="2024-03-11T17:08:28.068" v="140"/>
          <ac:spMkLst>
            <pc:docMk/>
            <pc:sldMk cId="212255833" sldId="2147480098"/>
            <ac:spMk id="13" creationId="{9591BC70-8805-97F7-F795-9E7A8B12FB7E}"/>
          </ac:spMkLst>
        </pc:spChg>
        <pc:spChg chg="del">
          <ac:chgData name="Karmakar, Sumit" userId="S::skarmakar@elogex.com::5d020034-ff2c-4e7e-8d00-e94708d613b2" providerId="AD" clId="Web-{C50B1480-C46E-7069-EB01-C555C6DB738E}" dt="2024-03-11T17:08:28.068" v="139"/>
          <ac:spMkLst>
            <pc:docMk/>
            <pc:sldMk cId="212255833" sldId="2147480098"/>
            <ac:spMk id="15" creationId="{357C8E22-DD4B-9E3D-18D7-8E08855F3764}"/>
          </ac:spMkLst>
        </pc:spChg>
        <pc:spChg chg="del">
          <ac:chgData name="Karmakar, Sumit" userId="S::skarmakar@elogex.com::5d020034-ff2c-4e7e-8d00-e94708d613b2" providerId="AD" clId="Web-{C50B1480-C46E-7069-EB01-C555C6DB738E}" dt="2024-03-11T17:08:28.068" v="138"/>
          <ac:spMkLst>
            <pc:docMk/>
            <pc:sldMk cId="212255833" sldId="2147480098"/>
            <ac:spMk id="19" creationId="{F0893FC4-8AF1-7EEB-AC21-313DEB5254D2}"/>
          </ac:spMkLst>
        </pc:spChg>
        <pc:spChg chg="del">
          <ac:chgData name="Karmakar, Sumit" userId="S::skarmakar@elogex.com::5d020034-ff2c-4e7e-8d00-e94708d613b2" providerId="AD" clId="Web-{C50B1480-C46E-7069-EB01-C555C6DB738E}" dt="2024-03-11T17:08:28.068" v="137"/>
          <ac:spMkLst>
            <pc:docMk/>
            <pc:sldMk cId="212255833" sldId="2147480098"/>
            <ac:spMk id="21" creationId="{05C10136-DDA3-1F51-BE8E-1BACC69C61F4}"/>
          </ac:spMkLst>
        </pc:spChg>
        <pc:spChg chg="add mod">
          <ac:chgData name="Karmakar, Sumit" userId="S::skarmakar@elogex.com::5d020034-ff2c-4e7e-8d00-e94708d613b2" providerId="AD" clId="Web-{C50B1480-C46E-7069-EB01-C555C6DB738E}" dt="2024-03-11T17:09:10.022" v="161" actId="1076"/>
          <ac:spMkLst>
            <pc:docMk/>
            <pc:sldMk cId="212255833" sldId="2147480098"/>
            <ac:spMk id="22" creationId="{D3F763AC-3959-D499-CC30-519B8AC5E73F}"/>
          </ac:spMkLst>
        </pc:spChg>
        <pc:spChg chg="add mod">
          <ac:chgData name="Karmakar, Sumit" userId="S::skarmakar@elogex.com::5d020034-ff2c-4e7e-8d00-e94708d613b2" providerId="AD" clId="Web-{C50B1480-C46E-7069-EB01-C555C6DB738E}" dt="2024-03-11T17:09:10.053" v="162" actId="1076"/>
          <ac:spMkLst>
            <pc:docMk/>
            <pc:sldMk cId="212255833" sldId="2147480098"/>
            <ac:spMk id="26" creationId="{98219922-8DC4-8D1E-E189-523A0112C31E}"/>
          </ac:spMkLst>
        </pc:spChg>
        <pc:spChg chg="add mod">
          <ac:chgData name="Karmakar, Sumit" userId="S::skarmakar@elogex.com::5d020034-ff2c-4e7e-8d00-e94708d613b2" providerId="AD" clId="Web-{C50B1480-C46E-7069-EB01-C555C6DB738E}" dt="2024-03-11T17:09:10.100" v="164" actId="1076"/>
          <ac:spMkLst>
            <pc:docMk/>
            <pc:sldMk cId="212255833" sldId="2147480098"/>
            <ac:spMk id="32" creationId="{17C8BC3F-6C8E-4431-BD68-228F1B16F934}"/>
          </ac:spMkLst>
        </pc:spChg>
        <pc:grpChg chg="add mod">
          <ac:chgData name="Karmakar, Sumit" userId="S::skarmakar@elogex.com::5d020034-ff2c-4e7e-8d00-e94708d613b2" providerId="AD" clId="Web-{C50B1480-C46E-7069-EB01-C555C6DB738E}" dt="2024-03-11T17:09:10.007" v="160" actId="1076"/>
          <ac:grpSpMkLst>
            <pc:docMk/>
            <pc:sldMk cId="212255833" sldId="2147480098"/>
            <ac:grpSpMk id="18" creationId="{7B9C20FA-A501-9911-0A73-89E617573AA4}"/>
          </ac:grpSpMkLst>
        </pc:grpChg>
        <pc:grpChg chg="add mod">
          <ac:chgData name="Karmakar, Sumit" userId="S::skarmakar@elogex.com::5d020034-ff2c-4e7e-8d00-e94708d613b2" providerId="AD" clId="Web-{C50B1480-C46E-7069-EB01-C555C6DB738E}" dt="2024-03-11T17:09:34.601" v="176" actId="1076"/>
          <ac:grpSpMkLst>
            <pc:docMk/>
            <pc:sldMk cId="212255833" sldId="2147480098"/>
            <ac:grpSpMk id="30" creationId="{BCD9222C-38AB-4E20-152C-32DCB7EE43A2}"/>
          </ac:grpSpMkLst>
        </pc:grpChg>
        <pc:grpChg chg="add mod">
          <ac:chgData name="Karmakar, Sumit" userId="S::skarmakar@elogex.com::5d020034-ff2c-4e7e-8d00-e94708d613b2" providerId="AD" clId="Web-{C50B1480-C46E-7069-EB01-C555C6DB738E}" dt="2024-03-11T17:09:30.366" v="174" actId="1076"/>
          <ac:grpSpMkLst>
            <pc:docMk/>
            <pc:sldMk cId="212255833" sldId="2147480098"/>
            <ac:grpSpMk id="36" creationId="{BCB9D3F8-7984-9DD3-11E3-C13B96C3AF7B}"/>
          </ac:grpSpMkLst>
        </pc:grpChg>
        <pc:grpChg chg="add mod">
          <ac:chgData name="Karmakar, Sumit" userId="S::skarmakar@elogex.com::5d020034-ff2c-4e7e-8d00-e94708d613b2" providerId="AD" clId="Web-{C50B1480-C46E-7069-EB01-C555C6DB738E}" dt="2024-03-11T17:09:30.398" v="175" actId="1076"/>
          <ac:grpSpMkLst>
            <pc:docMk/>
            <pc:sldMk cId="212255833" sldId="2147480098"/>
            <ac:grpSpMk id="40" creationId="{CF78D80F-9525-1311-726A-AFDCE448820E}"/>
          </ac:grpSpMkLst>
        </pc:grpChg>
        <pc:grpChg chg="add mod">
          <ac:chgData name="Karmakar, Sumit" userId="S::skarmakar@elogex.com::5d020034-ff2c-4e7e-8d00-e94708d613b2" providerId="AD" clId="Web-{C50B1480-C46E-7069-EB01-C555C6DB738E}" dt="2024-03-11T17:09:10.178" v="167" actId="1076"/>
          <ac:grpSpMkLst>
            <pc:docMk/>
            <pc:sldMk cId="212255833" sldId="2147480098"/>
            <ac:grpSpMk id="46" creationId="{EC1D4968-EF26-ECE5-6D9D-64BF433D3A7D}"/>
          </ac:grpSpMkLst>
        </pc:grpChg>
        <pc:grpChg chg="add mod">
          <ac:chgData name="Karmakar, Sumit" userId="S::skarmakar@elogex.com::5d020034-ff2c-4e7e-8d00-e94708d613b2" providerId="AD" clId="Web-{C50B1480-C46E-7069-EB01-C555C6DB738E}" dt="2024-03-11T17:09:10.210" v="168" actId="1076"/>
          <ac:grpSpMkLst>
            <pc:docMk/>
            <pc:sldMk cId="212255833" sldId="2147480098"/>
            <ac:grpSpMk id="62" creationId="{1D2994B6-2693-DF55-0A0C-43128BC15FD0}"/>
          </ac:grpSpMkLst>
        </pc:grpChg>
        <pc:grpChg chg="add mod">
          <ac:chgData name="Karmakar, Sumit" userId="S::skarmakar@elogex.com::5d020034-ff2c-4e7e-8d00-e94708d613b2" providerId="AD" clId="Web-{C50B1480-C46E-7069-EB01-C555C6DB738E}" dt="2024-03-11T17:09:10.241" v="169" actId="1076"/>
          <ac:grpSpMkLst>
            <pc:docMk/>
            <pc:sldMk cId="212255833" sldId="2147480098"/>
            <ac:grpSpMk id="70" creationId="{FB90B166-D1F0-2AF7-C7C1-322A6BAF66DF}"/>
          </ac:grpSpMkLst>
        </pc:grpChg>
        <pc:picChg chg="del">
          <ac:chgData name="Karmakar, Sumit" userId="S::skarmakar@elogex.com::5d020034-ff2c-4e7e-8d00-e94708d613b2" providerId="AD" clId="Web-{C50B1480-C46E-7069-EB01-C555C6DB738E}" dt="2024-03-11T17:08:28.068" v="143"/>
          <ac:picMkLst>
            <pc:docMk/>
            <pc:sldMk cId="212255833" sldId="2147480098"/>
            <ac:picMk id="6" creationId="{4AB2E6A1-EE90-E4B9-153A-93A8AEC183BC}"/>
          </ac:picMkLst>
        </pc:picChg>
        <pc:picChg chg="del">
          <ac:chgData name="Karmakar, Sumit" userId="S::skarmakar@elogex.com::5d020034-ff2c-4e7e-8d00-e94708d613b2" providerId="AD" clId="Web-{C50B1480-C46E-7069-EB01-C555C6DB738E}" dt="2024-03-11T17:08:28.068" v="142"/>
          <ac:picMkLst>
            <pc:docMk/>
            <pc:sldMk cId="212255833" sldId="2147480098"/>
            <ac:picMk id="9" creationId="{1E96AD1B-F7ED-F3CC-1DA3-BECEB82A38F7}"/>
          </ac:picMkLst>
        </pc:picChg>
        <pc:picChg chg="del">
          <ac:chgData name="Karmakar, Sumit" userId="S::skarmakar@elogex.com::5d020034-ff2c-4e7e-8d00-e94708d613b2" providerId="AD" clId="Web-{C50B1480-C46E-7069-EB01-C555C6DB738E}" dt="2024-03-11T17:08:28.068" v="136"/>
          <ac:picMkLst>
            <pc:docMk/>
            <pc:sldMk cId="212255833" sldId="2147480098"/>
            <ac:picMk id="23" creationId="{2DD8B11C-F504-BEA0-1181-FFDA8AD361AE}"/>
          </ac:picMkLst>
        </pc:picChg>
        <pc:picChg chg="del">
          <ac:chgData name="Karmakar, Sumit" userId="S::skarmakar@elogex.com::5d020034-ff2c-4e7e-8d00-e94708d613b2" providerId="AD" clId="Web-{C50B1480-C46E-7069-EB01-C555C6DB738E}" dt="2024-03-11T17:08:28.068" v="135"/>
          <ac:picMkLst>
            <pc:docMk/>
            <pc:sldMk cId="212255833" sldId="2147480098"/>
            <ac:picMk id="25" creationId="{08A57211-0AB6-E099-C83F-FD41EC7E15FA}"/>
          </ac:picMkLst>
        </pc:picChg>
      </pc:sldChg>
      <pc:sldChg chg="delSp modSp add replId delAnim">
        <pc:chgData name="Karmakar, Sumit" userId="S::skarmakar@elogex.com::5d020034-ff2c-4e7e-8d00-e94708d613b2" providerId="AD" clId="Web-{C50B1480-C46E-7069-EB01-C555C6DB738E}" dt="2024-03-11T17:10:32.525" v="195" actId="20577"/>
        <pc:sldMkLst>
          <pc:docMk/>
          <pc:sldMk cId="295364091" sldId="2147480099"/>
        </pc:sldMkLst>
        <pc:spChg chg="mod">
          <ac:chgData name="Karmakar, Sumit" userId="S::skarmakar@elogex.com::5d020034-ff2c-4e7e-8d00-e94708d613b2" providerId="AD" clId="Web-{C50B1480-C46E-7069-EB01-C555C6DB738E}" dt="2024-03-11T17:10:32.525" v="195" actId="20577"/>
          <ac:spMkLst>
            <pc:docMk/>
            <pc:sldMk cId="295364091" sldId="2147480099"/>
            <ac:spMk id="2" creationId="{0329E297-E798-08B1-A1CC-65371311D18E}"/>
          </ac:spMkLst>
        </pc:spChg>
        <pc:spChg chg="del">
          <ac:chgData name="Karmakar, Sumit" userId="S::skarmakar@elogex.com::5d020034-ff2c-4e7e-8d00-e94708d613b2" providerId="AD" clId="Web-{C50B1480-C46E-7069-EB01-C555C6DB738E}" dt="2024-03-11T17:10:10.274" v="191"/>
          <ac:spMkLst>
            <pc:docMk/>
            <pc:sldMk cId="295364091" sldId="2147480099"/>
            <ac:spMk id="4" creationId="{F0697669-9F12-8549-3D44-D25329EFB281}"/>
          </ac:spMkLst>
        </pc:spChg>
        <pc:spChg chg="del">
          <ac:chgData name="Karmakar, Sumit" userId="S::skarmakar@elogex.com::5d020034-ff2c-4e7e-8d00-e94708d613b2" providerId="AD" clId="Web-{C50B1480-C46E-7069-EB01-C555C6DB738E}" dt="2024-03-11T17:10:10.274" v="190"/>
          <ac:spMkLst>
            <pc:docMk/>
            <pc:sldMk cId="295364091" sldId="2147480099"/>
            <ac:spMk id="7" creationId="{A159AD5B-6053-5908-9F59-2480BFB85440}"/>
          </ac:spMkLst>
        </pc:spChg>
        <pc:spChg chg="del">
          <ac:chgData name="Karmakar, Sumit" userId="S::skarmakar@elogex.com::5d020034-ff2c-4e7e-8d00-e94708d613b2" providerId="AD" clId="Web-{C50B1480-C46E-7069-EB01-C555C6DB738E}" dt="2024-03-11T17:10:10.274" v="189"/>
          <ac:spMkLst>
            <pc:docMk/>
            <pc:sldMk cId="295364091" sldId="2147480099"/>
            <ac:spMk id="10" creationId="{C7F26662-E20E-39BE-53B4-81587EE8E670}"/>
          </ac:spMkLst>
        </pc:spChg>
        <pc:spChg chg="del">
          <ac:chgData name="Karmakar, Sumit" userId="S::skarmakar@elogex.com::5d020034-ff2c-4e7e-8d00-e94708d613b2" providerId="AD" clId="Web-{C50B1480-C46E-7069-EB01-C555C6DB738E}" dt="2024-03-11T17:10:10.274" v="187"/>
          <ac:spMkLst>
            <pc:docMk/>
            <pc:sldMk cId="295364091" sldId="2147480099"/>
            <ac:spMk id="22" creationId="{D3F763AC-3959-D499-CC30-519B8AC5E73F}"/>
          </ac:spMkLst>
        </pc:spChg>
        <pc:spChg chg="del">
          <ac:chgData name="Karmakar, Sumit" userId="S::skarmakar@elogex.com::5d020034-ff2c-4e7e-8d00-e94708d613b2" providerId="AD" clId="Web-{C50B1480-C46E-7069-EB01-C555C6DB738E}" dt="2024-03-11T17:10:10.274" v="186"/>
          <ac:spMkLst>
            <pc:docMk/>
            <pc:sldMk cId="295364091" sldId="2147480099"/>
            <ac:spMk id="26" creationId="{98219922-8DC4-8D1E-E189-523A0112C31E}"/>
          </ac:spMkLst>
        </pc:spChg>
        <pc:spChg chg="del">
          <ac:chgData name="Karmakar, Sumit" userId="S::skarmakar@elogex.com::5d020034-ff2c-4e7e-8d00-e94708d613b2" providerId="AD" clId="Web-{C50B1480-C46E-7069-EB01-C555C6DB738E}" dt="2024-03-11T17:10:10.274" v="184"/>
          <ac:spMkLst>
            <pc:docMk/>
            <pc:sldMk cId="295364091" sldId="2147480099"/>
            <ac:spMk id="32" creationId="{17C8BC3F-6C8E-4431-BD68-228F1B16F934}"/>
          </ac:spMkLst>
        </pc:spChg>
        <pc:grpChg chg="del">
          <ac:chgData name="Karmakar, Sumit" userId="S::skarmakar@elogex.com::5d020034-ff2c-4e7e-8d00-e94708d613b2" providerId="AD" clId="Web-{C50B1480-C46E-7069-EB01-C555C6DB738E}" dt="2024-03-11T17:10:10.274" v="188"/>
          <ac:grpSpMkLst>
            <pc:docMk/>
            <pc:sldMk cId="295364091" sldId="2147480099"/>
            <ac:grpSpMk id="18" creationId="{7B9C20FA-A501-9911-0A73-89E617573AA4}"/>
          </ac:grpSpMkLst>
        </pc:grpChg>
        <pc:grpChg chg="del">
          <ac:chgData name="Karmakar, Sumit" userId="S::skarmakar@elogex.com::5d020034-ff2c-4e7e-8d00-e94708d613b2" providerId="AD" clId="Web-{C50B1480-C46E-7069-EB01-C555C6DB738E}" dt="2024-03-11T17:10:10.274" v="185"/>
          <ac:grpSpMkLst>
            <pc:docMk/>
            <pc:sldMk cId="295364091" sldId="2147480099"/>
            <ac:grpSpMk id="30" creationId="{BCD9222C-38AB-4E20-152C-32DCB7EE43A2}"/>
          </ac:grpSpMkLst>
        </pc:grpChg>
        <pc:grpChg chg="del">
          <ac:chgData name="Karmakar, Sumit" userId="S::skarmakar@elogex.com::5d020034-ff2c-4e7e-8d00-e94708d613b2" providerId="AD" clId="Web-{C50B1480-C46E-7069-EB01-C555C6DB738E}" dt="2024-03-11T17:10:10.274" v="183"/>
          <ac:grpSpMkLst>
            <pc:docMk/>
            <pc:sldMk cId="295364091" sldId="2147480099"/>
            <ac:grpSpMk id="36" creationId="{BCB9D3F8-7984-9DD3-11E3-C13B96C3AF7B}"/>
          </ac:grpSpMkLst>
        </pc:grpChg>
        <pc:grpChg chg="del">
          <ac:chgData name="Karmakar, Sumit" userId="S::skarmakar@elogex.com::5d020034-ff2c-4e7e-8d00-e94708d613b2" providerId="AD" clId="Web-{C50B1480-C46E-7069-EB01-C555C6DB738E}" dt="2024-03-11T17:10:10.274" v="182"/>
          <ac:grpSpMkLst>
            <pc:docMk/>
            <pc:sldMk cId="295364091" sldId="2147480099"/>
            <ac:grpSpMk id="40" creationId="{CF78D80F-9525-1311-726A-AFDCE448820E}"/>
          </ac:grpSpMkLst>
        </pc:grpChg>
        <pc:grpChg chg="del">
          <ac:chgData name="Karmakar, Sumit" userId="S::skarmakar@elogex.com::5d020034-ff2c-4e7e-8d00-e94708d613b2" providerId="AD" clId="Web-{C50B1480-C46E-7069-EB01-C555C6DB738E}" dt="2024-03-11T17:10:10.274" v="181"/>
          <ac:grpSpMkLst>
            <pc:docMk/>
            <pc:sldMk cId="295364091" sldId="2147480099"/>
            <ac:grpSpMk id="46" creationId="{EC1D4968-EF26-ECE5-6D9D-64BF433D3A7D}"/>
          </ac:grpSpMkLst>
        </pc:grpChg>
        <pc:grpChg chg="del">
          <ac:chgData name="Karmakar, Sumit" userId="S::skarmakar@elogex.com::5d020034-ff2c-4e7e-8d00-e94708d613b2" providerId="AD" clId="Web-{C50B1480-C46E-7069-EB01-C555C6DB738E}" dt="2024-03-11T17:10:10.274" v="180"/>
          <ac:grpSpMkLst>
            <pc:docMk/>
            <pc:sldMk cId="295364091" sldId="2147480099"/>
            <ac:grpSpMk id="62" creationId="{1D2994B6-2693-DF55-0A0C-43128BC15FD0}"/>
          </ac:grpSpMkLst>
        </pc:grpChg>
        <pc:grpChg chg="del">
          <ac:chgData name="Karmakar, Sumit" userId="S::skarmakar@elogex.com::5d020034-ff2c-4e7e-8d00-e94708d613b2" providerId="AD" clId="Web-{C50B1480-C46E-7069-EB01-C555C6DB738E}" dt="2024-03-11T17:10:10.274" v="179"/>
          <ac:grpSpMkLst>
            <pc:docMk/>
            <pc:sldMk cId="295364091" sldId="2147480099"/>
            <ac:grpSpMk id="70" creationId="{FB90B166-D1F0-2AF7-C7C1-322A6BAF66DF}"/>
          </ac:grpSpMkLst>
        </pc:grpChg>
      </pc:sldChg>
      <pc:sldChg chg="addSp delSp modSp add replId">
        <pc:chgData name="Karmakar, Sumit" userId="S::skarmakar@elogex.com::5d020034-ff2c-4e7e-8d00-e94708d613b2" providerId="AD" clId="Web-{C50B1480-C46E-7069-EB01-C555C6DB738E}" dt="2024-03-11T17:12:08.105" v="210" actId="1076"/>
        <pc:sldMkLst>
          <pc:docMk/>
          <pc:sldMk cId="2112086780" sldId="2147480100"/>
        </pc:sldMkLst>
        <pc:spChg chg="mod">
          <ac:chgData name="Karmakar, Sumit" userId="S::skarmakar@elogex.com::5d020034-ff2c-4e7e-8d00-e94708d613b2" providerId="AD" clId="Web-{C50B1480-C46E-7069-EB01-C555C6DB738E}" dt="2024-03-11T17:11:32.573" v="206" actId="20577"/>
          <ac:spMkLst>
            <pc:docMk/>
            <pc:sldMk cId="2112086780" sldId="2147480100"/>
            <ac:spMk id="9" creationId="{7FBA4B87-97CE-C427-F2E6-4E29EF3AAD3C}"/>
          </ac:spMkLst>
        </pc:spChg>
        <pc:spChg chg="add mod">
          <ac:chgData name="Karmakar, Sumit" userId="S::skarmakar@elogex.com::5d020034-ff2c-4e7e-8d00-e94708d613b2" providerId="AD" clId="Web-{C50B1480-C46E-7069-EB01-C555C6DB738E}" dt="2024-03-11T17:12:08.105" v="210" actId="1076"/>
          <ac:spMkLst>
            <pc:docMk/>
            <pc:sldMk cId="2112086780" sldId="2147480100"/>
            <ac:spMk id="15" creationId="{1F7BCB79-682D-216B-E063-16CE18D59036}"/>
          </ac:spMkLst>
        </pc:spChg>
        <pc:grpChg chg="del">
          <ac:chgData name="Karmakar, Sumit" userId="S::skarmakar@elogex.com::5d020034-ff2c-4e7e-8d00-e94708d613b2" providerId="AD" clId="Web-{C50B1480-C46E-7069-EB01-C555C6DB738E}" dt="2024-03-11T17:11:15.041" v="203"/>
          <ac:grpSpMkLst>
            <pc:docMk/>
            <pc:sldMk cId="2112086780" sldId="2147480100"/>
            <ac:grpSpMk id="13" creationId="{CC764C9C-A6A2-790E-9319-1FDEFA3FB6EC}"/>
          </ac:grpSpMkLst>
        </pc:grpChg>
        <pc:picChg chg="del">
          <ac:chgData name="Karmakar, Sumit" userId="S::skarmakar@elogex.com::5d020034-ff2c-4e7e-8d00-e94708d613b2" providerId="AD" clId="Web-{C50B1480-C46E-7069-EB01-C555C6DB738E}" dt="2024-03-11T17:11:15.041" v="202"/>
          <ac:picMkLst>
            <pc:docMk/>
            <pc:sldMk cId="2112086780" sldId="2147480100"/>
            <ac:picMk id="2" creationId="{97B19883-D4EA-F2CF-0C88-55759E5E565A}"/>
          </ac:picMkLst>
        </pc:picChg>
        <pc:picChg chg="del">
          <ac:chgData name="Karmakar, Sumit" userId="S::skarmakar@elogex.com::5d020034-ff2c-4e7e-8d00-e94708d613b2" providerId="AD" clId="Web-{C50B1480-C46E-7069-EB01-C555C6DB738E}" dt="2024-03-11T17:11:15.041" v="204"/>
          <ac:picMkLst>
            <pc:docMk/>
            <pc:sldMk cId="2112086780" sldId="2147480100"/>
            <ac:picMk id="3" creationId="{1A6788CD-242D-2BC3-E152-E2ADF986F054}"/>
          </ac:picMkLst>
        </pc:picChg>
        <pc:picChg chg="del">
          <ac:chgData name="Karmakar, Sumit" userId="S::skarmakar@elogex.com::5d020034-ff2c-4e7e-8d00-e94708d613b2" providerId="AD" clId="Web-{C50B1480-C46E-7069-EB01-C555C6DB738E}" dt="2024-03-11T17:11:43.027" v="208"/>
          <ac:picMkLst>
            <pc:docMk/>
            <pc:sldMk cId="2112086780" sldId="2147480100"/>
            <ac:picMk id="55" creationId="{9B5600F8-9CCB-E146-2187-7AD1CDDC6C8D}"/>
          </ac:picMkLst>
        </pc:picChg>
      </pc:sldChg>
      <pc:sldChg chg="addSp delSp modSp add replId">
        <pc:chgData name="Karmakar, Sumit" userId="S::skarmakar@elogex.com::5d020034-ff2c-4e7e-8d00-e94708d613b2" providerId="AD" clId="Web-{C50B1480-C46E-7069-EB01-C555C6DB738E}" dt="2024-03-11T17:12:56.888" v="221" actId="20577"/>
        <pc:sldMkLst>
          <pc:docMk/>
          <pc:sldMk cId="3118094164" sldId="2147480101"/>
        </pc:sldMkLst>
        <pc:spChg chg="mod">
          <ac:chgData name="Karmakar, Sumit" userId="S::skarmakar@elogex.com::5d020034-ff2c-4e7e-8d00-e94708d613b2" providerId="AD" clId="Web-{C50B1480-C46E-7069-EB01-C555C6DB738E}" dt="2024-03-11T17:12:56.888" v="221" actId="20577"/>
          <ac:spMkLst>
            <pc:docMk/>
            <pc:sldMk cId="3118094164" sldId="2147480101"/>
            <ac:spMk id="9" creationId="{7FBA4B87-97CE-C427-F2E6-4E29EF3AAD3C}"/>
          </ac:spMkLst>
        </pc:spChg>
        <pc:spChg chg="del">
          <ac:chgData name="Karmakar, Sumit" userId="S::skarmakar@elogex.com::5d020034-ff2c-4e7e-8d00-e94708d613b2" providerId="AD" clId="Web-{C50B1480-C46E-7069-EB01-C555C6DB738E}" dt="2024-03-11T17:12:25.028" v="213"/>
          <ac:spMkLst>
            <pc:docMk/>
            <pc:sldMk cId="3118094164" sldId="2147480101"/>
            <ac:spMk id="15" creationId="{1F7BCB79-682D-216B-E063-16CE18D59036}"/>
          </ac:spMkLst>
        </pc:spChg>
        <pc:spChg chg="add mod">
          <ac:chgData name="Karmakar, Sumit" userId="S::skarmakar@elogex.com::5d020034-ff2c-4e7e-8d00-e94708d613b2" providerId="AD" clId="Web-{C50B1480-C46E-7069-EB01-C555C6DB738E}" dt="2024-03-11T17:12:43.466" v="218" actId="1076"/>
          <ac:spMkLst>
            <pc:docMk/>
            <pc:sldMk cId="3118094164" sldId="2147480101"/>
            <ac:spMk id="36" creationId="{4F3FA2A9-9386-4CA6-8C37-40B2EE3659D8}"/>
          </ac:spMkLst>
        </pc:spChg>
        <pc:spChg chg="add mod">
          <ac:chgData name="Karmakar, Sumit" userId="S::skarmakar@elogex.com::5d020034-ff2c-4e7e-8d00-e94708d613b2" providerId="AD" clId="Web-{C50B1480-C46E-7069-EB01-C555C6DB738E}" dt="2024-03-11T17:12:43.497" v="219" actId="1076"/>
          <ac:spMkLst>
            <pc:docMk/>
            <pc:sldMk cId="3118094164" sldId="2147480101"/>
            <ac:spMk id="38" creationId="{9B4FEC95-A79C-9E20-2BCB-542D6E45C3DF}"/>
          </ac:spMkLst>
        </pc:spChg>
        <pc:graphicFrameChg chg="add mod">
          <ac:chgData name="Karmakar, Sumit" userId="S::skarmakar@elogex.com::5d020034-ff2c-4e7e-8d00-e94708d613b2" providerId="AD" clId="Web-{C50B1480-C46E-7069-EB01-C555C6DB738E}" dt="2024-03-11T17:12:43.419" v="217" actId="1076"/>
          <ac:graphicFrameMkLst>
            <pc:docMk/>
            <pc:sldMk cId="3118094164" sldId="2147480101"/>
            <ac:graphicFrameMk id="3" creationId="{A0C264A5-87A4-39BA-F813-F8DBD0595773}"/>
          </ac:graphicFrameMkLst>
        </pc:graphicFrameChg>
      </pc:sldChg>
      <pc:sldChg chg="addSp delSp modSp add replId">
        <pc:chgData name="Karmakar, Sumit" userId="S::skarmakar@elogex.com::5d020034-ff2c-4e7e-8d00-e94708d613b2" providerId="AD" clId="Web-{C50B1480-C46E-7069-EB01-C555C6DB738E}" dt="2024-03-11T17:14:17.344" v="237" actId="20577"/>
        <pc:sldMkLst>
          <pc:docMk/>
          <pc:sldMk cId="3778393025" sldId="2147480102"/>
        </pc:sldMkLst>
        <pc:spChg chg="mod">
          <ac:chgData name="Karmakar, Sumit" userId="S::skarmakar@elogex.com::5d020034-ff2c-4e7e-8d00-e94708d613b2" providerId="AD" clId="Web-{C50B1480-C46E-7069-EB01-C555C6DB738E}" dt="2024-03-11T17:14:17.344" v="237" actId="20577"/>
          <ac:spMkLst>
            <pc:docMk/>
            <pc:sldMk cId="3778393025" sldId="2147480102"/>
            <ac:spMk id="9" creationId="{7FBA4B87-97CE-C427-F2E6-4E29EF3AAD3C}"/>
          </ac:spMkLst>
        </pc:spChg>
        <pc:spChg chg="del">
          <ac:chgData name="Karmakar, Sumit" userId="S::skarmakar@elogex.com::5d020034-ff2c-4e7e-8d00-e94708d613b2" providerId="AD" clId="Web-{C50B1480-C46E-7069-EB01-C555C6DB738E}" dt="2024-03-11T17:13:24.483" v="225"/>
          <ac:spMkLst>
            <pc:docMk/>
            <pc:sldMk cId="3778393025" sldId="2147480102"/>
            <ac:spMk id="36" creationId="{4F3FA2A9-9386-4CA6-8C37-40B2EE3659D8}"/>
          </ac:spMkLst>
        </pc:spChg>
        <pc:spChg chg="del">
          <ac:chgData name="Karmakar, Sumit" userId="S::skarmakar@elogex.com::5d020034-ff2c-4e7e-8d00-e94708d613b2" providerId="AD" clId="Web-{C50B1480-C46E-7069-EB01-C555C6DB738E}" dt="2024-03-11T17:13:24.483" v="224"/>
          <ac:spMkLst>
            <pc:docMk/>
            <pc:sldMk cId="3778393025" sldId="2147480102"/>
            <ac:spMk id="38" creationId="{9B4FEC95-A79C-9E20-2BCB-542D6E45C3DF}"/>
          </ac:spMkLst>
        </pc:spChg>
        <pc:grpChg chg="add mod">
          <ac:chgData name="Karmakar, Sumit" userId="S::skarmakar@elogex.com::5d020034-ff2c-4e7e-8d00-e94708d613b2" providerId="AD" clId="Web-{C50B1480-C46E-7069-EB01-C555C6DB738E}" dt="2024-03-11T17:13:48.593" v="230" actId="14100"/>
          <ac:grpSpMkLst>
            <pc:docMk/>
            <pc:sldMk cId="3778393025" sldId="2147480102"/>
            <ac:grpSpMk id="56" creationId="{26DC1EE0-2939-135D-27FA-32EEB7DB4C5B}"/>
          </ac:grpSpMkLst>
        </pc:grpChg>
        <pc:graphicFrameChg chg="del">
          <ac:chgData name="Karmakar, Sumit" userId="S::skarmakar@elogex.com::5d020034-ff2c-4e7e-8d00-e94708d613b2" providerId="AD" clId="Web-{C50B1480-C46E-7069-EB01-C555C6DB738E}" dt="2024-03-11T17:13:24.483" v="226"/>
          <ac:graphicFrameMkLst>
            <pc:docMk/>
            <pc:sldMk cId="3778393025" sldId="2147480102"/>
            <ac:graphicFrameMk id="3" creationId="{A0C264A5-87A4-39BA-F813-F8DBD0595773}"/>
          </ac:graphicFrameMkLst>
        </pc:graphicFrameChg>
      </pc:sldChg>
    </pc:docChg>
  </pc:docChgLst>
  <pc:docChgLst>
    <pc:chgData name="Mathews, Alexander" userId="52eba203-d226-4b28-95e6-35b8c1a1b867" providerId="ADAL" clId="{63E48847-FC2D-4CEE-AB82-5AD59BFC74F2}"/>
    <pc:docChg chg="custSel modSld">
      <pc:chgData name="Mathews, Alexander" userId="52eba203-d226-4b28-95e6-35b8c1a1b867" providerId="ADAL" clId="{63E48847-FC2D-4CEE-AB82-5AD59BFC74F2}" dt="2024-01-19T15:57:53.036" v="83" actId="729"/>
      <pc:docMkLst>
        <pc:docMk/>
      </pc:docMkLst>
      <pc:sldChg chg="mod modShow">
        <pc:chgData name="Mathews, Alexander" userId="52eba203-d226-4b28-95e6-35b8c1a1b867" providerId="ADAL" clId="{63E48847-FC2D-4CEE-AB82-5AD59BFC74F2}" dt="2024-01-19T15:57:53.036" v="83" actId="729"/>
        <pc:sldMkLst>
          <pc:docMk/>
          <pc:sldMk cId="3227021263" sldId="2147480052"/>
        </pc:sldMkLst>
      </pc:sldChg>
      <pc:sldChg chg="modSp mod">
        <pc:chgData name="Mathews, Alexander" userId="52eba203-d226-4b28-95e6-35b8c1a1b867" providerId="ADAL" clId="{63E48847-FC2D-4CEE-AB82-5AD59BFC74F2}" dt="2024-01-18T14:53:49.949" v="18" actId="20577"/>
        <pc:sldMkLst>
          <pc:docMk/>
          <pc:sldMk cId="4120199038" sldId="2147480054"/>
        </pc:sldMkLst>
        <pc:spChg chg="mod">
          <ac:chgData name="Mathews, Alexander" userId="52eba203-d226-4b28-95e6-35b8c1a1b867" providerId="ADAL" clId="{63E48847-FC2D-4CEE-AB82-5AD59BFC74F2}" dt="2024-01-18T14:53:49.949" v="18" actId="20577"/>
          <ac:spMkLst>
            <pc:docMk/>
            <pc:sldMk cId="4120199038" sldId="2147480054"/>
            <ac:spMk id="19" creationId="{6FF6ABA0-2AB8-1CC1-BF90-0AD7C3DEB26F}"/>
          </ac:spMkLst>
        </pc:spChg>
      </pc:sldChg>
      <pc:sldChg chg="mod modShow">
        <pc:chgData name="Mathews, Alexander" userId="52eba203-d226-4b28-95e6-35b8c1a1b867" providerId="ADAL" clId="{63E48847-FC2D-4CEE-AB82-5AD59BFC74F2}" dt="2024-01-18T19:53:45.944" v="21" actId="729"/>
        <pc:sldMkLst>
          <pc:docMk/>
          <pc:sldMk cId="3899884770" sldId="2147480057"/>
        </pc:sldMkLst>
      </pc:sldChg>
      <pc:sldChg chg="mod modShow">
        <pc:chgData name="Mathews, Alexander" userId="52eba203-d226-4b28-95e6-35b8c1a1b867" providerId="ADAL" clId="{63E48847-FC2D-4CEE-AB82-5AD59BFC74F2}" dt="2024-01-18T18:47:08.069" v="20" actId="729"/>
        <pc:sldMkLst>
          <pc:docMk/>
          <pc:sldMk cId="2476771074" sldId="2147480058"/>
        </pc:sldMkLst>
      </pc:sldChg>
      <pc:sldChg chg="addSp delSp modSp mod modShow">
        <pc:chgData name="Mathews, Alexander" userId="52eba203-d226-4b28-95e6-35b8c1a1b867" providerId="ADAL" clId="{63E48847-FC2D-4CEE-AB82-5AD59BFC74F2}" dt="2024-01-19T13:31:12.032" v="82" actId="6549"/>
        <pc:sldMkLst>
          <pc:docMk/>
          <pc:sldMk cId="2990194005" sldId="2147480059"/>
        </pc:sldMkLst>
        <pc:spChg chg="mod">
          <ac:chgData name="Mathews, Alexander" userId="52eba203-d226-4b28-95e6-35b8c1a1b867" providerId="ADAL" clId="{63E48847-FC2D-4CEE-AB82-5AD59BFC74F2}" dt="2024-01-19T13:31:12.032" v="82" actId="6549"/>
          <ac:spMkLst>
            <pc:docMk/>
            <pc:sldMk cId="2990194005" sldId="2147480059"/>
            <ac:spMk id="8" creationId="{DBC7E1A4-A905-DA01-8505-B703074C9A49}"/>
          </ac:spMkLst>
        </pc:spChg>
        <pc:spChg chg="del">
          <ac:chgData name="Mathews, Alexander" userId="52eba203-d226-4b28-95e6-35b8c1a1b867" providerId="ADAL" clId="{63E48847-FC2D-4CEE-AB82-5AD59BFC74F2}" dt="2024-01-18T19:54:40.206" v="23" actId="478"/>
          <ac:spMkLst>
            <pc:docMk/>
            <pc:sldMk cId="2990194005" sldId="2147480059"/>
            <ac:spMk id="13" creationId="{E02FA747-DED3-8DDC-7CDC-B73372EC282D}"/>
          </ac:spMkLst>
        </pc:spChg>
        <pc:spChg chg="mod">
          <ac:chgData name="Mathews, Alexander" userId="52eba203-d226-4b28-95e6-35b8c1a1b867" providerId="ADAL" clId="{63E48847-FC2D-4CEE-AB82-5AD59BFC74F2}" dt="2024-01-18T19:55:35.483" v="77" actId="1076"/>
          <ac:spMkLst>
            <pc:docMk/>
            <pc:sldMk cId="2990194005" sldId="2147480059"/>
            <ac:spMk id="18" creationId="{3119A8A2-1DFF-A9B6-94D8-6276D307DAEB}"/>
          </ac:spMkLst>
        </pc:spChg>
        <pc:picChg chg="mod">
          <ac:chgData name="Mathews, Alexander" userId="52eba203-d226-4b28-95e6-35b8c1a1b867" providerId="ADAL" clId="{63E48847-FC2D-4CEE-AB82-5AD59BFC74F2}" dt="2024-01-18T19:55:38.043" v="78" actId="1076"/>
          <ac:picMkLst>
            <pc:docMk/>
            <pc:sldMk cId="2990194005" sldId="2147480059"/>
            <ac:picMk id="3" creationId="{5BA4CE1E-6803-4DC0-8949-942DCAA5E2DF}"/>
          </ac:picMkLst>
        </pc:picChg>
        <pc:picChg chg="del">
          <ac:chgData name="Mathews, Alexander" userId="52eba203-d226-4b28-95e6-35b8c1a1b867" providerId="ADAL" clId="{63E48847-FC2D-4CEE-AB82-5AD59BFC74F2}" dt="2024-01-18T19:54:42.860" v="24" actId="478"/>
          <ac:picMkLst>
            <pc:docMk/>
            <pc:sldMk cId="2990194005" sldId="2147480059"/>
            <ac:picMk id="14" creationId="{92E1CBFB-AFE3-875B-2AAC-415A4773A674}"/>
          </ac:picMkLst>
        </pc:picChg>
        <pc:picChg chg="add mod">
          <ac:chgData name="Mathews, Alexander" userId="52eba203-d226-4b28-95e6-35b8c1a1b867" providerId="ADAL" clId="{63E48847-FC2D-4CEE-AB82-5AD59BFC74F2}" dt="2024-01-18T19:55:53.557" v="80" actId="1076"/>
          <ac:picMkLst>
            <pc:docMk/>
            <pc:sldMk cId="2990194005" sldId="2147480059"/>
            <ac:picMk id="22" creationId="{DD2DA413-F798-9B9E-8A65-C48A58AC3C58}"/>
          </ac:picMkLst>
        </pc:picChg>
      </pc:sldChg>
    </pc:docChg>
  </pc:docChgLst>
  <pc:docChgLst>
    <pc:chgData name="Karmakar, Sumit" userId="S::skarmakar@elogex.com::5d020034-ff2c-4e7e-8d00-e94708d613b2" providerId="AD" clId="Web-{ADB85F98-CB5B-BBF4-4C2E-516328E1F7A7}"/>
    <pc:docChg chg="addSld delSld modSld sldOrd modSection">
      <pc:chgData name="Karmakar, Sumit" userId="S::skarmakar@elogex.com::5d020034-ff2c-4e7e-8d00-e94708d613b2" providerId="AD" clId="Web-{ADB85F98-CB5B-BBF4-4C2E-516328E1F7A7}" dt="2024-03-11T15:17:30.172" v="83" actId="20577"/>
      <pc:docMkLst>
        <pc:docMk/>
      </pc:docMkLst>
      <pc:sldChg chg="modSp del">
        <pc:chgData name="Karmakar, Sumit" userId="S::skarmakar@elogex.com::5d020034-ff2c-4e7e-8d00-e94708d613b2" providerId="AD" clId="Web-{ADB85F98-CB5B-BBF4-4C2E-516328E1F7A7}" dt="2024-03-11T15:08:27.441" v="45"/>
        <pc:sldMkLst>
          <pc:docMk/>
          <pc:sldMk cId="3853618670" sldId="310"/>
        </pc:sldMkLst>
        <pc:spChg chg="mod">
          <ac:chgData name="Karmakar, Sumit" userId="S::skarmakar@elogex.com::5d020034-ff2c-4e7e-8d00-e94708d613b2" providerId="AD" clId="Web-{ADB85F98-CB5B-BBF4-4C2E-516328E1F7A7}" dt="2024-03-11T13:54:52.713" v="7" actId="20577"/>
          <ac:spMkLst>
            <pc:docMk/>
            <pc:sldMk cId="3853618670" sldId="310"/>
            <ac:spMk id="10" creationId="{8D4A47EA-9BE7-EF00-303D-E6AF9A73A44F}"/>
          </ac:spMkLst>
        </pc:spChg>
      </pc:sldChg>
      <pc:sldChg chg="del">
        <pc:chgData name="Karmakar, Sumit" userId="S::skarmakar@elogex.com::5d020034-ff2c-4e7e-8d00-e94708d613b2" providerId="AD" clId="Web-{ADB85F98-CB5B-BBF4-4C2E-516328E1F7A7}" dt="2024-03-11T13:57:31.733" v="31"/>
        <pc:sldMkLst>
          <pc:docMk/>
          <pc:sldMk cId="714085902" sldId="2147375216"/>
        </pc:sldMkLst>
      </pc:sldChg>
      <pc:sldChg chg="del">
        <pc:chgData name="Karmakar, Sumit" userId="S::skarmakar@elogex.com::5d020034-ff2c-4e7e-8d00-e94708d613b2" providerId="AD" clId="Web-{ADB85F98-CB5B-BBF4-4C2E-516328E1F7A7}" dt="2024-03-11T13:55:09.338" v="8"/>
        <pc:sldMkLst>
          <pc:docMk/>
          <pc:sldMk cId="989006033" sldId="2147479593"/>
        </pc:sldMkLst>
      </pc:sldChg>
      <pc:sldChg chg="modSp del">
        <pc:chgData name="Karmakar, Sumit" userId="S::skarmakar@elogex.com::5d020034-ff2c-4e7e-8d00-e94708d613b2" providerId="AD" clId="Web-{ADB85F98-CB5B-BBF4-4C2E-516328E1F7A7}" dt="2024-03-11T15:10:09.440" v="51"/>
        <pc:sldMkLst>
          <pc:docMk/>
          <pc:sldMk cId="4082499125" sldId="2147479704"/>
        </pc:sldMkLst>
        <pc:spChg chg="mod">
          <ac:chgData name="Karmakar, Sumit" userId="S::skarmakar@elogex.com::5d020034-ff2c-4e7e-8d00-e94708d613b2" providerId="AD" clId="Web-{ADB85F98-CB5B-BBF4-4C2E-516328E1F7A7}" dt="2024-03-11T13:55:19.042" v="13" actId="20577"/>
          <ac:spMkLst>
            <pc:docMk/>
            <pc:sldMk cId="4082499125" sldId="2147479704"/>
            <ac:spMk id="2" creationId="{9EEF2002-EC66-31A0-CDB0-B27A5C3877BF}"/>
          </ac:spMkLst>
        </pc:spChg>
      </pc:sldChg>
      <pc:sldChg chg="modSp">
        <pc:chgData name="Karmakar, Sumit" userId="S::skarmakar@elogex.com::5d020034-ff2c-4e7e-8d00-e94708d613b2" providerId="AD" clId="Web-{ADB85F98-CB5B-BBF4-4C2E-516328E1F7A7}" dt="2024-03-11T15:17:12.391" v="82" actId="14100"/>
        <pc:sldMkLst>
          <pc:docMk/>
          <pc:sldMk cId="2371631138" sldId="2147479780"/>
        </pc:sldMkLst>
        <pc:spChg chg="mod">
          <ac:chgData name="Karmakar, Sumit" userId="S::skarmakar@elogex.com::5d020034-ff2c-4e7e-8d00-e94708d613b2" providerId="AD" clId="Web-{ADB85F98-CB5B-BBF4-4C2E-516328E1F7A7}" dt="2024-03-11T15:17:12.391" v="82" actId="14100"/>
          <ac:spMkLst>
            <pc:docMk/>
            <pc:sldMk cId="2371631138" sldId="2147479780"/>
            <ac:spMk id="6" creationId="{6830FACA-7047-C8D0-75CD-BD592A11908B}"/>
          </ac:spMkLst>
        </pc:spChg>
      </pc:sldChg>
      <pc:sldChg chg="modSp add">
        <pc:chgData name="Karmakar, Sumit" userId="S::skarmakar@elogex.com::5d020034-ff2c-4e7e-8d00-e94708d613b2" providerId="AD" clId="Web-{ADB85F98-CB5B-BBF4-4C2E-516328E1F7A7}" dt="2024-03-11T15:12:43.752" v="65" actId="20577"/>
        <pc:sldMkLst>
          <pc:docMk/>
          <pc:sldMk cId="3830398862" sldId="2147479784"/>
        </pc:sldMkLst>
        <pc:spChg chg="mod">
          <ac:chgData name="Karmakar, Sumit" userId="S::skarmakar@elogex.com::5d020034-ff2c-4e7e-8d00-e94708d613b2" providerId="AD" clId="Web-{ADB85F98-CB5B-BBF4-4C2E-516328E1F7A7}" dt="2024-03-11T15:12:43.752" v="65" actId="20577"/>
          <ac:spMkLst>
            <pc:docMk/>
            <pc:sldMk cId="3830398862" sldId="2147479784"/>
            <ac:spMk id="2" creationId="{BFA3D1D2-BD57-4713-99B4-D169A30DB26F}"/>
          </ac:spMkLst>
        </pc:spChg>
      </pc:sldChg>
      <pc:sldChg chg="add">
        <pc:chgData name="Karmakar, Sumit" userId="S::skarmakar@elogex.com::5d020034-ff2c-4e7e-8d00-e94708d613b2" providerId="AD" clId="Web-{ADB85F98-CB5B-BBF4-4C2E-516328E1F7A7}" dt="2024-03-11T15:09:37.331" v="50"/>
        <pc:sldMkLst>
          <pc:docMk/>
          <pc:sldMk cId="369002401" sldId="2147480018"/>
        </pc:sldMkLst>
      </pc:sldChg>
      <pc:sldChg chg="modSp del">
        <pc:chgData name="Karmakar, Sumit" userId="S::skarmakar@elogex.com::5d020034-ff2c-4e7e-8d00-e94708d613b2" providerId="AD" clId="Web-{ADB85F98-CB5B-BBF4-4C2E-516328E1F7A7}" dt="2024-03-11T15:12:14.080" v="60"/>
        <pc:sldMkLst>
          <pc:docMk/>
          <pc:sldMk cId="3934650505" sldId="2147480035"/>
        </pc:sldMkLst>
        <pc:spChg chg="mod">
          <ac:chgData name="Karmakar, Sumit" userId="S::skarmakar@elogex.com::5d020034-ff2c-4e7e-8d00-e94708d613b2" providerId="AD" clId="Web-{ADB85F98-CB5B-BBF4-4C2E-516328E1F7A7}" dt="2024-03-11T13:57:53.218" v="33" actId="20577"/>
          <ac:spMkLst>
            <pc:docMk/>
            <pc:sldMk cId="3934650505" sldId="2147480035"/>
            <ac:spMk id="10" creationId="{DD834547-15B2-50FF-CD1E-C9F6FB93CB4A}"/>
          </ac:spMkLst>
        </pc:spChg>
      </pc:sldChg>
      <pc:sldChg chg="modSp">
        <pc:chgData name="Karmakar, Sumit" userId="S::skarmakar@elogex.com::5d020034-ff2c-4e7e-8d00-e94708d613b2" providerId="AD" clId="Web-{ADB85F98-CB5B-BBF4-4C2E-516328E1F7A7}" dt="2024-03-11T15:13:57.048" v="73" actId="20577"/>
        <pc:sldMkLst>
          <pc:docMk/>
          <pc:sldMk cId="2726751487" sldId="2147480051"/>
        </pc:sldMkLst>
        <pc:spChg chg="mod">
          <ac:chgData name="Karmakar, Sumit" userId="S::skarmakar@elogex.com::5d020034-ff2c-4e7e-8d00-e94708d613b2" providerId="AD" clId="Web-{ADB85F98-CB5B-BBF4-4C2E-516328E1F7A7}" dt="2024-03-11T15:13:57.048" v="73" actId="20577"/>
          <ac:spMkLst>
            <pc:docMk/>
            <pc:sldMk cId="2726751487" sldId="2147480051"/>
            <ac:spMk id="3" creationId="{C26A9C8E-A19C-B642-0966-CD47C599D327}"/>
          </ac:spMkLst>
        </pc:spChg>
      </pc:sldChg>
      <pc:sldChg chg="modSp">
        <pc:chgData name="Karmakar, Sumit" userId="S::skarmakar@elogex.com::5d020034-ff2c-4e7e-8d00-e94708d613b2" providerId="AD" clId="Web-{ADB85F98-CB5B-BBF4-4C2E-516328E1F7A7}" dt="2024-03-11T13:56:51.795" v="30" actId="20577"/>
        <pc:sldMkLst>
          <pc:docMk/>
          <pc:sldMk cId="1256363016" sldId="2147480053"/>
        </pc:sldMkLst>
        <pc:spChg chg="mod">
          <ac:chgData name="Karmakar, Sumit" userId="S::skarmakar@elogex.com::5d020034-ff2c-4e7e-8d00-e94708d613b2" providerId="AD" clId="Web-{ADB85F98-CB5B-BBF4-4C2E-516328E1F7A7}" dt="2024-03-11T13:56:51.795" v="30" actId="20577"/>
          <ac:spMkLst>
            <pc:docMk/>
            <pc:sldMk cId="1256363016" sldId="2147480053"/>
            <ac:spMk id="3" creationId="{F6ED7C67-64ED-FE15-79E4-15B983E1476A}"/>
          </ac:spMkLst>
        </pc:spChg>
      </pc:sldChg>
      <pc:sldChg chg="del">
        <pc:chgData name="Karmakar, Sumit" userId="S::skarmakar@elogex.com::5d020034-ff2c-4e7e-8d00-e94708d613b2" providerId="AD" clId="Web-{ADB85F98-CB5B-BBF4-4C2E-516328E1F7A7}" dt="2024-03-11T15:11:11.830" v="53"/>
        <pc:sldMkLst>
          <pc:docMk/>
          <pc:sldMk cId="4120199038" sldId="2147480054"/>
        </pc:sldMkLst>
      </pc:sldChg>
      <pc:sldChg chg="del">
        <pc:chgData name="Karmakar, Sumit" userId="S::skarmakar@elogex.com::5d020034-ff2c-4e7e-8d00-e94708d613b2" providerId="AD" clId="Web-{ADB85F98-CB5B-BBF4-4C2E-516328E1F7A7}" dt="2024-03-11T15:16:10.001" v="75"/>
        <pc:sldMkLst>
          <pc:docMk/>
          <pc:sldMk cId="3899884770" sldId="2147480057"/>
        </pc:sldMkLst>
      </pc:sldChg>
      <pc:sldChg chg="modSp add">
        <pc:chgData name="Karmakar, Sumit" userId="S::skarmakar@elogex.com::5d020034-ff2c-4e7e-8d00-e94708d613b2" providerId="AD" clId="Web-{ADB85F98-CB5B-BBF4-4C2E-516328E1F7A7}" dt="2024-03-11T15:16:27.922" v="77"/>
        <pc:sldMkLst>
          <pc:docMk/>
          <pc:sldMk cId="2476771074" sldId="2147480058"/>
        </pc:sldMkLst>
        <pc:picChg chg="mod">
          <ac:chgData name="Karmakar, Sumit" userId="S::skarmakar@elogex.com::5d020034-ff2c-4e7e-8d00-e94708d613b2" providerId="AD" clId="Web-{ADB85F98-CB5B-BBF4-4C2E-516328E1F7A7}" dt="2024-03-11T15:16:19.844" v="76"/>
          <ac:picMkLst>
            <pc:docMk/>
            <pc:sldMk cId="2476771074" sldId="2147480058"/>
            <ac:picMk id="13" creationId="{DDB4639F-26A7-26EE-8400-835C4E008996}"/>
          </ac:picMkLst>
        </pc:picChg>
        <pc:picChg chg="mod">
          <ac:chgData name="Karmakar, Sumit" userId="S::skarmakar@elogex.com::5d020034-ff2c-4e7e-8d00-e94708d613b2" providerId="AD" clId="Web-{ADB85F98-CB5B-BBF4-4C2E-516328E1F7A7}" dt="2024-03-11T15:16:27.922" v="77"/>
          <ac:picMkLst>
            <pc:docMk/>
            <pc:sldMk cId="2476771074" sldId="2147480058"/>
            <ac:picMk id="1026" creationId="{3AAA1A86-0353-67BB-B41F-F2410C5E78C0}"/>
          </ac:picMkLst>
        </pc:picChg>
      </pc:sldChg>
      <pc:sldChg chg="add ord">
        <pc:chgData name="Karmakar, Sumit" userId="S::skarmakar@elogex.com::5d020034-ff2c-4e7e-8d00-e94708d613b2" providerId="AD" clId="Web-{ADB85F98-CB5B-BBF4-4C2E-516328E1F7A7}" dt="2024-03-11T15:11:46.924" v="59"/>
        <pc:sldMkLst>
          <pc:docMk/>
          <pc:sldMk cId="2857832739" sldId="2147480092"/>
        </pc:sldMkLst>
      </pc:sldChg>
      <pc:sldChg chg="add ord">
        <pc:chgData name="Karmakar, Sumit" userId="S::skarmakar@elogex.com::5d020034-ff2c-4e7e-8d00-e94708d613b2" providerId="AD" clId="Web-{ADB85F98-CB5B-BBF4-4C2E-516328E1F7A7}" dt="2024-03-11T15:11:46.924" v="58"/>
        <pc:sldMkLst>
          <pc:docMk/>
          <pc:sldMk cId="2539536041" sldId="2147480093"/>
        </pc:sldMkLst>
      </pc:sldChg>
      <pc:sldChg chg="modSp add ord">
        <pc:chgData name="Karmakar, Sumit" userId="S::skarmakar@elogex.com::5d020034-ff2c-4e7e-8d00-e94708d613b2" providerId="AD" clId="Web-{ADB85F98-CB5B-BBF4-4C2E-516328E1F7A7}" dt="2024-03-11T15:13:01.408" v="67" actId="20577"/>
        <pc:sldMkLst>
          <pc:docMk/>
          <pc:sldMk cId="1693912635" sldId="2147480094"/>
        </pc:sldMkLst>
        <pc:spChg chg="mod">
          <ac:chgData name="Karmakar, Sumit" userId="S::skarmakar@elogex.com::5d020034-ff2c-4e7e-8d00-e94708d613b2" providerId="AD" clId="Web-{ADB85F98-CB5B-BBF4-4C2E-516328E1F7A7}" dt="2024-03-11T15:13:01.408" v="67" actId="20577"/>
          <ac:spMkLst>
            <pc:docMk/>
            <pc:sldMk cId="1693912635" sldId="2147480094"/>
            <ac:spMk id="9" creationId="{7FBA4B87-97CE-C427-F2E6-4E29EF3AAD3C}"/>
          </ac:spMkLst>
        </pc:spChg>
      </pc:sldChg>
      <pc:sldChg chg="modSp add">
        <pc:chgData name="Karmakar, Sumit" userId="S::skarmakar@elogex.com::5d020034-ff2c-4e7e-8d00-e94708d613b2" providerId="AD" clId="Web-{ADB85F98-CB5B-BBF4-4C2E-516328E1F7A7}" dt="2024-03-11T15:17:30.172" v="83" actId="20577"/>
        <pc:sldMkLst>
          <pc:docMk/>
          <pc:sldMk cId="565861938" sldId="2147480095"/>
        </pc:sldMkLst>
        <pc:spChg chg="mod">
          <ac:chgData name="Karmakar, Sumit" userId="S::skarmakar@elogex.com::5d020034-ff2c-4e7e-8d00-e94708d613b2" providerId="AD" clId="Web-{ADB85F98-CB5B-BBF4-4C2E-516328E1F7A7}" dt="2024-03-11T15:17:30.172" v="83" actId="20577"/>
          <ac:spMkLst>
            <pc:docMk/>
            <pc:sldMk cId="565861938" sldId="2147480095"/>
            <ac:spMk id="2" creationId="{0329E297-E798-08B1-A1CC-65371311D18E}"/>
          </ac:spMkLst>
        </pc:spChg>
      </pc:sldChg>
      <pc:sldChg chg="add">
        <pc:chgData name="Karmakar, Sumit" userId="S::skarmakar@elogex.com::5d020034-ff2c-4e7e-8d00-e94708d613b2" providerId="AD" clId="Web-{ADB85F98-CB5B-BBF4-4C2E-516328E1F7A7}" dt="2024-03-11T15:09:36.534" v="49"/>
        <pc:sldMkLst>
          <pc:docMk/>
          <pc:sldMk cId="1839034157" sldId="2147480096"/>
        </pc:sldMkLst>
      </pc:sldChg>
      <pc:sldMasterChg chg="addSldLayout">
        <pc:chgData name="Karmakar, Sumit" userId="S::skarmakar@elogex.com::5d020034-ff2c-4e7e-8d00-e94708d613b2" providerId="AD" clId="Web-{ADB85F98-CB5B-BBF4-4C2E-516328E1F7A7}" dt="2024-03-11T15:08:38.284" v="48"/>
        <pc:sldMasterMkLst>
          <pc:docMk/>
          <pc:sldMasterMk cId="2758596200" sldId="2147484362"/>
        </pc:sldMasterMkLst>
        <pc:sldLayoutChg chg="add">
          <pc:chgData name="Karmakar, Sumit" userId="S::skarmakar@elogex.com::5d020034-ff2c-4e7e-8d00-e94708d613b2" providerId="AD" clId="Web-{ADB85F98-CB5B-BBF4-4C2E-516328E1F7A7}" dt="2024-03-11T15:07:27.363" v="38"/>
          <pc:sldLayoutMkLst>
            <pc:docMk/>
            <pc:sldMasterMk cId="2758596200" sldId="2147483767"/>
            <pc:sldLayoutMk cId="615928255" sldId="2147484360"/>
          </pc:sldLayoutMkLst>
        </pc:sldLayoutChg>
        <pc:sldLayoutChg chg="add">
          <pc:chgData name="Karmakar, Sumit" userId="S::skarmakar@elogex.com::5d020034-ff2c-4e7e-8d00-e94708d613b2" providerId="AD" clId="Web-{ADB85F98-CB5B-BBF4-4C2E-516328E1F7A7}" dt="2024-03-11T15:08:38.284" v="48"/>
          <pc:sldLayoutMkLst>
            <pc:docMk/>
            <pc:sldMasterMk cId="2758596200" sldId="2147483767"/>
            <pc:sldLayoutMk cId="4138804661" sldId="2147484361"/>
          </pc:sldLayoutMkLst>
        </pc:sldLayoutChg>
      </pc:sldMasterChg>
    </pc:docChg>
  </pc:docChgLst>
  <pc:docChgLst>
    <pc:chgData name="Karmakar, Sumit" userId="S::skarmakar@elogex.com::5d020034-ff2c-4e7e-8d00-e94708d613b2" providerId="AD" clId="Web-{1D4F1809-2872-0FA4-17A7-B2314FDA758F}"/>
    <pc:docChg chg="sldOrd">
      <pc:chgData name="Karmakar, Sumit" userId="S::skarmakar@elogex.com::5d020034-ff2c-4e7e-8d00-e94708d613b2" providerId="AD" clId="Web-{1D4F1809-2872-0FA4-17A7-B2314FDA758F}" dt="2024-03-15T21:00:24.626" v="0"/>
      <pc:docMkLst>
        <pc:docMk/>
      </pc:docMkLst>
      <pc:sldChg chg="ord">
        <pc:chgData name="Karmakar, Sumit" userId="S::skarmakar@elogex.com::5d020034-ff2c-4e7e-8d00-e94708d613b2" providerId="AD" clId="Web-{1D4F1809-2872-0FA4-17A7-B2314FDA758F}" dt="2024-03-15T21:00:24.626" v="0"/>
        <pc:sldMkLst>
          <pc:docMk/>
          <pc:sldMk cId="3611435049" sldId="2147480097"/>
        </pc:sldMkLst>
      </pc:sldChg>
    </pc:docChg>
  </pc:docChgLst>
  <pc:docChgLst>
    <pc:chgData name="Karmakar, Sumit" userId="S::skarmakar@elogex.com::5d020034-ff2c-4e7e-8d00-e94708d613b2" providerId="AD" clId="Web-{38686889-BDFD-622C-AD5B-45337B02A14B}"/>
    <pc:docChg chg="modSld sldOrd">
      <pc:chgData name="Karmakar, Sumit" userId="S::skarmakar@elogex.com::5d020034-ff2c-4e7e-8d00-e94708d613b2" providerId="AD" clId="Web-{38686889-BDFD-622C-AD5B-45337B02A14B}" dt="2024-03-26T13:16:37.625" v="55"/>
      <pc:docMkLst>
        <pc:docMk/>
      </pc:docMkLst>
      <pc:sldChg chg="addSp modSp">
        <pc:chgData name="Karmakar, Sumit" userId="S::skarmakar@elogex.com::5d020034-ff2c-4e7e-8d00-e94708d613b2" providerId="AD" clId="Web-{38686889-BDFD-622C-AD5B-45337B02A14B}" dt="2024-03-26T12:53:07.514" v="20" actId="20577"/>
        <pc:sldMkLst>
          <pc:docMk/>
          <pc:sldMk cId="1693912635" sldId="2147480094"/>
        </pc:sldMkLst>
        <pc:spChg chg="add mod">
          <ac:chgData name="Karmakar, Sumit" userId="S::skarmakar@elogex.com::5d020034-ff2c-4e7e-8d00-e94708d613b2" providerId="AD" clId="Web-{38686889-BDFD-622C-AD5B-45337B02A14B}" dt="2024-03-26T12:53:07.514" v="20" actId="20577"/>
          <ac:spMkLst>
            <pc:docMk/>
            <pc:sldMk cId="1693912635" sldId="2147480094"/>
            <ac:spMk id="14" creationId="{A1694DFA-409D-5F39-CC5D-F26355CFB730}"/>
          </ac:spMkLst>
        </pc:spChg>
        <pc:grpChg chg="mod">
          <ac:chgData name="Karmakar, Sumit" userId="S::skarmakar@elogex.com::5d020034-ff2c-4e7e-8d00-e94708d613b2" providerId="AD" clId="Web-{38686889-BDFD-622C-AD5B-45337B02A14B}" dt="2024-03-26T12:52:09.341" v="7" actId="1076"/>
          <ac:grpSpMkLst>
            <pc:docMk/>
            <pc:sldMk cId="1693912635" sldId="2147480094"/>
            <ac:grpSpMk id="13" creationId="{CC764C9C-A6A2-790E-9319-1FDEFA3FB6EC}"/>
          </ac:grpSpMkLst>
        </pc:grpChg>
        <pc:picChg chg="mod">
          <ac:chgData name="Karmakar, Sumit" userId="S::skarmakar@elogex.com::5d020034-ff2c-4e7e-8d00-e94708d613b2" providerId="AD" clId="Web-{38686889-BDFD-622C-AD5B-45337B02A14B}" dt="2024-03-26T12:51:43.668" v="4" actId="1076"/>
          <ac:picMkLst>
            <pc:docMk/>
            <pc:sldMk cId="1693912635" sldId="2147480094"/>
            <ac:picMk id="2" creationId="{97B19883-D4EA-F2CF-0C88-55759E5E565A}"/>
          </ac:picMkLst>
        </pc:picChg>
        <pc:picChg chg="mod">
          <ac:chgData name="Karmakar, Sumit" userId="S::skarmakar@elogex.com::5d020034-ff2c-4e7e-8d00-e94708d613b2" providerId="AD" clId="Web-{38686889-BDFD-622C-AD5B-45337B02A14B}" dt="2024-03-26T12:51:55.418" v="6" actId="1076"/>
          <ac:picMkLst>
            <pc:docMk/>
            <pc:sldMk cId="1693912635" sldId="2147480094"/>
            <ac:picMk id="3" creationId="{1A6788CD-242D-2BC3-E152-E2ADF986F054}"/>
          </ac:picMkLst>
        </pc:picChg>
      </pc:sldChg>
      <pc:sldChg chg="ord">
        <pc:chgData name="Karmakar, Sumit" userId="S::skarmakar@elogex.com::5d020034-ff2c-4e7e-8d00-e94708d613b2" providerId="AD" clId="Web-{38686889-BDFD-622C-AD5B-45337B02A14B}" dt="2024-03-26T13:16:37.625" v="55"/>
        <pc:sldMkLst>
          <pc:docMk/>
          <pc:sldMk cId="3611435049" sldId="2147480097"/>
        </pc:sldMkLst>
      </pc:sldChg>
      <pc:sldChg chg="ord">
        <pc:chgData name="Karmakar, Sumit" userId="S::skarmakar@elogex.com::5d020034-ff2c-4e7e-8d00-e94708d613b2" providerId="AD" clId="Web-{38686889-BDFD-622C-AD5B-45337B02A14B}" dt="2024-03-26T13:16:37.625" v="54"/>
        <pc:sldMkLst>
          <pc:docMk/>
          <pc:sldMk cId="3342602019" sldId="2147480117"/>
        </pc:sldMkLst>
      </pc:sldChg>
      <pc:sldChg chg="ord">
        <pc:chgData name="Karmakar, Sumit" userId="S::skarmakar@elogex.com::5d020034-ff2c-4e7e-8d00-e94708d613b2" providerId="AD" clId="Web-{38686889-BDFD-622C-AD5B-45337B02A14B}" dt="2024-03-26T13:16:37.625" v="52"/>
        <pc:sldMkLst>
          <pc:docMk/>
          <pc:sldMk cId="2273137630" sldId="2147480121"/>
        </pc:sldMkLst>
      </pc:sldChg>
      <pc:sldChg chg="ord">
        <pc:chgData name="Karmakar, Sumit" userId="S::skarmakar@elogex.com::5d020034-ff2c-4e7e-8d00-e94708d613b2" providerId="AD" clId="Web-{38686889-BDFD-622C-AD5B-45337B02A14B}" dt="2024-03-26T13:16:37.625" v="53"/>
        <pc:sldMkLst>
          <pc:docMk/>
          <pc:sldMk cId="1903693486" sldId="2147480122"/>
        </pc:sldMkLst>
      </pc:sldChg>
      <pc:sldChg chg="modSp ord">
        <pc:chgData name="Karmakar, Sumit" userId="S::skarmakar@elogex.com::5d020034-ff2c-4e7e-8d00-e94708d613b2" providerId="AD" clId="Web-{38686889-BDFD-622C-AD5B-45337B02A14B}" dt="2024-03-26T12:50:55.605" v="1"/>
        <pc:sldMkLst>
          <pc:docMk/>
          <pc:sldMk cId="3006918676" sldId="2147480124"/>
        </pc:sldMkLst>
        <pc:spChg chg="mod">
          <ac:chgData name="Karmakar, Sumit" userId="S::skarmakar@elogex.com::5d020034-ff2c-4e7e-8d00-e94708d613b2" providerId="AD" clId="Web-{38686889-BDFD-622C-AD5B-45337B02A14B}" dt="2024-03-26T12:50:32.073" v="0" actId="14100"/>
          <ac:spMkLst>
            <pc:docMk/>
            <pc:sldMk cId="3006918676" sldId="2147480124"/>
            <ac:spMk id="3" creationId="{C192CE2F-77BF-9828-6788-D24363E7A8B5}"/>
          </ac:spMkLst>
        </pc:spChg>
      </pc:sldChg>
      <pc:sldChg chg="modSp">
        <pc:chgData name="Karmakar, Sumit" userId="S::skarmakar@elogex.com::5d020034-ff2c-4e7e-8d00-e94708d613b2" providerId="AD" clId="Web-{38686889-BDFD-622C-AD5B-45337B02A14B}" dt="2024-03-26T12:55:41.205" v="51"/>
        <pc:sldMkLst>
          <pc:docMk/>
          <pc:sldMk cId="1287383114" sldId="2147480126"/>
        </pc:sldMkLst>
        <pc:spChg chg="mod">
          <ac:chgData name="Karmakar, Sumit" userId="S::skarmakar@elogex.com::5d020034-ff2c-4e7e-8d00-e94708d613b2" providerId="AD" clId="Web-{38686889-BDFD-622C-AD5B-45337B02A14B}" dt="2024-03-26T12:54:46.438" v="45" actId="20577"/>
          <ac:spMkLst>
            <pc:docMk/>
            <pc:sldMk cId="1287383114" sldId="2147480126"/>
            <ac:spMk id="2" creationId="{6D4A0A65-4449-A208-9F84-68CA373C2CC5}"/>
          </ac:spMkLst>
        </pc:spChg>
        <pc:graphicFrameChg chg="mod modGraphic">
          <ac:chgData name="Karmakar, Sumit" userId="S::skarmakar@elogex.com::5d020034-ff2c-4e7e-8d00-e94708d613b2" providerId="AD" clId="Web-{38686889-BDFD-622C-AD5B-45337B02A14B}" dt="2024-03-26T12:55:41.205" v="51"/>
          <ac:graphicFrameMkLst>
            <pc:docMk/>
            <pc:sldMk cId="1287383114" sldId="2147480126"/>
            <ac:graphicFrameMk id="3" creationId="{CA9C21C4-2AEC-CC4C-240D-B02DAA76F564}"/>
          </ac:graphicFrameMkLst>
        </pc:graphicFrameChg>
        <pc:graphicFrameChg chg="mod modGraphic">
          <ac:chgData name="Karmakar, Sumit" userId="S::skarmakar@elogex.com::5d020034-ff2c-4e7e-8d00-e94708d613b2" providerId="AD" clId="Web-{38686889-BDFD-622C-AD5B-45337B02A14B}" dt="2024-03-26T12:55:23.392" v="48"/>
          <ac:graphicFrameMkLst>
            <pc:docMk/>
            <pc:sldMk cId="1287383114" sldId="2147480126"/>
            <ac:graphicFrameMk id="17" creationId="{39C2D995-BEAD-B4F2-BAA5-251C62A1C594}"/>
          </ac:graphicFrameMkLst>
        </pc:graphicFrameChg>
        <pc:graphicFrameChg chg="mod modGraphic">
          <ac:chgData name="Karmakar, Sumit" userId="S::skarmakar@elogex.com::5d020034-ff2c-4e7e-8d00-e94708d613b2" providerId="AD" clId="Web-{38686889-BDFD-622C-AD5B-45337B02A14B}" dt="2024-03-26T12:55:16.282" v="47" actId="1076"/>
          <ac:graphicFrameMkLst>
            <pc:docMk/>
            <pc:sldMk cId="1287383114" sldId="2147480126"/>
            <ac:graphicFrameMk id="55" creationId="{BAD24F01-D7F4-BF36-D16C-1074A0E6487F}"/>
          </ac:graphicFrameMkLst>
        </pc:graphicFrameChg>
      </pc:sldChg>
    </pc:docChg>
  </pc:docChgLst>
  <pc:docChgLst>
    <pc:chgData name="LeMons, Daniel" userId="S::dlemons@elogex.com::65097b81-23d4-411d-8a8e-a78030669d81" providerId="AD" clId="Web-{460A09A1-5B17-4ADB-6F38-A61A164C274D}"/>
    <pc:docChg chg="addSld delSld modSld sldOrd modSection">
      <pc:chgData name="LeMons, Daniel" userId="S::dlemons@elogex.com::65097b81-23d4-411d-8a8e-a78030669d81" providerId="AD" clId="Web-{460A09A1-5B17-4ADB-6F38-A61A164C274D}" dt="2024-03-27T20:58:04.089" v="172" actId="20577"/>
      <pc:docMkLst>
        <pc:docMk/>
      </pc:docMkLst>
      <pc:sldChg chg="modSp">
        <pc:chgData name="LeMons, Daniel" userId="S::dlemons@elogex.com::65097b81-23d4-411d-8a8e-a78030669d81" providerId="AD" clId="Web-{460A09A1-5B17-4ADB-6F38-A61A164C274D}" dt="2024-03-27T20:58:04.089" v="172" actId="20577"/>
        <pc:sldMkLst>
          <pc:docMk/>
          <pc:sldMk cId="3611435049" sldId="2147480097"/>
        </pc:sldMkLst>
        <pc:spChg chg="mod">
          <ac:chgData name="LeMons, Daniel" userId="S::dlemons@elogex.com::65097b81-23d4-411d-8a8e-a78030669d81" providerId="AD" clId="Web-{460A09A1-5B17-4ADB-6F38-A61A164C274D}" dt="2024-03-27T20:58:04.089" v="172" actId="20577"/>
          <ac:spMkLst>
            <pc:docMk/>
            <pc:sldMk cId="3611435049" sldId="2147480097"/>
            <ac:spMk id="2" creationId="{0329E297-E798-08B1-A1CC-65371311D18E}"/>
          </ac:spMkLst>
        </pc:spChg>
      </pc:sldChg>
      <pc:sldChg chg="addSp modSp del">
        <pc:chgData name="LeMons, Daniel" userId="S::dlemons@elogex.com::65097b81-23d4-411d-8a8e-a78030669d81" providerId="AD" clId="Web-{460A09A1-5B17-4ADB-6F38-A61A164C274D}" dt="2024-03-27T20:50:35.055" v="2"/>
        <pc:sldMkLst>
          <pc:docMk/>
          <pc:sldMk cId="480133652" sldId="2147480109"/>
        </pc:sldMkLst>
        <pc:picChg chg="add mod">
          <ac:chgData name="LeMons, Daniel" userId="S::dlemons@elogex.com::65097b81-23d4-411d-8a8e-a78030669d81" providerId="AD" clId="Web-{460A09A1-5B17-4ADB-6F38-A61A164C274D}" dt="2024-03-27T20:45:57.966" v="0"/>
          <ac:picMkLst>
            <pc:docMk/>
            <pc:sldMk cId="480133652" sldId="2147480109"/>
            <ac:picMk id="3" creationId="{A829730D-03BD-8CF3-23FB-24AB9023E879}"/>
          </ac:picMkLst>
        </pc:picChg>
      </pc:sldChg>
      <pc:sldChg chg="ord">
        <pc:chgData name="LeMons, Daniel" userId="S::dlemons@elogex.com::65097b81-23d4-411d-8a8e-a78030669d81" providerId="AD" clId="Web-{460A09A1-5B17-4ADB-6F38-A61A164C274D}" dt="2024-03-27T20:53:41.797" v="28"/>
        <pc:sldMkLst>
          <pc:docMk/>
          <pc:sldMk cId="4003192555" sldId="2147480111"/>
        </pc:sldMkLst>
      </pc:sldChg>
      <pc:sldChg chg="ord">
        <pc:chgData name="LeMons, Daniel" userId="S::dlemons@elogex.com::65097b81-23d4-411d-8a8e-a78030669d81" providerId="AD" clId="Web-{460A09A1-5B17-4ADB-6F38-A61A164C274D}" dt="2024-03-27T20:53:58.157" v="29"/>
        <pc:sldMkLst>
          <pc:docMk/>
          <pc:sldMk cId="3342602019" sldId="2147480117"/>
        </pc:sldMkLst>
      </pc:sldChg>
      <pc:sldChg chg="ord">
        <pc:chgData name="LeMons, Daniel" userId="S::dlemons@elogex.com::65097b81-23d4-411d-8a8e-a78030669d81" providerId="AD" clId="Web-{460A09A1-5B17-4ADB-6F38-A61A164C274D}" dt="2024-03-27T20:54:17.048" v="33"/>
        <pc:sldMkLst>
          <pc:docMk/>
          <pc:sldMk cId="2273137630" sldId="2147480121"/>
        </pc:sldMkLst>
      </pc:sldChg>
      <pc:sldChg chg="ord">
        <pc:chgData name="LeMons, Daniel" userId="S::dlemons@elogex.com::65097b81-23d4-411d-8a8e-a78030669d81" providerId="AD" clId="Web-{460A09A1-5B17-4ADB-6F38-A61A164C274D}" dt="2024-03-27T20:54:09.611" v="31"/>
        <pc:sldMkLst>
          <pc:docMk/>
          <pc:sldMk cId="1903693486" sldId="2147480122"/>
        </pc:sldMkLst>
      </pc:sldChg>
      <pc:sldChg chg="delSp modSp add">
        <pc:chgData name="LeMons, Daniel" userId="S::dlemons@elogex.com::65097b81-23d4-411d-8a8e-a78030669d81" providerId="AD" clId="Web-{460A09A1-5B17-4ADB-6F38-A61A164C274D}" dt="2024-03-27T20:54:47.909" v="60" actId="20577"/>
        <pc:sldMkLst>
          <pc:docMk/>
          <pc:sldMk cId="1287383114" sldId="2147480126"/>
        </pc:sldMkLst>
        <pc:spChg chg="mod">
          <ac:chgData name="LeMons, Daniel" userId="S::dlemons@elogex.com::65097b81-23d4-411d-8a8e-a78030669d81" providerId="AD" clId="Web-{460A09A1-5B17-4ADB-6F38-A61A164C274D}" dt="2024-03-27T20:54:47.909" v="60" actId="20577"/>
          <ac:spMkLst>
            <pc:docMk/>
            <pc:sldMk cId="1287383114" sldId="2147480126"/>
            <ac:spMk id="2" creationId="{6D4A0A65-4449-A208-9F84-68CA373C2CC5}"/>
          </ac:spMkLst>
        </pc:spChg>
        <pc:spChg chg="del mod">
          <ac:chgData name="LeMons, Daniel" userId="S::dlemons@elogex.com::65097b81-23d4-411d-8a8e-a78030669d81" providerId="AD" clId="Web-{460A09A1-5B17-4ADB-6F38-A61A164C274D}" dt="2024-03-27T20:51:37.573" v="10"/>
          <ac:spMkLst>
            <pc:docMk/>
            <pc:sldMk cId="1287383114" sldId="2147480126"/>
            <ac:spMk id="4" creationId="{56C3B578-999E-8BE4-4B21-FFDFCA4385DE}"/>
          </ac:spMkLst>
        </pc:spChg>
        <pc:graphicFrameChg chg="modGraphic">
          <ac:chgData name="LeMons, Daniel" userId="S::dlemons@elogex.com::65097b81-23d4-411d-8a8e-a78030669d81" providerId="AD" clId="Web-{460A09A1-5B17-4ADB-6F38-A61A164C274D}" dt="2024-03-27T20:51:46.433" v="12"/>
          <ac:graphicFrameMkLst>
            <pc:docMk/>
            <pc:sldMk cId="1287383114" sldId="2147480126"/>
            <ac:graphicFrameMk id="17" creationId="{39C2D995-BEAD-B4F2-BAA5-251C62A1C594}"/>
          </ac:graphicFrameMkLst>
        </pc:graphicFrameChg>
        <pc:graphicFrameChg chg="modGraphic">
          <ac:chgData name="LeMons, Daniel" userId="S::dlemons@elogex.com::65097b81-23d4-411d-8a8e-a78030669d81" providerId="AD" clId="Web-{460A09A1-5B17-4ADB-6F38-A61A164C274D}" dt="2024-03-27T20:51:42.558" v="11"/>
          <ac:graphicFrameMkLst>
            <pc:docMk/>
            <pc:sldMk cId="1287383114" sldId="2147480126"/>
            <ac:graphicFrameMk id="55" creationId="{BAD24F01-D7F4-BF36-D16C-1074A0E6487F}"/>
          </ac:graphicFrameMkLst>
        </pc:graphicFrameChg>
      </pc:sldChg>
      <pc:sldChg chg="modSp">
        <pc:chgData name="LeMons, Daniel" userId="S::dlemons@elogex.com::65097b81-23d4-411d-8a8e-a78030669d81" providerId="AD" clId="Web-{460A09A1-5B17-4ADB-6F38-A61A164C274D}" dt="2024-03-27T20:56:20.569" v="120" actId="20577"/>
        <pc:sldMkLst>
          <pc:docMk/>
          <pc:sldMk cId="954045621" sldId="2147480131"/>
        </pc:sldMkLst>
        <pc:spChg chg="mod">
          <ac:chgData name="LeMons, Daniel" userId="S::dlemons@elogex.com::65097b81-23d4-411d-8a8e-a78030669d81" providerId="AD" clId="Web-{460A09A1-5B17-4ADB-6F38-A61A164C274D}" dt="2024-03-27T20:55:24.660" v="82" actId="20577"/>
          <ac:spMkLst>
            <pc:docMk/>
            <pc:sldMk cId="954045621" sldId="2147480131"/>
            <ac:spMk id="2" creationId="{7C082A7E-E310-17E3-E129-649341E980C1}"/>
          </ac:spMkLst>
        </pc:spChg>
        <pc:spChg chg="mod">
          <ac:chgData name="LeMons, Daniel" userId="S::dlemons@elogex.com::65097b81-23d4-411d-8a8e-a78030669d81" providerId="AD" clId="Web-{460A09A1-5B17-4ADB-6F38-A61A164C274D}" dt="2024-03-27T20:56:20.569" v="120" actId="20577"/>
          <ac:spMkLst>
            <pc:docMk/>
            <pc:sldMk cId="954045621" sldId="2147480131"/>
            <ac:spMk id="3" creationId="{95EACCFC-1AB4-E705-39CF-082950901B82}"/>
          </ac:spMkLst>
        </pc:spChg>
      </pc:sldChg>
      <pc:sldChg chg="modSp">
        <pc:chgData name="LeMons, Daniel" userId="S::dlemons@elogex.com::65097b81-23d4-411d-8a8e-a78030669d81" providerId="AD" clId="Web-{460A09A1-5B17-4ADB-6F38-A61A164C274D}" dt="2024-03-27T20:56:08.897" v="115" actId="20577"/>
        <pc:sldMkLst>
          <pc:docMk/>
          <pc:sldMk cId="1943466375" sldId="2147480132"/>
        </pc:sldMkLst>
        <pc:spChg chg="mod">
          <ac:chgData name="LeMons, Daniel" userId="S::dlemons@elogex.com::65097b81-23d4-411d-8a8e-a78030669d81" providerId="AD" clId="Web-{460A09A1-5B17-4ADB-6F38-A61A164C274D}" dt="2024-03-27T20:55:58.709" v="109" actId="20577"/>
          <ac:spMkLst>
            <pc:docMk/>
            <pc:sldMk cId="1943466375" sldId="2147480132"/>
            <ac:spMk id="2" creationId="{7C082A7E-E310-17E3-E129-649341E980C1}"/>
          </ac:spMkLst>
        </pc:spChg>
        <pc:spChg chg="mod">
          <ac:chgData name="LeMons, Daniel" userId="S::dlemons@elogex.com::65097b81-23d4-411d-8a8e-a78030669d81" providerId="AD" clId="Web-{460A09A1-5B17-4ADB-6F38-A61A164C274D}" dt="2024-03-27T20:56:08.897" v="115" actId="20577"/>
          <ac:spMkLst>
            <pc:docMk/>
            <pc:sldMk cId="1943466375" sldId="2147480132"/>
            <ac:spMk id="6" creationId="{67198E3D-3C9A-5220-0DC7-94E7ACF46720}"/>
          </ac:spMkLst>
        </pc:spChg>
      </pc:sldChg>
      <pc:sldChg chg="ord">
        <pc:chgData name="LeMons, Daniel" userId="S::dlemons@elogex.com::65097b81-23d4-411d-8a8e-a78030669d81" providerId="AD" clId="Web-{460A09A1-5B17-4ADB-6F38-A61A164C274D}" dt="2024-03-27T20:51:11.901" v="7"/>
        <pc:sldMkLst>
          <pc:docMk/>
          <pc:sldMk cId="3725083184" sldId="2147480133"/>
        </pc:sldMkLst>
      </pc:sldChg>
    </pc:docChg>
  </pc:docChgLst>
  <pc:docChgLst>
    <pc:chgData name="Karmakar, Sumit" userId="S::skarmakar@elogex.com::5d020034-ff2c-4e7e-8d00-e94708d613b2" providerId="AD" clId="Web-{9FE21A90-5134-2777-E573-9CA09E002FED}"/>
    <pc:docChg chg="modSld">
      <pc:chgData name="Karmakar, Sumit" userId="S::skarmakar@elogex.com::5d020034-ff2c-4e7e-8d00-e94708d613b2" providerId="AD" clId="Web-{9FE21A90-5134-2777-E573-9CA09E002FED}" dt="2024-03-28T14:53:23.235" v="31" actId="20577"/>
      <pc:docMkLst>
        <pc:docMk/>
      </pc:docMkLst>
      <pc:sldChg chg="modSp">
        <pc:chgData name="Karmakar, Sumit" userId="S::skarmakar@elogex.com::5d020034-ff2c-4e7e-8d00-e94708d613b2" providerId="AD" clId="Web-{9FE21A90-5134-2777-E573-9CA09E002FED}" dt="2024-03-28T14:53:23.235" v="31" actId="20577"/>
        <pc:sldMkLst>
          <pc:docMk/>
          <pc:sldMk cId="3118094164" sldId="2147480101"/>
        </pc:sldMkLst>
        <pc:graphicFrameChg chg="modGraphic">
          <ac:chgData name="Karmakar, Sumit" userId="S::skarmakar@elogex.com::5d020034-ff2c-4e7e-8d00-e94708d613b2" providerId="AD" clId="Web-{9FE21A90-5134-2777-E573-9CA09E002FED}" dt="2024-03-28T14:53:23.235" v="31" actId="20577"/>
          <ac:graphicFrameMkLst>
            <pc:docMk/>
            <pc:sldMk cId="3118094164" sldId="2147480101"/>
            <ac:graphicFrameMk id="3" creationId="{A0C264A5-87A4-39BA-F813-F8DBD0595773}"/>
          </ac:graphicFrameMkLst>
        </pc:graphicFrameChg>
      </pc:sldChg>
    </pc:docChg>
  </pc:docChgLst>
  <pc:docChgLst>
    <pc:chgData name="Upreti, Nitin" userId="S::nupreti@elogex.com::fe4cf4e8-8f0a-401e-bd63-1ecd572762c2" providerId="AD" clId="Web-{DB5D5D3A-8C4F-3C76-F157-D44505AA8CAC}"/>
    <pc:docChg chg="modSld">
      <pc:chgData name="Upreti, Nitin" userId="S::nupreti@elogex.com::fe4cf4e8-8f0a-401e-bd63-1ecd572762c2" providerId="AD" clId="Web-{DB5D5D3A-8C4F-3C76-F157-D44505AA8CAC}" dt="2024-03-12T05:26:10.937" v="906" actId="20577"/>
      <pc:docMkLst>
        <pc:docMk/>
      </pc:docMkLst>
      <pc:sldChg chg="modSp">
        <pc:chgData name="Upreti, Nitin" userId="S::nupreti@elogex.com::fe4cf4e8-8f0a-401e-bd63-1ecd572762c2" providerId="AD" clId="Web-{DB5D5D3A-8C4F-3C76-F157-D44505AA8CAC}" dt="2024-03-12T05:26:10.937" v="906" actId="20577"/>
        <pc:sldMkLst>
          <pc:docMk/>
          <pc:sldMk cId="295364091" sldId="2147480099"/>
        </pc:sldMkLst>
        <pc:spChg chg="mod">
          <ac:chgData name="Upreti, Nitin" userId="S::nupreti@elogex.com::fe4cf4e8-8f0a-401e-bd63-1ecd572762c2" providerId="AD" clId="Web-{DB5D5D3A-8C4F-3C76-F157-D44505AA8CAC}" dt="2024-03-12T05:26:10.937" v="906" actId="20577"/>
          <ac:spMkLst>
            <pc:docMk/>
            <pc:sldMk cId="295364091" sldId="2147480099"/>
            <ac:spMk id="3" creationId="{DA736210-7ED2-7A43-C730-5E516CC3CA7D}"/>
          </ac:spMkLst>
        </pc:spChg>
      </pc:sldChg>
    </pc:docChg>
  </pc:docChgLst>
  <pc:docChgLst>
    <pc:chgData name="LeMons, Daniel" userId="S::dlemons@elogex.com::65097b81-23d4-411d-8a8e-a78030669d81" providerId="AD" clId="Web-{7E641F6C-B9BD-76B8-8293-6803E0E377EA}"/>
    <pc:docChg chg="modSld">
      <pc:chgData name="LeMons, Daniel" userId="S::dlemons@elogex.com::65097b81-23d4-411d-8a8e-a78030669d81" providerId="AD" clId="Web-{7E641F6C-B9BD-76B8-8293-6803E0E377EA}" dt="2024-03-27T12:22:20.522" v="26" actId="1076"/>
      <pc:docMkLst>
        <pc:docMk/>
      </pc:docMkLst>
      <pc:sldChg chg="modSp">
        <pc:chgData name="LeMons, Daniel" userId="S::dlemons@elogex.com::65097b81-23d4-411d-8a8e-a78030669d81" providerId="AD" clId="Web-{7E641F6C-B9BD-76B8-8293-6803E0E377EA}" dt="2024-03-27T12:22:20.522" v="26" actId="1076"/>
        <pc:sldMkLst>
          <pc:docMk/>
          <pc:sldMk cId="3429014890" sldId="2147480119"/>
        </pc:sldMkLst>
        <pc:grpChg chg="mod">
          <ac:chgData name="LeMons, Daniel" userId="S::dlemons@elogex.com::65097b81-23d4-411d-8a8e-a78030669d81" providerId="AD" clId="Web-{7E641F6C-B9BD-76B8-8293-6803E0E377EA}" dt="2024-03-27T12:22:12.928" v="22" actId="1076"/>
          <ac:grpSpMkLst>
            <pc:docMk/>
            <pc:sldMk cId="3429014890" sldId="2147480119"/>
            <ac:grpSpMk id="4" creationId="{163707F5-AD23-FD6A-F363-1927FCAC0362}"/>
          </ac:grpSpMkLst>
        </pc:grpChg>
        <pc:grpChg chg="mod">
          <ac:chgData name="LeMons, Daniel" userId="S::dlemons@elogex.com::65097b81-23d4-411d-8a8e-a78030669d81" providerId="AD" clId="Web-{7E641F6C-B9BD-76B8-8293-6803E0E377EA}" dt="2024-03-27T12:22:12.943" v="23" actId="1076"/>
          <ac:grpSpMkLst>
            <pc:docMk/>
            <pc:sldMk cId="3429014890" sldId="2147480119"/>
            <ac:grpSpMk id="7" creationId="{71DECF8F-2E6A-3E7B-692D-7BC229322368}"/>
          </ac:grpSpMkLst>
        </pc:grpChg>
        <pc:grpChg chg="mod">
          <ac:chgData name="LeMons, Daniel" userId="S::dlemons@elogex.com::65097b81-23d4-411d-8a8e-a78030669d81" providerId="AD" clId="Web-{7E641F6C-B9BD-76B8-8293-6803E0E377EA}" dt="2024-03-27T12:22:12.974" v="24" actId="1076"/>
          <ac:grpSpMkLst>
            <pc:docMk/>
            <pc:sldMk cId="3429014890" sldId="2147480119"/>
            <ac:grpSpMk id="11" creationId="{DABAD7F9-2692-AC51-9799-F857B506478F}"/>
          </ac:grpSpMkLst>
        </pc:grpChg>
        <pc:grpChg chg="mod">
          <ac:chgData name="LeMons, Daniel" userId="S::dlemons@elogex.com::65097b81-23d4-411d-8a8e-a78030669d81" providerId="AD" clId="Web-{7E641F6C-B9BD-76B8-8293-6803E0E377EA}" dt="2024-03-27T12:22:12.990" v="25" actId="1076"/>
          <ac:grpSpMkLst>
            <pc:docMk/>
            <pc:sldMk cId="3429014890" sldId="2147480119"/>
            <ac:grpSpMk id="14" creationId="{1F7E9FFB-DDFC-78C1-737B-6D6F47F7603D}"/>
          </ac:grpSpMkLst>
        </pc:grpChg>
        <pc:grpChg chg="mod">
          <ac:chgData name="LeMons, Daniel" userId="S::dlemons@elogex.com::65097b81-23d4-411d-8a8e-a78030669d81" providerId="AD" clId="Web-{7E641F6C-B9BD-76B8-8293-6803E0E377EA}" dt="2024-03-27T12:22:20.522" v="26" actId="1076"/>
          <ac:grpSpMkLst>
            <pc:docMk/>
            <pc:sldMk cId="3429014890" sldId="2147480119"/>
            <ac:grpSpMk id="44" creationId="{A09C8D9C-DB21-EEB0-C524-2867FE55FCAE}"/>
          </ac:grpSpMkLst>
        </pc:grpChg>
        <pc:graphicFrameChg chg="mod">
          <ac:chgData name="LeMons, Daniel" userId="S::dlemons@elogex.com::65097b81-23d4-411d-8a8e-a78030669d81" providerId="AD" clId="Web-{7E641F6C-B9BD-76B8-8293-6803E0E377EA}" dt="2024-03-27T12:21:51.896" v="21" actId="1076"/>
          <ac:graphicFrameMkLst>
            <pc:docMk/>
            <pc:sldMk cId="3429014890" sldId="2147480119"/>
            <ac:graphicFrameMk id="3" creationId="{1C312072-B092-412E-81AA-32A802D2C4FF}"/>
          </ac:graphicFrameMkLst>
        </pc:graphicFrameChg>
      </pc:sldChg>
    </pc:docChg>
  </pc:docChgLst>
  <pc:docChgLst>
    <pc:chgData name="Karmakar, Sumit" userId="S::skarmakar@elogex.com::5d020034-ff2c-4e7e-8d00-e94708d613b2" providerId="AD" clId="Web-{0DAD97E6-4E01-AA7E-15C9-D13526868735}"/>
    <pc:docChg chg="addSld modSld modSection">
      <pc:chgData name="Karmakar, Sumit" userId="S::skarmakar@elogex.com::5d020034-ff2c-4e7e-8d00-e94708d613b2" providerId="AD" clId="Web-{0DAD97E6-4E01-AA7E-15C9-D13526868735}" dt="2024-03-12T16:12:20.969" v="38"/>
      <pc:docMkLst>
        <pc:docMk/>
      </pc:docMkLst>
      <pc:sldChg chg="modSp">
        <pc:chgData name="Karmakar, Sumit" userId="S::skarmakar@elogex.com::5d020034-ff2c-4e7e-8d00-e94708d613b2" providerId="AD" clId="Web-{0DAD97E6-4E01-AA7E-15C9-D13526868735}" dt="2024-03-12T14:56:55.664" v="11" actId="20577"/>
        <pc:sldMkLst>
          <pc:docMk/>
          <pc:sldMk cId="2112086780" sldId="2147480100"/>
        </pc:sldMkLst>
        <pc:spChg chg="mod">
          <ac:chgData name="Karmakar, Sumit" userId="S::skarmakar@elogex.com::5d020034-ff2c-4e7e-8d00-e94708d613b2" providerId="AD" clId="Web-{0DAD97E6-4E01-AA7E-15C9-D13526868735}" dt="2024-03-12T14:56:55.664" v="11" actId="20577"/>
          <ac:spMkLst>
            <pc:docMk/>
            <pc:sldMk cId="2112086780" sldId="2147480100"/>
            <ac:spMk id="9" creationId="{7FBA4B87-97CE-C427-F2E6-4E29EF3AAD3C}"/>
          </ac:spMkLst>
        </pc:spChg>
      </pc:sldChg>
      <pc:sldChg chg="delSp modSp add replId">
        <pc:chgData name="Karmakar, Sumit" userId="S::skarmakar@elogex.com::5d020034-ff2c-4e7e-8d00-e94708d613b2" providerId="AD" clId="Web-{0DAD97E6-4E01-AA7E-15C9-D13526868735}" dt="2024-03-12T16:12:20.969" v="38"/>
        <pc:sldMkLst>
          <pc:docMk/>
          <pc:sldMk cId="2345600220" sldId="2147480105"/>
        </pc:sldMkLst>
        <pc:spChg chg="mod">
          <ac:chgData name="Karmakar, Sumit" userId="S::skarmakar@elogex.com::5d020034-ff2c-4e7e-8d00-e94708d613b2" providerId="AD" clId="Web-{0DAD97E6-4E01-AA7E-15C9-D13526868735}" dt="2024-03-12T16:12:14.125" v="35" actId="20577"/>
          <ac:spMkLst>
            <pc:docMk/>
            <pc:sldMk cId="2345600220" sldId="2147480105"/>
            <ac:spMk id="2" creationId="{0329E297-E798-08B1-A1CC-65371311D18E}"/>
          </ac:spMkLst>
        </pc:spChg>
        <pc:spChg chg="del">
          <ac:chgData name="Karmakar, Sumit" userId="S::skarmakar@elogex.com::5d020034-ff2c-4e7e-8d00-e94708d613b2" providerId="AD" clId="Web-{0DAD97E6-4E01-AA7E-15C9-D13526868735}" dt="2024-03-12T16:12:20.969" v="38"/>
          <ac:spMkLst>
            <pc:docMk/>
            <pc:sldMk cId="2345600220" sldId="2147480105"/>
            <ac:spMk id="8" creationId="{786A437C-69EF-4C67-2056-2048B6DF85D3}"/>
          </ac:spMkLst>
        </pc:spChg>
        <pc:spChg chg="del mod">
          <ac:chgData name="Karmakar, Sumit" userId="S::skarmakar@elogex.com::5d020034-ff2c-4e7e-8d00-e94708d613b2" providerId="AD" clId="Web-{0DAD97E6-4E01-AA7E-15C9-D13526868735}" dt="2024-03-12T16:12:20" v="37"/>
          <ac:spMkLst>
            <pc:docMk/>
            <pc:sldMk cId="2345600220" sldId="2147480105"/>
            <ac:spMk id="9" creationId="{BB139104-8377-0908-9A80-DF674917BB86}"/>
          </ac:spMkLst>
        </pc:spChg>
      </pc:sldChg>
    </pc:docChg>
  </pc:docChgLst>
  <pc:docChgLst>
    <pc:chgData name="Karmakar, Sumit" userId="S::skarmakar@elogex.com::5d020034-ff2c-4e7e-8d00-e94708d613b2" providerId="AD" clId="Web-{E34CEE3C-E9CA-837A-C7FF-5BB27F78CB29}"/>
    <pc:docChg chg="modSld">
      <pc:chgData name="Karmakar, Sumit" userId="S::skarmakar@elogex.com::5d020034-ff2c-4e7e-8d00-e94708d613b2" providerId="AD" clId="Web-{E34CEE3C-E9CA-837A-C7FF-5BB27F78CB29}" dt="2024-03-28T13:58:51.312" v="3" actId="20577"/>
      <pc:docMkLst>
        <pc:docMk/>
      </pc:docMkLst>
      <pc:sldChg chg="modSp">
        <pc:chgData name="Karmakar, Sumit" userId="S::skarmakar@elogex.com::5d020034-ff2c-4e7e-8d00-e94708d613b2" providerId="AD" clId="Web-{E34CEE3C-E9CA-837A-C7FF-5BB27F78CB29}" dt="2024-03-28T13:58:51.312" v="3" actId="20577"/>
        <pc:sldMkLst>
          <pc:docMk/>
          <pc:sldMk cId="452994539" sldId="2147480130"/>
        </pc:sldMkLst>
        <pc:spChg chg="mod">
          <ac:chgData name="Karmakar, Sumit" userId="S::skarmakar@elogex.com::5d020034-ff2c-4e7e-8d00-e94708d613b2" providerId="AD" clId="Web-{E34CEE3C-E9CA-837A-C7FF-5BB27F78CB29}" dt="2024-03-28T13:58:51.312" v="3" actId="20577"/>
          <ac:spMkLst>
            <pc:docMk/>
            <pc:sldMk cId="452994539" sldId="2147480130"/>
            <ac:spMk id="2" creationId="{0329E297-E798-08B1-A1CC-65371311D18E}"/>
          </ac:spMkLst>
        </pc:spChg>
      </pc:sldChg>
    </pc:docChg>
  </pc:docChgLst>
  <pc:docChgLst>
    <pc:chgData name="Karmakar, Sumit" userId="S::skarmakar@elogex.com::5d020034-ff2c-4e7e-8d00-e94708d613b2" providerId="AD" clId="Web-{9871B737-2270-91CB-8F49-A104FE67828A}"/>
    <pc:docChg chg="delSld sldOrd modSection">
      <pc:chgData name="Karmakar, Sumit" userId="S::skarmakar@elogex.com::5d020034-ff2c-4e7e-8d00-e94708d613b2" providerId="AD" clId="Web-{9871B737-2270-91CB-8F49-A104FE67828A}" dt="2024-03-21T14:43:51.690" v="4"/>
      <pc:docMkLst>
        <pc:docMk/>
      </pc:docMkLst>
      <pc:sldChg chg="ord">
        <pc:chgData name="Karmakar, Sumit" userId="S::skarmakar@elogex.com::5d020034-ff2c-4e7e-8d00-e94708d613b2" providerId="AD" clId="Web-{9871B737-2270-91CB-8F49-A104FE67828A}" dt="2024-03-21T14:43:51.690" v="4"/>
        <pc:sldMkLst>
          <pc:docMk/>
          <pc:sldMk cId="2345600220" sldId="2147480105"/>
        </pc:sldMkLst>
      </pc:sldChg>
      <pc:sldChg chg="del">
        <pc:chgData name="Karmakar, Sumit" userId="S::skarmakar@elogex.com::5d020034-ff2c-4e7e-8d00-e94708d613b2" providerId="AD" clId="Web-{9871B737-2270-91CB-8F49-A104FE67828A}" dt="2024-03-21T13:17:13.974" v="0"/>
        <pc:sldMkLst>
          <pc:docMk/>
          <pc:sldMk cId="508965995" sldId="2147480119"/>
        </pc:sldMkLst>
      </pc:sldChg>
    </pc:docChg>
  </pc:docChgLst>
  <pc:docChgLst>
    <pc:chgData name="Karmakar, Sumit" userId="S::skarmakar@elogex.com::5d020034-ff2c-4e7e-8d00-e94708d613b2" providerId="AD" clId="Web-{6B72B1A5-2E9B-4580-BDC0-FDFF35AA2A03}"/>
    <pc:docChg chg="modSld">
      <pc:chgData name="Karmakar, Sumit" userId="S::skarmakar@elogex.com::5d020034-ff2c-4e7e-8d00-e94708d613b2" providerId="AD" clId="Web-{6B72B1A5-2E9B-4580-BDC0-FDFF35AA2A03}" dt="2024-04-03T15:09:16.702" v="5" actId="14100"/>
      <pc:docMkLst>
        <pc:docMk/>
      </pc:docMkLst>
      <pc:sldChg chg="modSp">
        <pc:chgData name="Karmakar, Sumit" userId="S::skarmakar@elogex.com::5d020034-ff2c-4e7e-8d00-e94708d613b2" providerId="AD" clId="Web-{6B72B1A5-2E9B-4580-BDC0-FDFF35AA2A03}" dt="2024-04-03T15:09:16.702" v="5" actId="14100"/>
        <pc:sldMkLst>
          <pc:docMk/>
          <pc:sldMk cId="50788646" sldId="2147480107"/>
        </pc:sldMkLst>
        <pc:spChg chg="mod">
          <ac:chgData name="Karmakar, Sumit" userId="S::skarmakar@elogex.com::5d020034-ff2c-4e7e-8d00-e94708d613b2" providerId="AD" clId="Web-{6B72B1A5-2E9B-4580-BDC0-FDFF35AA2A03}" dt="2024-04-03T15:07:12.603" v="2" actId="20577"/>
          <ac:spMkLst>
            <pc:docMk/>
            <pc:sldMk cId="50788646" sldId="2147480107"/>
            <ac:spMk id="15" creationId="{1F7BCB79-682D-216B-E063-16CE18D59036}"/>
          </ac:spMkLst>
        </pc:spChg>
        <pc:picChg chg="mod">
          <ac:chgData name="Karmakar, Sumit" userId="S::skarmakar@elogex.com::5d020034-ff2c-4e7e-8d00-e94708d613b2" providerId="AD" clId="Web-{6B72B1A5-2E9B-4580-BDC0-FDFF35AA2A03}" dt="2024-04-03T15:09:16.702" v="5" actId="14100"/>
          <ac:picMkLst>
            <pc:docMk/>
            <pc:sldMk cId="50788646" sldId="2147480107"/>
            <ac:picMk id="2" creationId="{448AA61F-E68E-202F-9DB9-2C483B4868DA}"/>
          </ac:picMkLst>
        </pc:picChg>
      </pc:sldChg>
    </pc:docChg>
  </pc:docChgLst>
  <pc:docChgLst>
    <pc:chgData name="Karmakar, Sumit" userId="S::skarmakar@elogex.com::5d020034-ff2c-4e7e-8d00-e94708d613b2" providerId="AD" clId="Web-{683D5418-9430-289D-98F7-BE17C96AE799}"/>
    <pc:docChg chg="modSld">
      <pc:chgData name="Karmakar, Sumit" userId="S::skarmakar@elogex.com::5d020034-ff2c-4e7e-8d00-e94708d613b2" providerId="AD" clId="Web-{683D5418-9430-289D-98F7-BE17C96AE799}" dt="2024-03-26T16:06:11.142" v="6" actId="20577"/>
      <pc:docMkLst>
        <pc:docMk/>
      </pc:docMkLst>
      <pc:sldChg chg="modSp">
        <pc:chgData name="Karmakar, Sumit" userId="S::skarmakar@elogex.com::5d020034-ff2c-4e7e-8d00-e94708d613b2" providerId="AD" clId="Web-{683D5418-9430-289D-98F7-BE17C96AE799}" dt="2024-03-26T15:59:58.456" v="3"/>
        <pc:sldMkLst>
          <pc:docMk/>
          <pc:sldMk cId="1287383114" sldId="2147480126"/>
        </pc:sldMkLst>
        <pc:graphicFrameChg chg="mod modGraphic">
          <ac:chgData name="Karmakar, Sumit" userId="S::skarmakar@elogex.com::5d020034-ff2c-4e7e-8d00-e94708d613b2" providerId="AD" clId="Web-{683D5418-9430-289D-98F7-BE17C96AE799}" dt="2024-03-26T15:59:58.456" v="3"/>
          <ac:graphicFrameMkLst>
            <pc:docMk/>
            <pc:sldMk cId="1287383114" sldId="2147480126"/>
            <ac:graphicFrameMk id="3" creationId="{CA9C21C4-2AEC-CC4C-240D-B02DAA76F564}"/>
          </ac:graphicFrameMkLst>
        </pc:graphicFrameChg>
      </pc:sldChg>
      <pc:sldChg chg="modSp">
        <pc:chgData name="Karmakar, Sumit" userId="S::skarmakar@elogex.com::5d020034-ff2c-4e7e-8d00-e94708d613b2" providerId="AD" clId="Web-{683D5418-9430-289D-98F7-BE17C96AE799}" dt="2024-03-26T16:06:11.142" v="6" actId="20577"/>
        <pc:sldMkLst>
          <pc:docMk/>
          <pc:sldMk cId="3502658628" sldId="2147480127"/>
        </pc:sldMkLst>
        <pc:spChg chg="mod">
          <ac:chgData name="Karmakar, Sumit" userId="S::skarmakar@elogex.com::5d020034-ff2c-4e7e-8d00-e94708d613b2" providerId="AD" clId="Web-{683D5418-9430-289D-98F7-BE17C96AE799}" dt="2024-03-26T16:06:11.142" v="6" actId="20577"/>
          <ac:spMkLst>
            <pc:docMk/>
            <pc:sldMk cId="3502658628" sldId="2147480127"/>
            <ac:spMk id="3" creationId="{95EACCFC-1AB4-E705-39CF-082950901B82}"/>
          </ac:spMkLst>
        </pc:spChg>
      </pc:sldChg>
    </pc:docChg>
  </pc:docChgLst>
  <pc:docChgLst>
    <pc:chgData name="Karmakar, Sumit" userId="S::skarmakar@elogex.com::5d020034-ff2c-4e7e-8d00-e94708d613b2" providerId="AD" clId="Web-{FDCBF6F6-CD9B-5169-4F4F-6D464DCD1E7C}"/>
    <pc:docChg chg="modSld">
      <pc:chgData name="Karmakar, Sumit" userId="S::skarmakar@elogex.com::5d020034-ff2c-4e7e-8d00-e94708d613b2" providerId="AD" clId="Web-{FDCBF6F6-CD9B-5169-4F4F-6D464DCD1E7C}" dt="2024-02-26T21:20:13.991" v="11"/>
      <pc:docMkLst>
        <pc:docMk/>
      </pc:docMkLst>
      <pc:sldChg chg="addSp delSp modSp">
        <pc:chgData name="Karmakar, Sumit" userId="S::skarmakar@elogex.com::5d020034-ff2c-4e7e-8d00-e94708d613b2" providerId="AD" clId="Web-{FDCBF6F6-CD9B-5169-4F4F-6D464DCD1E7C}" dt="2024-02-26T21:20:13.991" v="11"/>
        <pc:sldMkLst>
          <pc:docMk/>
          <pc:sldMk cId="3899884770" sldId="2147480057"/>
        </pc:sldMkLst>
        <pc:spChg chg="add mod">
          <ac:chgData name="Karmakar, Sumit" userId="S::skarmakar@elogex.com::5d020034-ff2c-4e7e-8d00-e94708d613b2" providerId="AD" clId="Web-{FDCBF6F6-CD9B-5169-4F4F-6D464DCD1E7C}" dt="2024-02-26T21:20:13.897" v="8"/>
          <ac:spMkLst>
            <pc:docMk/>
            <pc:sldMk cId="3899884770" sldId="2147480057"/>
            <ac:spMk id="2" creationId="{69ACCC06-2367-0785-08B3-B4ED18D078F2}"/>
          </ac:spMkLst>
        </pc:spChg>
        <pc:spChg chg="add mod">
          <ac:chgData name="Karmakar, Sumit" userId="S::skarmakar@elogex.com::5d020034-ff2c-4e7e-8d00-e94708d613b2" providerId="AD" clId="Web-{FDCBF6F6-CD9B-5169-4F4F-6D464DCD1E7C}" dt="2024-02-26T21:20:13.897" v="9"/>
          <ac:spMkLst>
            <pc:docMk/>
            <pc:sldMk cId="3899884770" sldId="2147480057"/>
            <ac:spMk id="23" creationId="{B62214DB-060F-C5D0-FEE7-13D908B21A92}"/>
          </ac:spMkLst>
        </pc:spChg>
        <pc:spChg chg="add mod">
          <ac:chgData name="Karmakar, Sumit" userId="S::skarmakar@elogex.com::5d020034-ff2c-4e7e-8d00-e94708d613b2" providerId="AD" clId="Web-{FDCBF6F6-CD9B-5169-4F4F-6D464DCD1E7C}" dt="2024-02-26T21:20:13.929" v="10"/>
          <ac:spMkLst>
            <pc:docMk/>
            <pc:sldMk cId="3899884770" sldId="2147480057"/>
            <ac:spMk id="24" creationId="{979197DF-59C6-B768-9098-F44BA8747969}"/>
          </ac:spMkLst>
        </pc:spChg>
        <pc:spChg chg="add del">
          <ac:chgData name="Karmakar, Sumit" userId="S::skarmakar@elogex.com::5d020034-ff2c-4e7e-8d00-e94708d613b2" providerId="AD" clId="Web-{FDCBF6F6-CD9B-5169-4F4F-6D464DCD1E7C}" dt="2024-02-26T21:20:13.991" v="11"/>
          <ac:spMkLst>
            <pc:docMk/>
            <pc:sldMk cId="3899884770" sldId="2147480057"/>
            <ac:spMk id="25" creationId="{E9B5700B-6FC0-6850-856A-B8F24414B373}"/>
          </ac:spMkLst>
        </pc:spChg>
      </pc:sldChg>
    </pc:docChg>
  </pc:docChgLst>
  <pc:docChgLst>
    <pc:chgData name="Karmakar, Sumit" userId="S::skarmakar@elogex.com::5d020034-ff2c-4e7e-8d00-e94708d613b2" providerId="AD" clId="Web-{E13B0338-5D13-526E-2846-783BBF5EAAB0}"/>
    <pc:docChg chg="addSld modSld modSection">
      <pc:chgData name="Karmakar, Sumit" userId="S::skarmakar@elogex.com::5d020034-ff2c-4e7e-8d00-e94708d613b2" providerId="AD" clId="Web-{E13B0338-5D13-526E-2846-783BBF5EAAB0}" dt="2024-03-15T17:45:16.197" v="5" actId="20577"/>
      <pc:docMkLst>
        <pc:docMk/>
      </pc:docMkLst>
      <pc:sldChg chg="modSp add">
        <pc:chgData name="Karmakar, Sumit" userId="S::skarmakar@elogex.com::5d020034-ff2c-4e7e-8d00-e94708d613b2" providerId="AD" clId="Web-{E13B0338-5D13-526E-2846-783BBF5EAAB0}" dt="2024-03-15T17:45:16.197" v="5" actId="20577"/>
        <pc:sldMkLst>
          <pc:docMk/>
          <pc:sldMk cId="2428350765" sldId="2147480083"/>
        </pc:sldMkLst>
        <pc:spChg chg="mod">
          <ac:chgData name="Karmakar, Sumit" userId="S::skarmakar@elogex.com::5d020034-ff2c-4e7e-8d00-e94708d613b2" providerId="AD" clId="Web-{E13B0338-5D13-526E-2846-783BBF5EAAB0}" dt="2024-03-15T17:45:16.197" v="5" actId="20577"/>
          <ac:spMkLst>
            <pc:docMk/>
            <pc:sldMk cId="2428350765" sldId="2147480083"/>
            <ac:spMk id="10" creationId="{1321DB6D-0CDA-A92E-AEE9-52CA62F8942C}"/>
          </ac:spMkLst>
        </pc:spChg>
      </pc:sldChg>
    </pc:docChg>
  </pc:docChgLst>
  <pc:docChgLst>
    <pc:chgData name="Karmakar, Sumit" userId="S::skarmakar@elogex.com::5d020034-ff2c-4e7e-8d00-e94708d613b2" providerId="AD" clId="Web-{9CFB1F54-C5F5-3FBB-6464-4FD9D2F8586F}"/>
    <pc:docChg chg="modSld">
      <pc:chgData name="Karmakar, Sumit" userId="S::skarmakar@elogex.com::5d020034-ff2c-4e7e-8d00-e94708d613b2" providerId="AD" clId="Web-{9CFB1F54-C5F5-3FBB-6464-4FD9D2F8586F}" dt="2024-03-20T16:03:35.915" v="2" actId="20577"/>
      <pc:docMkLst>
        <pc:docMk/>
      </pc:docMkLst>
      <pc:sldChg chg="modSp">
        <pc:chgData name="Karmakar, Sumit" userId="S::skarmakar@elogex.com::5d020034-ff2c-4e7e-8d00-e94708d613b2" providerId="AD" clId="Web-{9CFB1F54-C5F5-3FBB-6464-4FD9D2F8586F}" dt="2024-03-20T15:40:23.366" v="1"/>
        <pc:sldMkLst>
          <pc:docMk/>
          <pc:sldMk cId="2185285943" sldId="2147480118"/>
        </pc:sldMkLst>
        <pc:graphicFrameChg chg="modGraphic">
          <ac:chgData name="Karmakar, Sumit" userId="S::skarmakar@elogex.com::5d020034-ff2c-4e7e-8d00-e94708d613b2" providerId="AD" clId="Web-{9CFB1F54-C5F5-3FBB-6464-4FD9D2F8586F}" dt="2024-03-20T15:40:23.366" v="1"/>
          <ac:graphicFrameMkLst>
            <pc:docMk/>
            <pc:sldMk cId="2185285943" sldId="2147480118"/>
            <ac:graphicFrameMk id="9" creationId="{ABCCD26C-D41C-FBFD-74F1-5B8CE2E23819}"/>
          </ac:graphicFrameMkLst>
        </pc:graphicFrameChg>
      </pc:sldChg>
      <pc:sldChg chg="modSp">
        <pc:chgData name="Karmakar, Sumit" userId="S::skarmakar@elogex.com::5d020034-ff2c-4e7e-8d00-e94708d613b2" providerId="AD" clId="Web-{9CFB1F54-C5F5-3FBB-6464-4FD9D2F8586F}" dt="2024-03-20T16:03:35.915" v="2" actId="20577"/>
        <pc:sldMkLst>
          <pc:docMk/>
          <pc:sldMk cId="2801638841" sldId="2147480120"/>
        </pc:sldMkLst>
        <pc:spChg chg="mod">
          <ac:chgData name="Karmakar, Sumit" userId="S::skarmakar@elogex.com::5d020034-ff2c-4e7e-8d00-e94708d613b2" providerId="AD" clId="Web-{9CFB1F54-C5F5-3FBB-6464-4FD9D2F8586F}" dt="2024-03-20T16:03:35.915" v="2" actId="20577"/>
          <ac:spMkLst>
            <pc:docMk/>
            <pc:sldMk cId="2801638841" sldId="2147480120"/>
            <ac:spMk id="9" creationId="{4920E92B-7718-8222-9BFE-94A6716A8881}"/>
          </ac:spMkLst>
        </pc:spChg>
      </pc:sldChg>
    </pc:docChg>
  </pc:docChgLst>
  <pc:docChgLst>
    <pc:chgData name="LeMons, Daniel" userId="S::dlemons@elogex.com::65097b81-23d4-411d-8a8e-a78030669d81" providerId="AD" clId="Web-{09C8AD21-97B7-0C7D-724A-949532E09D47}"/>
    <pc:docChg chg="addSld delSld modSld modSection">
      <pc:chgData name="LeMons, Daniel" userId="S::dlemons@elogex.com::65097b81-23d4-411d-8a8e-a78030669d81" providerId="AD" clId="Web-{09C8AD21-97B7-0C7D-724A-949532E09D47}" dt="2024-03-28T11:27:19.331" v="338"/>
      <pc:docMkLst>
        <pc:docMk/>
      </pc:docMkLst>
      <pc:sldChg chg="addSp delSp modSp del">
        <pc:chgData name="LeMons, Daniel" userId="S::dlemons@elogex.com::65097b81-23d4-411d-8a8e-a78030669d81" providerId="AD" clId="Web-{09C8AD21-97B7-0C7D-724A-949532E09D47}" dt="2024-03-28T10:30:35.916" v="194"/>
        <pc:sldMkLst>
          <pc:docMk/>
          <pc:sldMk cId="1693912635" sldId="2147480094"/>
        </pc:sldMkLst>
        <pc:spChg chg="mod topLvl">
          <ac:chgData name="LeMons, Daniel" userId="S::dlemons@elogex.com::65097b81-23d4-411d-8a8e-a78030669d81" providerId="AD" clId="Web-{09C8AD21-97B7-0C7D-724A-949532E09D47}" dt="2024-03-28T10:17:14.452" v="192"/>
          <ac:spMkLst>
            <pc:docMk/>
            <pc:sldMk cId="1693912635" sldId="2147480094"/>
            <ac:spMk id="5" creationId="{8F6EFACD-3FB3-538A-B211-980368F57CC3}"/>
          </ac:spMkLst>
        </pc:spChg>
        <pc:spChg chg="mod topLvl">
          <ac:chgData name="LeMons, Daniel" userId="S::dlemons@elogex.com::65097b81-23d4-411d-8a8e-a78030669d81" providerId="AD" clId="Web-{09C8AD21-97B7-0C7D-724A-949532E09D47}" dt="2024-03-28T10:17:14.452" v="192"/>
          <ac:spMkLst>
            <pc:docMk/>
            <pc:sldMk cId="1693912635" sldId="2147480094"/>
            <ac:spMk id="7" creationId="{280A82AD-7D61-ADC1-F1D0-ED8BD59A68B5}"/>
          </ac:spMkLst>
        </pc:spChg>
        <pc:spChg chg="mod topLvl">
          <ac:chgData name="LeMons, Daniel" userId="S::dlemons@elogex.com::65097b81-23d4-411d-8a8e-a78030669d81" providerId="AD" clId="Web-{09C8AD21-97B7-0C7D-724A-949532E09D47}" dt="2024-03-28T10:17:14.452" v="192"/>
          <ac:spMkLst>
            <pc:docMk/>
            <pc:sldMk cId="1693912635" sldId="2147480094"/>
            <ac:spMk id="10" creationId="{D8D36DFA-B504-6CEF-39F4-400659FCFD80}"/>
          </ac:spMkLst>
        </pc:spChg>
        <pc:spChg chg="mod topLvl">
          <ac:chgData name="LeMons, Daniel" userId="S::dlemons@elogex.com::65097b81-23d4-411d-8a8e-a78030669d81" providerId="AD" clId="Web-{09C8AD21-97B7-0C7D-724A-949532E09D47}" dt="2024-03-28T10:17:14.452" v="192"/>
          <ac:spMkLst>
            <pc:docMk/>
            <pc:sldMk cId="1693912635" sldId="2147480094"/>
            <ac:spMk id="12" creationId="{27623BF4-BBE9-330E-3A36-803D2151CC9A}"/>
          </ac:spMkLst>
        </pc:spChg>
        <pc:grpChg chg="add del mod">
          <ac:chgData name="LeMons, Daniel" userId="S::dlemons@elogex.com::65097b81-23d4-411d-8a8e-a78030669d81" providerId="AD" clId="Web-{09C8AD21-97B7-0C7D-724A-949532E09D47}" dt="2024-03-28T10:17:14.452" v="192"/>
          <ac:grpSpMkLst>
            <pc:docMk/>
            <pc:sldMk cId="1693912635" sldId="2147480094"/>
            <ac:grpSpMk id="13" creationId="{CC764C9C-A6A2-790E-9319-1FDEFA3FB6EC}"/>
          </ac:grpSpMkLst>
        </pc:grpChg>
        <pc:picChg chg="del">
          <ac:chgData name="LeMons, Daniel" userId="S::dlemons@elogex.com::65097b81-23d4-411d-8a8e-a78030669d81" providerId="AD" clId="Web-{09C8AD21-97B7-0C7D-724A-949532E09D47}" dt="2024-03-28T10:16:20.743" v="184"/>
          <ac:picMkLst>
            <pc:docMk/>
            <pc:sldMk cId="1693912635" sldId="2147480094"/>
            <ac:picMk id="2" creationId="{97B19883-D4EA-F2CF-0C88-55759E5E565A}"/>
          </ac:picMkLst>
        </pc:picChg>
        <pc:picChg chg="del">
          <ac:chgData name="LeMons, Daniel" userId="S::dlemons@elogex.com::65097b81-23d4-411d-8a8e-a78030669d81" providerId="AD" clId="Web-{09C8AD21-97B7-0C7D-724A-949532E09D47}" dt="2024-03-28T10:16:20.743" v="185"/>
          <ac:picMkLst>
            <pc:docMk/>
            <pc:sldMk cId="1693912635" sldId="2147480094"/>
            <ac:picMk id="3" creationId="{1A6788CD-242D-2BC3-E152-E2ADF986F054}"/>
          </ac:picMkLst>
        </pc:picChg>
        <pc:picChg chg="mod topLvl">
          <ac:chgData name="LeMons, Daniel" userId="S::dlemons@elogex.com::65097b81-23d4-411d-8a8e-a78030669d81" providerId="AD" clId="Web-{09C8AD21-97B7-0C7D-724A-949532E09D47}" dt="2024-03-28T10:17:14.452" v="192"/>
          <ac:picMkLst>
            <pc:docMk/>
            <pc:sldMk cId="1693912635" sldId="2147480094"/>
            <ac:picMk id="4" creationId="{0C4CC30D-1694-782C-FD14-C9A6CEBABEB9}"/>
          </ac:picMkLst>
        </pc:picChg>
        <pc:picChg chg="mod topLvl">
          <ac:chgData name="LeMons, Daniel" userId="S::dlemons@elogex.com::65097b81-23d4-411d-8a8e-a78030669d81" providerId="AD" clId="Web-{09C8AD21-97B7-0C7D-724A-949532E09D47}" dt="2024-03-28T10:17:14.452" v="192"/>
          <ac:picMkLst>
            <pc:docMk/>
            <pc:sldMk cId="1693912635" sldId="2147480094"/>
            <ac:picMk id="6" creationId="{104B63F5-5FE5-450A-5D9E-2B75C63369E2}"/>
          </ac:picMkLst>
        </pc:picChg>
        <pc:picChg chg="mod topLvl">
          <ac:chgData name="LeMons, Daniel" userId="S::dlemons@elogex.com::65097b81-23d4-411d-8a8e-a78030669d81" providerId="AD" clId="Web-{09C8AD21-97B7-0C7D-724A-949532E09D47}" dt="2024-03-28T10:17:14.452" v="192"/>
          <ac:picMkLst>
            <pc:docMk/>
            <pc:sldMk cId="1693912635" sldId="2147480094"/>
            <ac:picMk id="8" creationId="{D0DFF1C2-6033-BF57-9383-F90AA0A7DA3F}"/>
          </ac:picMkLst>
        </pc:picChg>
        <pc:picChg chg="mod topLvl">
          <ac:chgData name="LeMons, Daniel" userId="S::dlemons@elogex.com::65097b81-23d4-411d-8a8e-a78030669d81" providerId="AD" clId="Web-{09C8AD21-97B7-0C7D-724A-949532E09D47}" dt="2024-03-28T10:17:14.452" v="192"/>
          <ac:picMkLst>
            <pc:docMk/>
            <pc:sldMk cId="1693912635" sldId="2147480094"/>
            <ac:picMk id="11" creationId="{F188B3C0-85C8-A740-7A77-28F592ECEC03}"/>
          </ac:picMkLst>
        </pc:picChg>
        <pc:picChg chg="add mod">
          <ac:chgData name="LeMons, Daniel" userId="S::dlemons@elogex.com::65097b81-23d4-411d-8a8e-a78030669d81" providerId="AD" clId="Web-{09C8AD21-97B7-0C7D-724A-949532E09D47}" dt="2024-03-28T10:16:54.561" v="190" actId="1076"/>
          <ac:picMkLst>
            <pc:docMk/>
            <pc:sldMk cId="1693912635" sldId="2147480094"/>
            <ac:picMk id="14" creationId="{686AD8A5-1D8E-5CC1-90C4-A622B761D76C}"/>
          </ac:picMkLst>
        </pc:picChg>
      </pc:sldChg>
      <pc:sldChg chg="addSp delSp modSp del">
        <pc:chgData name="LeMons, Daniel" userId="S::dlemons@elogex.com::65097b81-23d4-411d-8a8e-a78030669d81" providerId="AD" clId="Web-{09C8AD21-97B7-0C7D-724A-949532E09D47}" dt="2024-03-28T09:44:15.827" v="89"/>
        <pc:sldMkLst>
          <pc:docMk/>
          <pc:sldMk cId="3611435049" sldId="2147480097"/>
        </pc:sldMkLst>
        <pc:spChg chg="add del mod">
          <ac:chgData name="LeMons, Daniel" userId="S::dlemons@elogex.com::65097b81-23d4-411d-8a8e-a78030669d81" providerId="AD" clId="Web-{09C8AD21-97B7-0C7D-724A-949532E09D47}" dt="2024-03-28T09:28:27.362" v="49"/>
          <ac:spMkLst>
            <pc:docMk/>
            <pc:sldMk cId="3611435049" sldId="2147480097"/>
            <ac:spMk id="2" creationId="{0329E297-E798-08B1-A1CC-65371311D18E}"/>
          </ac:spMkLst>
        </pc:spChg>
        <pc:spChg chg="add del mod">
          <ac:chgData name="LeMons, Daniel" userId="S::dlemons@elogex.com::65097b81-23d4-411d-8a8e-a78030669d81" providerId="AD" clId="Web-{09C8AD21-97B7-0C7D-724A-949532E09D47}" dt="2024-03-28T09:27:51.955" v="30"/>
          <ac:spMkLst>
            <pc:docMk/>
            <pc:sldMk cId="3611435049" sldId="2147480097"/>
            <ac:spMk id="4" creationId="{20738115-6647-A454-5B04-7CF1E4CD1653}"/>
          </ac:spMkLst>
        </pc:spChg>
        <pc:spChg chg="add del mod">
          <ac:chgData name="LeMons, Daniel" userId="S::dlemons@elogex.com::65097b81-23d4-411d-8a8e-a78030669d81" providerId="AD" clId="Web-{09C8AD21-97B7-0C7D-724A-949532E09D47}" dt="2024-03-28T09:28:27.362" v="49"/>
          <ac:spMkLst>
            <pc:docMk/>
            <pc:sldMk cId="3611435049" sldId="2147480097"/>
            <ac:spMk id="7" creationId="{3D2AB47E-1029-838F-F5BA-AF6F8ACD574E}"/>
          </ac:spMkLst>
        </pc:spChg>
        <pc:spChg chg="add del mod">
          <ac:chgData name="LeMons, Daniel" userId="S::dlemons@elogex.com::65097b81-23d4-411d-8a8e-a78030669d81" providerId="AD" clId="Web-{09C8AD21-97B7-0C7D-724A-949532E09D47}" dt="2024-03-28T09:30:13.991" v="85"/>
          <ac:spMkLst>
            <pc:docMk/>
            <pc:sldMk cId="3611435049" sldId="2147480097"/>
            <ac:spMk id="10" creationId="{97F446A5-CFC3-F0B1-1062-D74B8371F6CB}"/>
          </ac:spMkLst>
        </pc:spChg>
        <pc:spChg chg="add del">
          <ac:chgData name="LeMons, Daniel" userId="S::dlemons@elogex.com::65097b81-23d4-411d-8a8e-a78030669d81" providerId="AD" clId="Web-{09C8AD21-97B7-0C7D-724A-949532E09D47}" dt="2024-03-28T09:28:39.925" v="61"/>
          <ac:spMkLst>
            <pc:docMk/>
            <pc:sldMk cId="3611435049" sldId="2147480097"/>
            <ac:spMk id="11" creationId="{CFF7E678-C21E-3A88-7A7D-646832986BAA}"/>
          </ac:spMkLst>
        </pc:spChg>
        <pc:spChg chg="add del">
          <ac:chgData name="LeMons, Daniel" userId="S::dlemons@elogex.com::65097b81-23d4-411d-8a8e-a78030669d81" providerId="AD" clId="Web-{09C8AD21-97B7-0C7D-724A-949532E09D47}" dt="2024-03-28T09:28:43.472" v="65"/>
          <ac:spMkLst>
            <pc:docMk/>
            <pc:sldMk cId="3611435049" sldId="2147480097"/>
            <ac:spMk id="13" creationId="{9591BC70-8805-97F7-F795-9E7A8B12FB7E}"/>
          </ac:spMkLst>
        </pc:spChg>
        <pc:spChg chg="add del mod">
          <ac:chgData name="LeMons, Daniel" userId="S::dlemons@elogex.com::65097b81-23d4-411d-8a8e-a78030669d81" providerId="AD" clId="Web-{09C8AD21-97B7-0C7D-724A-949532E09D47}" dt="2024-03-28T09:29:25.739" v="78"/>
          <ac:spMkLst>
            <pc:docMk/>
            <pc:sldMk cId="3611435049" sldId="2147480097"/>
            <ac:spMk id="14" creationId="{E1125DE0-C10A-616E-C8A1-ACFEB1423A66}"/>
          </ac:spMkLst>
        </pc:spChg>
        <pc:spChg chg="add del">
          <ac:chgData name="LeMons, Daniel" userId="S::dlemons@elogex.com::65097b81-23d4-411d-8a8e-a78030669d81" providerId="AD" clId="Web-{09C8AD21-97B7-0C7D-724A-949532E09D47}" dt="2024-03-28T09:28:39.925" v="60"/>
          <ac:spMkLst>
            <pc:docMk/>
            <pc:sldMk cId="3611435049" sldId="2147480097"/>
            <ac:spMk id="15" creationId="{357C8E22-DD4B-9E3D-18D7-8E08855F3764}"/>
          </ac:spMkLst>
        </pc:spChg>
        <pc:spChg chg="add del mod">
          <ac:chgData name="LeMons, Daniel" userId="S::dlemons@elogex.com::65097b81-23d4-411d-8a8e-a78030669d81" providerId="AD" clId="Web-{09C8AD21-97B7-0C7D-724A-949532E09D47}" dt="2024-03-28T09:30:13.991" v="84"/>
          <ac:spMkLst>
            <pc:docMk/>
            <pc:sldMk cId="3611435049" sldId="2147480097"/>
            <ac:spMk id="17" creationId="{86BC3CC5-EA57-97A1-E1D7-7EA570B26884}"/>
          </ac:spMkLst>
        </pc:spChg>
        <pc:spChg chg="add del">
          <ac:chgData name="LeMons, Daniel" userId="S::dlemons@elogex.com::65097b81-23d4-411d-8a8e-a78030669d81" providerId="AD" clId="Web-{09C8AD21-97B7-0C7D-724A-949532E09D47}" dt="2024-03-28T09:28:39.925" v="59"/>
          <ac:spMkLst>
            <pc:docMk/>
            <pc:sldMk cId="3611435049" sldId="2147480097"/>
            <ac:spMk id="19" creationId="{F0893FC4-8AF1-7EEB-AC21-313DEB5254D2}"/>
          </ac:spMkLst>
        </pc:spChg>
        <pc:spChg chg="add del">
          <ac:chgData name="LeMons, Daniel" userId="S::dlemons@elogex.com::65097b81-23d4-411d-8a8e-a78030669d81" providerId="AD" clId="Web-{09C8AD21-97B7-0C7D-724A-949532E09D47}" dt="2024-03-28T09:28:43.472" v="64"/>
          <ac:spMkLst>
            <pc:docMk/>
            <pc:sldMk cId="3611435049" sldId="2147480097"/>
            <ac:spMk id="21" creationId="{05C10136-DDA3-1F51-BE8E-1BACC69C61F4}"/>
          </ac:spMkLst>
        </pc:spChg>
        <pc:picChg chg="add del">
          <ac:chgData name="LeMons, Daniel" userId="S::dlemons@elogex.com::65097b81-23d4-411d-8a8e-a78030669d81" providerId="AD" clId="Web-{09C8AD21-97B7-0C7D-724A-949532E09D47}" dt="2024-03-28T09:28:01.908" v="39"/>
          <ac:picMkLst>
            <pc:docMk/>
            <pc:sldMk cId="3611435049" sldId="2147480097"/>
            <ac:picMk id="6" creationId="{4AB2E6A1-EE90-E4B9-153A-93A8AEC183BC}"/>
          </ac:picMkLst>
        </pc:picChg>
        <pc:picChg chg="add del">
          <ac:chgData name="LeMons, Daniel" userId="S::dlemons@elogex.com::65097b81-23d4-411d-8a8e-a78030669d81" providerId="AD" clId="Web-{09C8AD21-97B7-0C7D-724A-949532E09D47}" dt="2024-03-28T09:28:39.925" v="62"/>
          <ac:picMkLst>
            <pc:docMk/>
            <pc:sldMk cId="3611435049" sldId="2147480097"/>
            <ac:picMk id="9" creationId="{1E96AD1B-F7ED-F3CC-1DA3-BECEB82A38F7}"/>
          </ac:picMkLst>
        </pc:picChg>
        <pc:picChg chg="add del mod">
          <ac:chgData name="LeMons, Daniel" userId="S::dlemons@elogex.com::65097b81-23d4-411d-8a8e-a78030669d81" providerId="AD" clId="Web-{09C8AD21-97B7-0C7D-724A-949532E09D47}" dt="2024-03-28T09:30:13.991" v="83"/>
          <ac:picMkLst>
            <pc:docMk/>
            <pc:sldMk cId="3611435049" sldId="2147480097"/>
            <ac:picMk id="20" creationId="{33BB53AC-3586-2965-C269-34EC7BE42B42}"/>
          </ac:picMkLst>
        </pc:picChg>
        <pc:picChg chg="add mod">
          <ac:chgData name="LeMons, Daniel" userId="S::dlemons@elogex.com::65097b81-23d4-411d-8a8e-a78030669d81" providerId="AD" clId="Web-{09C8AD21-97B7-0C7D-724A-949532E09D47}" dt="2024-03-28T09:41:57.541" v="86"/>
          <ac:picMkLst>
            <pc:docMk/>
            <pc:sldMk cId="3611435049" sldId="2147480097"/>
            <ac:picMk id="22" creationId="{EF7073BB-47F4-CADB-F566-EC2DFC0EABA7}"/>
          </ac:picMkLst>
        </pc:picChg>
        <pc:picChg chg="add del">
          <ac:chgData name="LeMons, Daniel" userId="S::dlemons@elogex.com::65097b81-23d4-411d-8a8e-a78030669d81" providerId="AD" clId="Web-{09C8AD21-97B7-0C7D-724A-949532E09D47}" dt="2024-03-28T09:28:43.472" v="63"/>
          <ac:picMkLst>
            <pc:docMk/>
            <pc:sldMk cId="3611435049" sldId="2147480097"/>
            <ac:picMk id="23" creationId="{2DD8B11C-F504-BEA0-1181-FFDA8AD361AE}"/>
          </ac:picMkLst>
        </pc:picChg>
        <pc:picChg chg="add del">
          <ac:chgData name="LeMons, Daniel" userId="S::dlemons@elogex.com::65097b81-23d4-411d-8a8e-a78030669d81" providerId="AD" clId="Web-{09C8AD21-97B7-0C7D-724A-949532E09D47}" dt="2024-03-28T09:28:39.925" v="58"/>
          <ac:picMkLst>
            <pc:docMk/>
            <pc:sldMk cId="3611435049" sldId="2147480097"/>
            <ac:picMk id="25" creationId="{08A57211-0AB6-E099-C83F-FD41EC7E15FA}"/>
          </ac:picMkLst>
        </pc:picChg>
      </pc:sldChg>
      <pc:sldChg chg="modSp">
        <pc:chgData name="LeMons, Daniel" userId="S::dlemons@elogex.com::65097b81-23d4-411d-8a8e-a78030669d81" providerId="AD" clId="Web-{09C8AD21-97B7-0C7D-724A-949532E09D47}" dt="2024-03-28T09:48:19.664" v="106"/>
        <pc:sldMkLst>
          <pc:docMk/>
          <pc:sldMk cId="3429014890" sldId="2147480119"/>
        </pc:sldMkLst>
        <pc:grpChg chg="mod">
          <ac:chgData name="LeMons, Daniel" userId="S::dlemons@elogex.com::65097b81-23d4-411d-8a8e-a78030669d81" providerId="AD" clId="Web-{09C8AD21-97B7-0C7D-724A-949532E09D47}" dt="2024-03-28T08:54:34.525" v="6" actId="1076"/>
          <ac:grpSpMkLst>
            <pc:docMk/>
            <pc:sldMk cId="3429014890" sldId="2147480119"/>
            <ac:grpSpMk id="67" creationId="{DB95FA64-E2BC-46D3-B1B3-451FB312CCD3}"/>
          </ac:grpSpMkLst>
        </pc:grpChg>
        <pc:graphicFrameChg chg="mod modGraphic">
          <ac:chgData name="LeMons, Daniel" userId="S::dlemons@elogex.com::65097b81-23d4-411d-8a8e-a78030669d81" providerId="AD" clId="Web-{09C8AD21-97B7-0C7D-724A-949532E09D47}" dt="2024-03-28T09:48:19.664" v="106"/>
          <ac:graphicFrameMkLst>
            <pc:docMk/>
            <pc:sldMk cId="3429014890" sldId="2147480119"/>
            <ac:graphicFrameMk id="3" creationId="{1C312072-B092-412E-81AA-32A802D2C4FF}"/>
          </ac:graphicFrameMkLst>
        </pc:graphicFrameChg>
      </pc:sldChg>
      <pc:sldChg chg="modSp">
        <pc:chgData name="LeMons, Daniel" userId="S::dlemons@elogex.com::65097b81-23d4-411d-8a8e-a78030669d81" providerId="AD" clId="Web-{09C8AD21-97B7-0C7D-724A-949532E09D47}" dt="2024-03-28T10:35:57.322" v="320"/>
        <pc:sldMkLst>
          <pc:docMk/>
          <pc:sldMk cId="2930427818" sldId="2147480123"/>
        </pc:sldMkLst>
        <pc:graphicFrameChg chg="mod modGraphic">
          <ac:chgData name="LeMons, Daniel" userId="S::dlemons@elogex.com::65097b81-23d4-411d-8a8e-a78030669d81" providerId="AD" clId="Web-{09C8AD21-97B7-0C7D-724A-949532E09D47}" dt="2024-03-28T10:35:57.322" v="320"/>
          <ac:graphicFrameMkLst>
            <pc:docMk/>
            <pc:sldMk cId="2930427818" sldId="2147480123"/>
            <ac:graphicFrameMk id="9" creationId="{EBC76674-D92C-0398-CE76-269AE286316D}"/>
          </ac:graphicFrameMkLst>
        </pc:graphicFrameChg>
      </pc:sldChg>
      <pc:sldChg chg="addSp modSp add del">
        <pc:chgData name="LeMons, Daniel" userId="S::dlemons@elogex.com::65097b81-23d4-411d-8a8e-a78030669d81" providerId="AD" clId="Web-{09C8AD21-97B7-0C7D-724A-949532E09D47}" dt="2024-03-28T11:08:06.532" v="337"/>
        <pc:sldMkLst>
          <pc:docMk/>
          <pc:sldMk cId="1287383114" sldId="2147480126"/>
        </pc:sldMkLst>
        <pc:graphicFrameChg chg="mod modGraphic">
          <ac:chgData name="LeMons, Daniel" userId="S::dlemons@elogex.com::65097b81-23d4-411d-8a8e-a78030669d81" providerId="AD" clId="Web-{09C8AD21-97B7-0C7D-724A-949532E09D47}" dt="2024-03-28T11:08:06.532" v="337"/>
          <ac:graphicFrameMkLst>
            <pc:docMk/>
            <pc:sldMk cId="1287383114" sldId="2147480126"/>
            <ac:graphicFrameMk id="55" creationId="{BAD24F01-D7F4-BF36-D16C-1074A0E6487F}"/>
          </ac:graphicFrameMkLst>
        </pc:graphicFrameChg>
        <pc:picChg chg="add mod">
          <ac:chgData name="LeMons, Daniel" userId="S::dlemons@elogex.com::65097b81-23d4-411d-8a8e-a78030669d81" providerId="AD" clId="Web-{09C8AD21-97B7-0C7D-724A-949532E09D47}" dt="2024-03-28T09:45:33.079" v="90"/>
          <ac:picMkLst>
            <pc:docMk/>
            <pc:sldMk cId="1287383114" sldId="2147480126"/>
            <ac:picMk id="4" creationId="{E97A9151-53D5-980B-D896-4E7FFB70BE46}"/>
          </ac:picMkLst>
        </pc:picChg>
      </pc:sldChg>
      <pc:sldChg chg="add">
        <pc:chgData name="LeMons, Daniel" userId="S::dlemons@elogex.com::65097b81-23d4-411d-8a8e-a78030669d81" providerId="AD" clId="Web-{09C8AD21-97B7-0C7D-724A-949532E09D47}" dt="2024-03-28T11:07:36.640" v="332"/>
        <pc:sldMkLst>
          <pc:docMk/>
          <pc:sldMk cId="3502658628" sldId="2147480127"/>
        </pc:sldMkLst>
      </pc:sldChg>
      <pc:sldChg chg="add">
        <pc:chgData name="LeMons, Daniel" userId="S::dlemons@elogex.com::65097b81-23d4-411d-8a8e-a78030669d81" providerId="AD" clId="Web-{09C8AD21-97B7-0C7D-724A-949532E09D47}" dt="2024-03-28T11:07:36.328" v="331"/>
        <pc:sldMkLst>
          <pc:docMk/>
          <pc:sldMk cId="971165485" sldId="2147480128"/>
        </pc:sldMkLst>
      </pc:sldChg>
      <pc:sldChg chg="delSp modSp del">
        <pc:chgData name="LeMons, Daniel" userId="S::dlemons@elogex.com::65097b81-23d4-411d-8a8e-a78030669d81" providerId="AD" clId="Web-{09C8AD21-97B7-0C7D-724A-949532E09D47}" dt="2024-03-28T10:11:19.105" v="142"/>
        <pc:sldMkLst>
          <pc:docMk/>
          <pc:sldMk cId="3455251766" sldId="2147480129"/>
        </pc:sldMkLst>
        <pc:spChg chg="mod">
          <ac:chgData name="LeMons, Daniel" userId="S::dlemons@elogex.com::65097b81-23d4-411d-8a8e-a78030669d81" providerId="AD" clId="Web-{09C8AD21-97B7-0C7D-724A-949532E09D47}" dt="2024-03-28T09:49:27.140" v="107"/>
          <ac:spMkLst>
            <pc:docMk/>
            <pc:sldMk cId="3455251766" sldId="2147480129"/>
            <ac:spMk id="3" creationId="{27CB820E-ED16-2A8E-E527-F8E89105E1DE}"/>
          </ac:spMkLst>
        </pc:spChg>
        <pc:spChg chg="mod">
          <ac:chgData name="LeMons, Daniel" userId="S::dlemons@elogex.com::65097b81-23d4-411d-8a8e-a78030669d81" providerId="AD" clId="Web-{09C8AD21-97B7-0C7D-724A-949532E09D47}" dt="2024-03-28T09:51:30.503" v="138" actId="20577"/>
          <ac:spMkLst>
            <pc:docMk/>
            <pc:sldMk cId="3455251766" sldId="2147480129"/>
            <ac:spMk id="6" creationId="{ACA393EB-151A-701E-E8B1-131408E18CDC}"/>
          </ac:spMkLst>
        </pc:spChg>
        <pc:picChg chg="del">
          <ac:chgData name="LeMons, Daniel" userId="S::dlemons@elogex.com::65097b81-23d4-411d-8a8e-a78030669d81" providerId="AD" clId="Web-{09C8AD21-97B7-0C7D-724A-949532E09D47}" dt="2024-03-28T09:51:30.644" v="139"/>
          <ac:picMkLst>
            <pc:docMk/>
            <pc:sldMk cId="3455251766" sldId="2147480129"/>
            <ac:picMk id="4" creationId="{4B9DAF42-D801-41FD-8C1C-E4E1F80E3B20}"/>
          </ac:picMkLst>
        </pc:picChg>
        <pc:picChg chg="del">
          <ac:chgData name="LeMons, Daniel" userId="S::dlemons@elogex.com::65097b81-23d4-411d-8a8e-a78030669d81" providerId="AD" clId="Web-{09C8AD21-97B7-0C7D-724A-949532E09D47}" dt="2024-03-28T09:51:30.644" v="140"/>
          <ac:picMkLst>
            <pc:docMk/>
            <pc:sldMk cId="3455251766" sldId="2147480129"/>
            <ac:picMk id="9" creationId="{8F07AA6B-201B-C667-D103-745BA75D89DC}"/>
          </ac:picMkLst>
        </pc:picChg>
      </pc:sldChg>
      <pc:sldChg chg="addSp modSp del">
        <pc:chgData name="LeMons, Daniel" userId="S::dlemons@elogex.com::65097b81-23d4-411d-8a8e-a78030669d81" providerId="AD" clId="Web-{09C8AD21-97B7-0C7D-724A-949532E09D47}" dt="2024-03-28T09:44:03.092" v="88"/>
        <pc:sldMkLst>
          <pc:docMk/>
          <pc:sldMk cId="954045621" sldId="2147480131"/>
        </pc:sldMkLst>
        <pc:picChg chg="add mod">
          <ac:chgData name="LeMons, Daniel" userId="S::dlemons@elogex.com::65097b81-23d4-411d-8a8e-a78030669d81" providerId="AD" clId="Web-{09C8AD21-97B7-0C7D-724A-949532E09D47}" dt="2024-03-28T09:43:33.872" v="87"/>
          <ac:picMkLst>
            <pc:docMk/>
            <pc:sldMk cId="954045621" sldId="2147480131"/>
            <ac:picMk id="5" creationId="{1E1D4B79-E5C6-A1A0-538C-628244F6A0C5}"/>
          </ac:picMkLst>
        </pc:picChg>
      </pc:sldChg>
      <pc:sldChg chg="modSp add">
        <pc:chgData name="LeMons, Daniel" userId="S::dlemons@elogex.com::65097b81-23d4-411d-8a8e-a78030669d81" providerId="AD" clId="Web-{09C8AD21-97B7-0C7D-724A-949532E09D47}" dt="2024-03-28T10:33:07.143" v="242" actId="20577"/>
        <pc:sldMkLst>
          <pc:docMk/>
          <pc:sldMk cId="1577128654" sldId="2147480131"/>
        </pc:sldMkLst>
        <pc:spChg chg="mod">
          <ac:chgData name="LeMons, Daniel" userId="S::dlemons@elogex.com::65097b81-23d4-411d-8a8e-a78030669d81" providerId="AD" clId="Web-{09C8AD21-97B7-0C7D-724A-949532E09D47}" dt="2024-03-28T10:33:07.143" v="242" actId="20577"/>
          <ac:spMkLst>
            <pc:docMk/>
            <pc:sldMk cId="1577128654" sldId="2147480131"/>
            <ac:spMk id="5" creationId="{8F6EFACD-3FB3-538A-B211-980368F57CC3}"/>
          </ac:spMkLst>
        </pc:spChg>
      </pc:sldChg>
      <pc:sldChg chg="addSp delSp modSp del">
        <pc:chgData name="LeMons, Daniel" userId="S::dlemons@elogex.com::65097b81-23d4-411d-8a8e-a78030669d81" providerId="AD" clId="Web-{09C8AD21-97B7-0C7D-724A-949532E09D47}" dt="2024-03-28T09:30:06.069" v="82"/>
        <pc:sldMkLst>
          <pc:docMk/>
          <pc:sldMk cId="1943466375" sldId="2147480132"/>
        </pc:sldMkLst>
        <pc:spChg chg="mod">
          <ac:chgData name="LeMons, Daniel" userId="S::dlemons@elogex.com::65097b81-23d4-411d-8a8e-a78030669d81" providerId="AD" clId="Web-{09C8AD21-97B7-0C7D-724A-949532E09D47}" dt="2024-03-28T09:27:32.861" v="27" actId="1076"/>
          <ac:spMkLst>
            <pc:docMk/>
            <pc:sldMk cId="1943466375" sldId="2147480132"/>
            <ac:spMk id="2" creationId="{7C082A7E-E310-17E3-E129-649341E980C1}"/>
          </ac:spMkLst>
        </pc:spChg>
        <pc:picChg chg="add del mod">
          <ac:chgData name="LeMons, Daniel" userId="S::dlemons@elogex.com::65097b81-23d4-411d-8a8e-a78030669d81" providerId="AD" clId="Web-{09C8AD21-97B7-0C7D-724A-949532E09D47}" dt="2024-03-28T09:27:44.767" v="29" actId="1076"/>
          <ac:picMkLst>
            <pc:docMk/>
            <pc:sldMk cId="1943466375" sldId="2147480132"/>
            <ac:picMk id="3" creationId="{E9343A85-48B5-3D15-9740-DA38AE70ABB6}"/>
          </ac:picMkLst>
        </pc:picChg>
      </pc:sldChg>
      <pc:sldChg chg="modSp">
        <pc:chgData name="LeMons, Daniel" userId="S::dlemons@elogex.com::65097b81-23d4-411d-8a8e-a78030669d81" providerId="AD" clId="Web-{09C8AD21-97B7-0C7D-724A-949532E09D47}" dt="2024-03-28T10:37:28.295" v="330" actId="14100"/>
        <pc:sldMkLst>
          <pc:docMk/>
          <pc:sldMk cId="2638490646" sldId="2147480135"/>
        </pc:sldMkLst>
        <pc:graphicFrameChg chg="mod">
          <ac:chgData name="LeMons, Daniel" userId="S::dlemons@elogex.com::65097b81-23d4-411d-8a8e-a78030669d81" providerId="AD" clId="Web-{09C8AD21-97B7-0C7D-724A-949532E09D47}" dt="2024-03-28T10:37:28.295" v="330" actId="14100"/>
          <ac:graphicFrameMkLst>
            <pc:docMk/>
            <pc:sldMk cId="2638490646" sldId="2147480135"/>
            <ac:graphicFrameMk id="9" creationId="{1D77DC48-5028-B020-472E-05C3A4A8B91D}"/>
          </ac:graphicFrameMkLst>
        </pc:graphicFrameChg>
      </pc:sldChg>
      <pc:sldChg chg="modSp add">
        <pc:chgData name="LeMons, Daniel" userId="S::dlemons@elogex.com::65097b81-23d4-411d-8a8e-a78030669d81" providerId="AD" clId="Web-{09C8AD21-97B7-0C7D-724A-949532E09D47}" dt="2024-03-28T09:47:02.395" v="98" actId="20577"/>
        <pc:sldMkLst>
          <pc:docMk/>
          <pc:sldMk cId="3435256583" sldId="2147480136"/>
        </pc:sldMkLst>
        <pc:spChg chg="mod">
          <ac:chgData name="LeMons, Daniel" userId="S::dlemons@elogex.com::65097b81-23d4-411d-8a8e-a78030669d81" providerId="AD" clId="Web-{09C8AD21-97B7-0C7D-724A-949532E09D47}" dt="2024-03-28T09:47:02.395" v="98" actId="20577"/>
          <ac:spMkLst>
            <pc:docMk/>
            <pc:sldMk cId="3435256583" sldId="2147480136"/>
            <ac:spMk id="2" creationId="{0329E297-E798-08B1-A1CC-65371311D18E}"/>
          </ac:spMkLst>
        </pc:spChg>
      </pc:sldChg>
      <pc:sldChg chg="modSp add">
        <pc:chgData name="LeMons, Daniel" userId="S::dlemons@elogex.com::65097b81-23d4-411d-8a8e-a78030669d81" providerId="AD" clId="Web-{09C8AD21-97B7-0C7D-724A-949532E09D47}" dt="2024-03-28T10:36:52.950" v="329" actId="20577"/>
        <pc:sldMkLst>
          <pc:docMk/>
          <pc:sldMk cId="1287349681" sldId="2147480137"/>
        </pc:sldMkLst>
        <pc:spChg chg="mod">
          <ac:chgData name="LeMons, Daniel" userId="S::dlemons@elogex.com::65097b81-23d4-411d-8a8e-a78030669d81" providerId="AD" clId="Web-{09C8AD21-97B7-0C7D-724A-949532E09D47}" dt="2024-03-28T10:13:35.564" v="180" actId="14100"/>
          <ac:spMkLst>
            <pc:docMk/>
            <pc:sldMk cId="1287349681" sldId="2147480137"/>
            <ac:spMk id="3" creationId="{27CB820E-ED16-2A8E-E527-F8E89105E1DE}"/>
          </ac:spMkLst>
        </pc:spChg>
        <pc:spChg chg="mod">
          <ac:chgData name="LeMons, Daniel" userId="S::dlemons@elogex.com::65097b81-23d4-411d-8a8e-a78030669d81" providerId="AD" clId="Web-{09C8AD21-97B7-0C7D-724A-949532E09D47}" dt="2024-03-28T10:36:52.950" v="329" actId="20577"/>
          <ac:spMkLst>
            <pc:docMk/>
            <pc:sldMk cId="1287349681" sldId="2147480137"/>
            <ac:spMk id="6" creationId="{ACA393EB-151A-701E-E8B1-131408E18CDC}"/>
          </ac:spMkLst>
        </pc:spChg>
        <pc:picChg chg="mod">
          <ac:chgData name="LeMons, Daniel" userId="S::dlemons@elogex.com::65097b81-23d4-411d-8a8e-a78030669d81" providerId="AD" clId="Web-{09C8AD21-97B7-0C7D-724A-949532E09D47}" dt="2024-03-28T10:13:57.971" v="181" actId="14100"/>
          <ac:picMkLst>
            <pc:docMk/>
            <pc:sldMk cId="1287349681" sldId="2147480137"/>
            <ac:picMk id="4" creationId="{F1CC73EC-7986-28B7-8298-C5D43255955D}"/>
          </ac:picMkLst>
        </pc:picChg>
        <pc:picChg chg="mod">
          <ac:chgData name="LeMons, Daniel" userId="S::dlemons@elogex.com::65097b81-23d4-411d-8a8e-a78030669d81" providerId="AD" clId="Web-{09C8AD21-97B7-0C7D-724A-949532E09D47}" dt="2024-03-28T10:13:58.018" v="182" actId="14100"/>
          <ac:picMkLst>
            <pc:docMk/>
            <pc:sldMk cId="1287349681" sldId="2147480137"/>
            <ac:picMk id="9" creationId="{BE954F9A-6E4D-E092-9B78-7E58A43AC6AC}"/>
          </ac:picMkLst>
        </pc:picChg>
      </pc:sldChg>
      <pc:sldChg chg="add">
        <pc:chgData name="LeMons, Daniel" userId="S::dlemons@elogex.com::65097b81-23d4-411d-8a8e-a78030669d81" providerId="AD" clId="Web-{09C8AD21-97B7-0C7D-724A-949532E09D47}" dt="2024-03-28T11:27:19.331" v="338"/>
        <pc:sldMkLst>
          <pc:docMk/>
          <pc:sldMk cId="2272208059" sldId="2147480139"/>
        </pc:sldMkLst>
      </pc:sldChg>
    </pc:docChg>
  </pc:docChgLst>
  <pc:docChgLst>
    <pc:chgData name="Karmakar, Sumit" userId="S::skarmakar@elogex.com::5d020034-ff2c-4e7e-8d00-e94708d613b2" providerId="AD" clId="Web-{E5BBEF98-84F4-508B-0218-E44D0E2BEC63}"/>
    <pc:docChg chg="modSld">
      <pc:chgData name="Karmakar, Sumit" userId="S::skarmakar@elogex.com::5d020034-ff2c-4e7e-8d00-e94708d613b2" providerId="AD" clId="Web-{E5BBEF98-84F4-508B-0218-E44D0E2BEC63}" dt="2024-03-28T12:40:49.183" v="384" actId="1076"/>
      <pc:docMkLst>
        <pc:docMk/>
      </pc:docMkLst>
      <pc:sldChg chg="addSp delSp modSp">
        <pc:chgData name="Karmakar, Sumit" userId="S::skarmakar@elogex.com::5d020034-ff2c-4e7e-8d00-e94708d613b2" providerId="AD" clId="Web-{E5BBEF98-84F4-508B-0218-E44D0E2BEC63}" dt="2024-03-28T12:40:49.183" v="384" actId="1076"/>
        <pc:sldMkLst>
          <pc:docMk/>
          <pc:sldMk cId="1434049183" sldId="2126986164"/>
        </pc:sldMkLst>
        <pc:picChg chg="add del mod">
          <ac:chgData name="Karmakar, Sumit" userId="S::skarmakar@elogex.com::5d020034-ff2c-4e7e-8d00-e94708d613b2" providerId="AD" clId="Web-{E5BBEF98-84F4-508B-0218-E44D0E2BEC63}" dt="2024-03-28T12:39:29.899" v="376"/>
          <ac:picMkLst>
            <pc:docMk/>
            <pc:sldMk cId="1434049183" sldId="2126986164"/>
            <ac:picMk id="4" creationId="{1D82DA53-E398-9135-3A04-0BC04FB6D0F2}"/>
          </ac:picMkLst>
        </pc:picChg>
        <pc:picChg chg="add mod">
          <ac:chgData name="Karmakar, Sumit" userId="S::skarmakar@elogex.com::5d020034-ff2c-4e7e-8d00-e94708d613b2" providerId="AD" clId="Web-{E5BBEF98-84F4-508B-0218-E44D0E2BEC63}" dt="2024-03-28T12:40:49.183" v="384" actId="1076"/>
          <ac:picMkLst>
            <pc:docMk/>
            <pc:sldMk cId="1434049183" sldId="2126986164"/>
            <ac:picMk id="6" creationId="{AC919731-A265-E161-CFB9-6054C1B4F960}"/>
          </ac:picMkLst>
        </pc:picChg>
      </pc:sldChg>
      <pc:sldChg chg="modSp">
        <pc:chgData name="Karmakar, Sumit" userId="S::skarmakar@elogex.com::5d020034-ff2c-4e7e-8d00-e94708d613b2" providerId="AD" clId="Web-{E5BBEF98-84F4-508B-0218-E44D0E2BEC63}" dt="2024-03-28T12:36:34.924" v="353" actId="1076"/>
        <pc:sldMkLst>
          <pc:docMk/>
          <pc:sldMk cId="3118094164" sldId="2147480101"/>
        </pc:sldMkLst>
        <pc:spChg chg="mod">
          <ac:chgData name="Karmakar, Sumit" userId="S::skarmakar@elogex.com::5d020034-ff2c-4e7e-8d00-e94708d613b2" providerId="AD" clId="Web-{E5BBEF98-84F4-508B-0218-E44D0E2BEC63}" dt="2024-03-28T12:35:16.046" v="343" actId="20577"/>
          <ac:spMkLst>
            <pc:docMk/>
            <pc:sldMk cId="3118094164" sldId="2147480101"/>
            <ac:spMk id="9" creationId="{7FBA4B87-97CE-C427-F2E6-4E29EF3AAD3C}"/>
          </ac:spMkLst>
        </pc:spChg>
        <pc:spChg chg="mod">
          <ac:chgData name="Karmakar, Sumit" userId="S::skarmakar@elogex.com::5d020034-ff2c-4e7e-8d00-e94708d613b2" providerId="AD" clId="Web-{E5BBEF98-84F4-508B-0218-E44D0E2BEC63}" dt="2024-03-28T12:36:34.893" v="352" actId="1076"/>
          <ac:spMkLst>
            <pc:docMk/>
            <pc:sldMk cId="3118094164" sldId="2147480101"/>
            <ac:spMk id="36" creationId="{4F3FA2A9-9386-4CA6-8C37-40B2EE3659D8}"/>
          </ac:spMkLst>
        </pc:spChg>
        <pc:spChg chg="mod">
          <ac:chgData name="Karmakar, Sumit" userId="S::skarmakar@elogex.com::5d020034-ff2c-4e7e-8d00-e94708d613b2" providerId="AD" clId="Web-{E5BBEF98-84F4-508B-0218-E44D0E2BEC63}" dt="2024-03-28T12:36:34.924" v="353" actId="1076"/>
          <ac:spMkLst>
            <pc:docMk/>
            <pc:sldMk cId="3118094164" sldId="2147480101"/>
            <ac:spMk id="38" creationId="{9B4FEC95-A79C-9E20-2BCB-542D6E45C3DF}"/>
          </ac:spMkLst>
        </pc:spChg>
        <pc:graphicFrameChg chg="mod">
          <ac:chgData name="Karmakar, Sumit" userId="S::skarmakar@elogex.com::5d020034-ff2c-4e7e-8d00-e94708d613b2" providerId="AD" clId="Web-{E5BBEF98-84F4-508B-0218-E44D0E2BEC63}" dt="2024-03-28T12:36:14.564" v="350" actId="1076"/>
          <ac:graphicFrameMkLst>
            <pc:docMk/>
            <pc:sldMk cId="3118094164" sldId="2147480101"/>
            <ac:graphicFrameMk id="3" creationId="{A0C264A5-87A4-39BA-F813-F8DBD0595773}"/>
          </ac:graphicFrameMkLst>
        </pc:graphicFrameChg>
      </pc:sldChg>
      <pc:sldChg chg="modSp">
        <pc:chgData name="Karmakar, Sumit" userId="S::skarmakar@elogex.com::5d020034-ff2c-4e7e-8d00-e94708d613b2" providerId="AD" clId="Web-{E5BBEF98-84F4-508B-0218-E44D0E2BEC63}" dt="2024-03-28T12:35:03.530" v="341" actId="20577"/>
        <pc:sldMkLst>
          <pc:docMk/>
          <pc:sldMk cId="50788646" sldId="2147480107"/>
        </pc:sldMkLst>
        <pc:spChg chg="mod">
          <ac:chgData name="Karmakar, Sumit" userId="S::skarmakar@elogex.com::5d020034-ff2c-4e7e-8d00-e94708d613b2" providerId="AD" clId="Web-{E5BBEF98-84F4-508B-0218-E44D0E2BEC63}" dt="2024-03-28T12:34:38.279" v="336" actId="20577"/>
          <ac:spMkLst>
            <pc:docMk/>
            <pc:sldMk cId="50788646" sldId="2147480107"/>
            <ac:spMk id="9" creationId="{7FBA4B87-97CE-C427-F2E6-4E29EF3AAD3C}"/>
          </ac:spMkLst>
        </pc:spChg>
        <pc:spChg chg="mod">
          <ac:chgData name="Karmakar, Sumit" userId="S::skarmakar@elogex.com::5d020034-ff2c-4e7e-8d00-e94708d613b2" providerId="AD" clId="Web-{E5BBEF98-84F4-508B-0218-E44D0E2BEC63}" dt="2024-03-28T12:35:03.530" v="341" actId="20577"/>
          <ac:spMkLst>
            <pc:docMk/>
            <pc:sldMk cId="50788646" sldId="2147480107"/>
            <ac:spMk id="15" creationId="{1F7BCB79-682D-216B-E063-16CE18D59036}"/>
          </ac:spMkLst>
        </pc:spChg>
      </pc:sldChg>
      <pc:sldChg chg="modSp">
        <pc:chgData name="Karmakar, Sumit" userId="S::skarmakar@elogex.com::5d020034-ff2c-4e7e-8d00-e94708d613b2" providerId="AD" clId="Web-{E5BBEF98-84F4-508B-0218-E44D0E2BEC63}" dt="2024-03-28T12:37:34.207" v="364" actId="20577"/>
        <pc:sldMkLst>
          <pc:docMk/>
          <pc:sldMk cId="2511647518" sldId="2147480110"/>
        </pc:sldMkLst>
        <pc:spChg chg="mod">
          <ac:chgData name="Karmakar, Sumit" userId="S::skarmakar@elogex.com::5d020034-ff2c-4e7e-8d00-e94708d613b2" providerId="AD" clId="Web-{E5BBEF98-84F4-508B-0218-E44D0E2BEC63}" dt="2024-03-28T12:36:52.409" v="355" actId="20577"/>
          <ac:spMkLst>
            <pc:docMk/>
            <pc:sldMk cId="2511647518" sldId="2147480110"/>
            <ac:spMk id="3" creationId="{245AEFFC-310E-725E-C6BB-54C2096FD0BD}"/>
          </ac:spMkLst>
        </pc:spChg>
        <pc:spChg chg="mod">
          <ac:chgData name="Karmakar, Sumit" userId="S::skarmakar@elogex.com::5d020034-ff2c-4e7e-8d00-e94708d613b2" providerId="AD" clId="Web-{E5BBEF98-84F4-508B-0218-E44D0E2BEC63}" dt="2024-03-28T12:37:34.207" v="364" actId="20577"/>
          <ac:spMkLst>
            <pc:docMk/>
            <pc:sldMk cId="2511647518" sldId="2147480110"/>
            <ac:spMk id="6" creationId="{2BF0ABF6-C04A-85B8-E4A7-8EC337656637}"/>
          </ac:spMkLst>
        </pc:spChg>
      </pc:sldChg>
      <pc:sldChg chg="modSp">
        <pc:chgData name="Karmakar, Sumit" userId="S::skarmakar@elogex.com::5d020034-ff2c-4e7e-8d00-e94708d613b2" providerId="AD" clId="Web-{E5BBEF98-84F4-508B-0218-E44D0E2BEC63}" dt="2024-03-28T12:38:07.224" v="369" actId="20577"/>
        <pc:sldMkLst>
          <pc:docMk/>
          <pc:sldMk cId="4003192555" sldId="2147480111"/>
        </pc:sldMkLst>
        <pc:spChg chg="mod">
          <ac:chgData name="Karmakar, Sumit" userId="S::skarmakar@elogex.com::5d020034-ff2c-4e7e-8d00-e94708d613b2" providerId="AD" clId="Web-{E5BBEF98-84F4-508B-0218-E44D0E2BEC63}" dt="2024-03-28T12:38:07.224" v="369" actId="20577"/>
          <ac:spMkLst>
            <pc:docMk/>
            <pc:sldMk cId="4003192555" sldId="2147480111"/>
            <ac:spMk id="9" creationId="{7FBA4B87-97CE-C427-F2E6-4E29EF3AAD3C}"/>
          </ac:spMkLst>
        </pc:spChg>
      </pc:sldChg>
      <pc:sldChg chg="modSp">
        <pc:chgData name="Karmakar, Sumit" userId="S::skarmakar@elogex.com::5d020034-ff2c-4e7e-8d00-e94708d613b2" providerId="AD" clId="Web-{E5BBEF98-84F4-508B-0218-E44D0E2BEC63}" dt="2024-03-28T12:37:58.396" v="367" actId="20577"/>
        <pc:sldMkLst>
          <pc:docMk/>
          <pc:sldMk cId="1434896387" sldId="2147480116"/>
        </pc:sldMkLst>
        <pc:spChg chg="mod">
          <ac:chgData name="Karmakar, Sumit" userId="S::skarmakar@elogex.com::5d020034-ff2c-4e7e-8d00-e94708d613b2" providerId="AD" clId="Web-{E5BBEF98-84F4-508B-0218-E44D0E2BEC63}" dt="2024-03-28T12:37:58.396" v="367" actId="20577"/>
          <ac:spMkLst>
            <pc:docMk/>
            <pc:sldMk cId="1434896387" sldId="2147480116"/>
            <ac:spMk id="9" creationId="{7FBA4B87-97CE-C427-F2E6-4E29EF3AAD3C}"/>
          </ac:spMkLst>
        </pc:spChg>
      </pc:sldChg>
      <pc:sldChg chg="modSp">
        <pc:chgData name="Karmakar, Sumit" userId="S::skarmakar@elogex.com::5d020034-ff2c-4e7e-8d00-e94708d613b2" providerId="AD" clId="Web-{E5BBEF98-84F4-508B-0218-E44D0E2BEC63}" dt="2024-03-28T12:22:00.049" v="237" actId="20577"/>
        <pc:sldMkLst>
          <pc:docMk/>
          <pc:sldMk cId="3429014890" sldId="2147480119"/>
        </pc:sldMkLst>
        <pc:spChg chg="mod">
          <ac:chgData name="Karmakar, Sumit" userId="S::skarmakar@elogex.com::5d020034-ff2c-4e7e-8d00-e94708d613b2" providerId="AD" clId="Web-{E5BBEF98-84F4-508B-0218-E44D0E2BEC63}" dt="2024-03-28T12:22:00.049" v="237" actId="20577"/>
          <ac:spMkLst>
            <pc:docMk/>
            <pc:sldMk cId="3429014890" sldId="2147480119"/>
            <ac:spMk id="2" creationId="{0329E297-E798-08B1-A1CC-65371311D18E}"/>
          </ac:spMkLst>
        </pc:spChg>
      </pc:sldChg>
      <pc:sldChg chg="modSp">
        <pc:chgData name="Karmakar, Sumit" userId="S::skarmakar@elogex.com::5d020034-ff2c-4e7e-8d00-e94708d613b2" providerId="AD" clId="Web-{E5BBEF98-84F4-508B-0218-E44D0E2BEC63}" dt="2024-03-28T12:32:30.712" v="326" actId="20577"/>
        <pc:sldMkLst>
          <pc:docMk/>
          <pc:sldMk cId="2801638841" sldId="2147480120"/>
        </pc:sldMkLst>
        <pc:spChg chg="mod">
          <ac:chgData name="Karmakar, Sumit" userId="S::skarmakar@elogex.com::5d020034-ff2c-4e7e-8d00-e94708d613b2" providerId="AD" clId="Web-{E5BBEF98-84F4-508B-0218-E44D0E2BEC63}" dt="2024-03-28T12:32:30.712" v="326" actId="20577"/>
          <ac:spMkLst>
            <pc:docMk/>
            <pc:sldMk cId="2801638841" sldId="2147480120"/>
            <ac:spMk id="2" creationId="{5429BBFA-3801-9631-FFE5-70B7418F24FD}"/>
          </ac:spMkLst>
        </pc:spChg>
      </pc:sldChg>
      <pc:sldChg chg="modSp">
        <pc:chgData name="Karmakar, Sumit" userId="S::skarmakar@elogex.com::5d020034-ff2c-4e7e-8d00-e94708d613b2" providerId="AD" clId="Web-{E5BBEF98-84F4-508B-0218-E44D0E2BEC63}" dt="2024-03-28T12:22:12.862" v="239" actId="20577"/>
        <pc:sldMkLst>
          <pc:docMk/>
          <pc:sldMk cId="2930427818" sldId="2147480123"/>
        </pc:sldMkLst>
        <pc:spChg chg="mod">
          <ac:chgData name="Karmakar, Sumit" userId="S::skarmakar@elogex.com::5d020034-ff2c-4e7e-8d00-e94708d613b2" providerId="AD" clId="Web-{E5BBEF98-84F4-508B-0218-E44D0E2BEC63}" dt="2024-03-28T12:22:12.862" v="239" actId="20577"/>
          <ac:spMkLst>
            <pc:docMk/>
            <pc:sldMk cId="2930427818" sldId="2147480123"/>
            <ac:spMk id="2" creationId="{0329E297-E798-08B1-A1CC-65371311D18E}"/>
          </ac:spMkLst>
        </pc:spChg>
      </pc:sldChg>
      <pc:sldChg chg="modSp">
        <pc:chgData name="Karmakar, Sumit" userId="S::skarmakar@elogex.com::5d020034-ff2c-4e7e-8d00-e94708d613b2" providerId="AD" clId="Web-{E5BBEF98-84F4-508B-0218-E44D0E2BEC63}" dt="2024-03-28T12:17:25.696" v="200"/>
        <pc:sldMkLst>
          <pc:docMk/>
          <pc:sldMk cId="1287383114" sldId="2147480126"/>
        </pc:sldMkLst>
        <pc:spChg chg="mod">
          <ac:chgData name="Karmakar, Sumit" userId="S::skarmakar@elogex.com::5d020034-ff2c-4e7e-8d00-e94708d613b2" providerId="AD" clId="Web-{E5BBEF98-84F4-508B-0218-E44D0E2BEC63}" dt="2024-03-28T12:16:50.710" v="196" actId="20577"/>
          <ac:spMkLst>
            <pc:docMk/>
            <pc:sldMk cId="1287383114" sldId="2147480126"/>
            <ac:spMk id="2" creationId="{6D4A0A65-4449-A208-9F84-68CA373C2CC5}"/>
          </ac:spMkLst>
        </pc:spChg>
        <pc:graphicFrameChg chg="mod modGraphic">
          <ac:chgData name="Karmakar, Sumit" userId="S::skarmakar@elogex.com::5d020034-ff2c-4e7e-8d00-e94708d613b2" providerId="AD" clId="Web-{E5BBEF98-84F4-508B-0218-E44D0E2BEC63}" dt="2024-03-28T12:14:29.830" v="189" actId="1076"/>
          <ac:graphicFrameMkLst>
            <pc:docMk/>
            <pc:sldMk cId="1287383114" sldId="2147480126"/>
            <ac:graphicFrameMk id="3" creationId="{CA9C21C4-2AEC-CC4C-240D-B02DAA76F564}"/>
          </ac:graphicFrameMkLst>
        </pc:graphicFrameChg>
        <pc:graphicFrameChg chg="mod modGraphic">
          <ac:chgData name="Karmakar, Sumit" userId="S::skarmakar@elogex.com::5d020034-ff2c-4e7e-8d00-e94708d613b2" providerId="AD" clId="Web-{E5BBEF98-84F4-508B-0218-E44D0E2BEC63}" dt="2024-03-28T12:17:25.696" v="200"/>
          <ac:graphicFrameMkLst>
            <pc:docMk/>
            <pc:sldMk cId="1287383114" sldId="2147480126"/>
            <ac:graphicFrameMk id="17" creationId="{39C2D995-BEAD-B4F2-BAA5-251C62A1C594}"/>
          </ac:graphicFrameMkLst>
        </pc:graphicFrameChg>
        <pc:graphicFrameChg chg="mod modGraphic">
          <ac:chgData name="Karmakar, Sumit" userId="S::skarmakar@elogex.com::5d020034-ff2c-4e7e-8d00-e94708d613b2" providerId="AD" clId="Web-{E5BBEF98-84F4-508B-0218-E44D0E2BEC63}" dt="2024-03-28T12:17:19.524" v="198"/>
          <ac:graphicFrameMkLst>
            <pc:docMk/>
            <pc:sldMk cId="1287383114" sldId="2147480126"/>
            <ac:graphicFrameMk id="55" creationId="{BAD24F01-D7F4-BF36-D16C-1074A0E6487F}"/>
          </ac:graphicFrameMkLst>
        </pc:graphicFrameChg>
      </pc:sldChg>
      <pc:sldChg chg="addSp delSp modSp">
        <pc:chgData name="Karmakar, Sumit" userId="S::skarmakar@elogex.com::5d020034-ff2c-4e7e-8d00-e94708d613b2" providerId="AD" clId="Web-{E5BBEF98-84F4-508B-0218-E44D0E2BEC63}" dt="2024-03-28T12:16:33.006" v="193" actId="20577"/>
        <pc:sldMkLst>
          <pc:docMk/>
          <pc:sldMk cId="452994539" sldId="2147480130"/>
        </pc:sldMkLst>
        <pc:spChg chg="mod">
          <ac:chgData name="Karmakar, Sumit" userId="S::skarmakar@elogex.com::5d020034-ff2c-4e7e-8d00-e94708d613b2" providerId="AD" clId="Web-{E5BBEF98-84F4-508B-0218-E44D0E2BEC63}" dt="2024-03-28T12:16:33.006" v="193" actId="20577"/>
          <ac:spMkLst>
            <pc:docMk/>
            <pc:sldMk cId="452994539" sldId="2147480130"/>
            <ac:spMk id="2" creationId="{0329E297-E798-08B1-A1CC-65371311D18E}"/>
          </ac:spMkLst>
        </pc:spChg>
        <pc:spChg chg="mod">
          <ac:chgData name="Karmakar, Sumit" userId="S::skarmakar@elogex.com::5d020034-ff2c-4e7e-8d00-e94708d613b2" providerId="AD" clId="Web-{E5BBEF98-84F4-508B-0218-E44D0E2BEC63}" dt="2024-03-28T12:10:15.056" v="153" actId="14100"/>
          <ac:spMkLst>
            <pc:docMk/>
            <pc:sldMk cId="452994539" sldId="2147480130"/>
            <ac:spMk id="4" creationId="{3FA4D4D7-997F-BE63-6699-1F9A65742FC8}"/>
          </ac:spMkLst>
        </pc:spChg>
        <pc:spChg chg="add del">
          <ac:chgData name="Karmakar, Sumit" userId="S::skarmakar@elogex.com::5d020034-ff2c-4e7e-8d00-e94708d613b2" providerId="AD" clId="Web-{E5BBEF98-84F4-508B-0218-E44D0E2BEC63}" dt="2024-03-28T12:03:11.431" v="65"/>
          <ac:spMkLst>
            <pc:docMk/>
            <pc:sldMk cId="452994539" sldId="2147480130"/>
            <ac:spMk id="6" creationId="{532225AE-DEDA-F95B-8FD9-FFB77D02A5DE}"/>
          </ac:spMkLst>
        </pc:spChg>
        <pc:spChg chg="mod">
          <ac:chgData name="Karmakar, Sumit" userId="S::skarmakar@elogex.com::5d020034-ff2c-4e7e-8d00-e94708d613b2" providerId="AD" clId="Web-{E5BBEF98-84F4-508B-0218-E44D0E2BEC63}" dt="2024-03-28T12:10:15.071" v="154" actId="14100"/>
          <ac:spMkLst>
            <pc:docMk/>
            <pc:sldMk cId="452994539" sldId="2147480130"/>
            <ac:spMk id="7" creationId="{2592571E-C527-D800-DE04-1503460587DD}"/>
          </ac:spMkLst>
        </pc:spChg>
        <pc:picChg chg="mod">
          <ac:chgData name="Karmakar, Sumit" userId="S::skarmakar@elogex.com::5d020034-ff2c-4e7e-8d00-e94708d613b2" providerId="AD" clId="Web-{E5BBEF98-84F4-508B-0218-E44D0E2BEC63}" dt="2024-03-28T12:10:15.087" v="155" actId="14100"/>
          <ac:picMkLst>
            <pc:docMk/>
            <pc:sldMk cId="452994539" sldId="2147480130"/>
            <ac:picMk id="10" creationId="{1FC87D89-CFA0-0025-225E-674118A5AB6A}"/>
          </ac:picMkLst>
        </pc:picChg>
        <pc:picChg chg="del mod">
          <ac:chgData name="Karmakar, Sumit" userId="S::skarmakar@elogex.com::5d020034-ff2c-4e7e-8d00-e94708d613b2" providerId="AD" clId="Web-{E5BBEF98-84F4-508B-0218-E44D0E2BEC63}" dt="2024-03-28T12:09:28.851" v="138"/>
          <ac:picMkLst>
            <pc:docMk/>
            <pc:sldMk cId="452994539" sldId="2147480130"/>
            <ac:picMk id="12" creationId="{0C5E442D-EEC3-7A8D-8DF0-060883341AEF}"/>
          </ac:picMkLst>
        </pc:picChg>
        <pc:picChg chg="mod">
          <ac:chgData name="Karmakar, Sumit" userId="S::skarmakar@elogex.com::5d020034-ff2c-4e7e-8d00-e94708d613b2" providerId="AD" clId="Web-{E5BBEF98-84F4-508B-0218-E44D0E2BEC63}" dt="2024-03-28T12:10:00.055" v="145" actId="1076"/>
          <ac:picMkLst>
            <pc:docMk/>
            <pc:sldMk cId="452994539" sldId="2147480130"/>
            <ac:picMk id="13" creationId="{3C4DD23C-7239-D5D5-AE16-9D77AB671FEF}"/>
          </ac:picMkLst>
        </pc:picChg>
        <pc:picChg chg="add del mod">
          <ac:chgData name="Karmakar, Sumit" userId="S::skarmakar@elogex.com::5d020034-ff2c-4e7e-8d00-e94708d613b2" providerId="AD" clId="Web-{E5BBEF98-84F4-508B-0218-E44D0E2BEC63}" dt="2024-03-28T12:09:01.975" v="134"/>
          <ac:picMkLst>
            <pc:docMk/>
            <pc:sldMk cId="452994539" sldId="2147480130"/>
            <ac:picMk id="14" creationId="{EEF9EAE0-B5E8-9EEE-17CA-3CCEB4804C9F}"/>
          </ac:picMkLst>
        </pc:picChg>
        <pc:picChg chg="mod">
          <ac:chgData name="Karmakar, Sumit" userId="S::skarmakar@elogex.com::5d020034-ff2c-4e7e-8d00-e94708d613b2" providerId="AD" clId="Web-{E5BBEF98-84F4-508B-0218-E44D0E2BEC63}" dt="2024-03-28T12:10:00.086" v="146" actId="1076"/>
          <ac:picMkLst>
            <pc:docMk/>
            <pc:sldMk cId="452994539" sldId="2147480130"/>
            <ac:picMk id="15" creationId="{E69098DF-9CDE-7326-7E61-F70F19AAEC39}"/>
          </ac:picMkLst>
        </pc:picChg>
        <pc:picChg chg="add mod modCrop">
          <ac:chgData name="Karmakar, Sumit" userId="S::skarmakar@elogex.com::5d020034-ff2c-4e7e-8d00-e94708d613b2" providerId="AD" clId="Web-{E5BBEF98-84F4-508B-0218-E44D0E2BEC63}" dt="2024-03-28T12:10:15.118" v="156" actId="14100"/>
          <ac:picMkLst>
            <pc:docMk/>
            <pc:sldMk cId="452994539" sldId="2147480130"/>
            <ac:picMk id="16" creationId="{CB4E0F4B-5787-C6AD-7D3D-81664273F9FF}"/>
          </ac:picMkLst>
        </pc:picChg>
        <pc:picChg chg="mod">
          <ac:chgData name="Karmakar, Sumit" userId="S::skarmakar@elogex.com::5d020034-ff2c-4e7e-8d00-e94708d613b2" providerId="AD" clId="Web-{E5BBEF98-84F4-508B-0218-E44D0E2BEC63}" dt="2024-03-28T12:10:00.118" v="147" actId="1076"/>
          <ac:picMkLst>
            <pc:docMk/>
            <pc:sldMk cId="452994539" sldId="2147480130"/>
            <ac:picMk id="17" creationId="{B4574D46-489B-0FD9-51E0-9E7C8C591B9A}"/>
          </ac:picMkLst>
        </pc:picChg>
        <pc:picChg chg="mod">
          <ac:chgData name="Karmakar, Sumit" userId="S::skarmakar@elogex.com::5d020034-ff2c-4e7e-8d00-e94708d613b2" providerId="AD" clId="Web-{E5BBEF98-84F4-508B-0218-E44D0E2BEC63}" dt="2024-03-28T12:09:59.993" v="143" actId="1076"/>
          <ac:picMkLst>
            <pc:docMk/>
            <pc:sldMk cId="452994539" sldId="2147480130"/>
            <ac:picMk id="33" creationId="{CCCEEF42-824C-91BC-C8FA-A3CE14B23C9E}"/>
          </ac:picMkLst>
        </pc:picChg>
        <pc:picChg chg="mod">
          <ac:chgData name="Karmakar, Sumit" userId="S::skarmakar@elogex.com::5d020034-ff2c-4e7e-8d00-e94708d613b2" providerId="AD" clId="Web-{E5BBEF98-84F4-508B-0218-E44D0E2BEC63}" dt="2024-03-28T12:10:00.024" v="144" actId="1076"/>
          <ac:picMkLst>
            <pc:docMk/>
            <pc:sldMk cId="452994539" sldId="2147480130"/>
            <ac:picMk id="35" creationId="{28C7CD9C-4A8F-0BB2-A3EA-F5634170334B}"/>
          </ac:picMkLst>
        </pc:picChg>
      </pc:sldChg>
      <pc:sldChg chg="modSp">
        <pc:chgData name="Karmakar, Sumit" userId="S::skarmakar@elogex.com::5d020034-ff2c-4e7e-8d00-e94708d613b2" providerId="AD" clId="Web-{E5BBEF98-84F4-508B-0218-E44D0E2BEC63}" dt="2024-03-28T12:33:38.745" v="335"/>
        <pc:sldMkLst>
          <pc:docMk/>
          <pc:sldMk cId="1577128654" sldId="2147480131"/>
        </pc:sldMkLst>
        <pc:spChg chg="mod">
          <ac:chgData name="Karmakar, Sumit" userId="S::skarmakar@elogex.com::5d020034-ff2c-4e7e-8d00-e94708d613b2" providerId="AD" clId="Web-{E5BBEF98-84F4-508B-0218-E44D0E2BEC63}" dt="2024-03-28T12:33:28.995" v="334" actId="1076"/>
          <ac:spMkLst>
            <pc:docMk/>
            <pc:sldMk cId="1577128654" sldId="2147480131"/>
            <ac:spMk id="5" creationId="{8F6EFACD-3FB3-538A-B211-980368F57CC3}"/>
          </ac:spMkLst>
        </pc:spChg>
        <pc:spChg chg="mod">
          <ac:chgData name="Karmakar, Sumit" userId="S::skarmakar@elogex.com::5d020034-ff2c-4e7e-8d00-e94708d613b2" providerId="AD" clId="Web-{E5BBEF98-84F4-508B-0218-E44D0E2BEC63}" dt="2024-03-28T12:32:47.431" v="328" actId="20577"/>
          <ac:spMkLst>
            <pc:docMk/>
            <pc:sldMk cId="1577128654" sldId="2147480131"/>
            <ac:spMk id="9" creationId="{7FBA4B87-97CE-C427-F2E6-4E29EF3AAD3C}"/>
          </ac:spMkLst>
        </pc:spChg>
        <pc:picChg chg="mod">
          <ac:chgData name="Karmakar, Sumit" userId="S::skarmakar@elogex.com::5d020034-ff2c-4e7e-8d00-e94708d613b2" providerId="AD" clId="Web-{E5BBEF98-84F4-508B-0218-E44D0E2BEC63}" dt="2024-03-28T12:33:38.745" v="335"/>
          <ac:picMkLst>
            <pc:docMk/>
            <pc:sldMk cId="1577128654" sldId="2147480131"/>
            <ac:picMk id="14" creationId="{686AD8A5-1D8E-5CC1-90C4-A622B761D76C}"/>
          </ac:picMkLst>
        </pc:picChg>
      </pc:sldChg>
      <pc:sldChg chg="modSp">
        <pc:chgData name="Karmakar, Sumit" userId="S::skarmakar@elogex.com::5d020034-ff2c-4e7e-8d00-e94708d613b2" providerId="AD" clId="Web-{E5BBEF98-84F4-508B-0218-E44D0E2BEC63}" dt="2024-03-28T12:18:58.465" v="208" actId="20577"/>
        <pc:sldMkLst>
          <pc:docMk/>
          <pc:sldMk cId="1943466375" sldId="2147480132"/>
        </pc:sldMkLst>
        <pc:spChg chg="mod">
          <ac:chgData name="Karmakar, Sumit" userId="S::skarmakar@elogex.com::5d020034-ff2c-4e7e-8d00-e94708d613b2" providerId="AD" clId="Web-{E5BBEF98-84F4-508B-0218-E44D0E2BEC63}" dt="2024-03-28T12:18:45.511" v="206" actId="20577"/>
          <ac:spMkLst>
            <pc:docMk/>
            <pc:sldMk cId="1943466375" sldId="2147480132"/>
            <ac:spMk id="2" creationId="{7C082A7E-E310-17E3-E129-649341E980C1}"/>
          </ac:spMkLst>
        </pc:spChg>
        <pc:spChg chg="mod">
          <ac:chgData name="Karmakar, Sumit" userId="S::skarmakar@elogex.com::5d020034-ff2c-4e7e-8d00-e94708d613b2" providerId="AD" clId="Web-{E5BBEF98-84F4-508B-0218-E44D0E2BEC63}" dt="2024-03-28T12:18:58.465" v="208" actId="20577"/>
          <ac:spMkLst>
            <pc:docMk/>
            <pc:sldMk cId="1943466375" sldId="2147480132"/>
            <ac:spMk id="6" creationId="{67198E3D-3C9A-5220-0DC7-94E7ACF46720}"/>
          </ac:spMkLst>
        </pc:spChg>
      </pc:sldChg>
      <pc:sldChg chg="modSp">
        <pc:chgData name="Karmakar, Sumit" userId="S::skarmakar@elogex.com::5d020034-ff2c-4e7e-8d00-e94708d613b2" providerId="AD" clId="Web-{E5BBEF98-84F4-508B-0218-E44D0E2BEC63}" dt="2024-03-28T12:32:12.227" v="325" actId="20577"/>
        <pc:sldMkLst>
          <pc:docMk/>
          <pc:sldMk cId="2638490646" sldId="2147480135"/>
        </pc:sldMkLst>
        <pc:graphicFrameChg chg="mod modGraphic">
          <ac:chgData name="Karmakar, Sumit" userId="S::skarmakar@elogex.com::5d020034-ff2c-4e7e-8d00-e94708d613b2" providerId="AD" clId="Web-{E5BBEF98-84F4-508B-0218-E44D0E2BEC63}" dt="2024-03-28T12:32:12.227" v="325" actId="20577"/>
          <ac:graphicFrameMkLst>
            <pc:docMk/>
            <pc:sldMk cId="2638490646" sldId="2147480135"/>
            <ac:graphicFrameMk id="9" creationId="{1D77DC48-5028-B020-472E-05C3A4A8B91D}"/>
          </ac:graphicFrameMkLst>
        </pc:graphicFrameChg>
      </pc:sldChg>
      <pc:sldChg chg="modSp">
        <pc:chgData name="Karmakar, Sumit" userId="S::skarmakar@elogex.com::5d020034-ff2c-4e7e-8d00-e94708d613b2" providerId="AD" clId="Web-{E5BBEF98-84F4-508B-0218-E44D0E2BEC63}" dt="2024-03-28T12:21:38.142" v="235" actId="14100"/>
        <pc:sldMkLst>
          <pc:docMk/>
          <pc:sldMk cId="3435256583" sldId="2147480136"/>
        </pc:sldMkLst>
        <pc:spChg chg="mod">
          <ac:chgData name="Karmakar, Sumit" userId="S::skarmakar@elogex.com::5d020034-ff2c-4e7e-8d00-e94708d613b2" providerId="AD" clId="Web-{E5BBEF98-84F4-508B-0218-E44D0E2BEC63}" dt="2024-03-28T12:21:05.844" v="233" actId="20577"/>
          <ac:spMkLst>
            <pc:docMk/>
            <pc:sldMk cId="3435256583" sldId="2147480136"/>
            <ac:spMk id="2" creationId="{0329E297-E798-08B1-A1CC-65371311D18E}"/>
          </ac:spMkLst>
        </pc:spChg>
        <pc:grpChg chg="mod">
          <ac:chgData name="Karmakar, Sumit" userId="S::skarmakar@elogex.com::5d020034-ff2c-4e7e-8d00-e94708d613b2" providerId="AD" clId="Web-{E5BBEF98-84F4-508B-0218-E44D0E2BEC63}" dt="2024-03-28T12:21:38.142" v="235" actId="14100"/>
          <ac:grpSpMkLst>
            <pc:docMk/>
            <pc:sldMk cId="3435256583" sldId="2147480136"/>
            <ac:grpSpMk id="18" creationId="{007CB1BB-97E7-0AFB-7802-4735A261A105}"/>
          </ac:grpSpMkLst>
        </pc:grpChg>
      </pc:sldChg>
      <pc:sldChg chg="modSp">
        <pc:chgData name="Karmakar, Sumit" userId="S::skarmakar@elogex.com::5d020034-ff2c-4e7e-8d00-e94708d613b2" providerId="AD" clId="Web-{E5BBEF98-84F4-508B-0218-E44D0E2BEC63}" dt="2024-03-28T12:28:03.577" v="304" actId="1076"/>
        <pc:sldMkLst>
          <pc:docMk/>
          <pc:sldMk cId="1287349681" sldId="2147480137"/>
        </pc:sldMkLst>
        <pc:spChg chg="mod">
          <ac:chgData name="Karmakar, Sumit" userId="S::skarmakar@elogex.com::5d020034-ff2c-4e7e-8d00-e94708d613b2" providerId="AD" clId="Web-{E5BBEF98-84F4-508B-0218-E44D0E2BEC63}" dt="2024-03-28T12:22:23.628" v="240" actId="20577"/>
          <ac:spMkLst>
            <pc:docMk/>
            <pc:sldMk cId="1287349681" sldId="2147480137"/>
            <ac:spMk id="2" creationId="{0329E297-E798-08B1-A1CC-65371311D18E}"/>
          </ac:spMkLst>
        </pc:spChg>
        <pc:spChg chg="mod">
          <ac:chgData name="Karmakar, Sumit" userId="S::skarmakar@elogex.com::5d020034-ff2c-4e7e-8d00-e94708d613b2" providerId="AD" clId="Web-{E5BBEF98-84F4-508B-0218-E44D0E2BEC63}" dt="2024-03-28T12:25:56.870" v="288" actId="20577"/>
          <ac:spMkLst>
            <pc:docMk/>
            <pc:sldMk cId="1287349681" sldId="2147480137"/>
            <ac:spMk id="3" creationId="{27CB820E-ED16-2A8E-E527-F8E89105E1DE}"/>
          </ac:spMkLst>
        </pc:spChg>
        <pc:spChg chg="mod">
          <ac:chgData name="Karmakar, Sumit" userId="S::skarmakar@elogex.com::5d020034-ff2c-4e7e-8d00-e94708d613b2" providerId="AD" clId="Web-{E5BBEF98-84F4-508B-0218-E44D0E2BEC63}" dt="2024-03-28T12:28:03.577" v="304" actId="1076"/>
          <ac:spMkLst>
            <pc:docMk/>
            <pc:sldMk cId="1287349681" sldId="2147480137"/>
            <ac:spMk id="6" creationId="{ACA393EB-151A-701E-E8B1-131408E18CDC}"/>
          </ac:spMkLst>
        </pc:spChg>
        <pc:picChg chg="mod">
          <ac:chgData name="Karmakar, Sumit" userId="S::skarmakar@elogex.com::5d020034-ff2c-4e7e-8d00-e94708d613b2" providerId="AD" clId="Web-{E5BBEF98-84F4-508B-0218-E44D0E2BEC63}" dt="2024-03-28T12:28:03.499" v="301" actId="1076"/>
          <ac:picMkLst>
            <pc:docMk/>
            <pc:sldMk cId="1287349681" sldId="2147480137"/>
            <ac:picMk id="4" creationId="{F1CC73EC-7986-28B7-8298-C5D43255955D}"/>
          </ac:picMkLst>
        </pc:picChg>
        <pc:picChg chg="mod">
          <ac:chgData name="Karmakar, Sumit" userId="S::skarmakar@elogex.com::5d020034-ff2c-4e7e-8d00-e94708d613b2" providerId="AD" clId="Web-{E5BBEF98-84F4-508B-0218-E44D0E2BEC63}" dt="2024-03-28T12:28:03.546" v="303" actId="1076"/>
          <ac:picMkLst>
            <pc:docMk/>
            <pc:sldMk cId="1287349681" sldId="2147480137"/>
            <ac:picMk id="7" creationId="{D07161DB-2FA6-C8CE-8C1A-C41121511997}"/>
          </ac:picMkLst>
        </pc:picChg>
        <pc:picChg chg="mod">
          <ac:chgData name="Karmakar, Sumit" userId="S::skarmakar@elogex.com::5d020034-ff2c-4e7e-8d00-e94708d613b2" providerId="AD" clId="Web-{E5BBEF98-84F4-508B-0218-E44D0E2BEC63}" dt="2024-03-28T12:28:03.530" v="302" actId="1076"/>
          <ac:picMkLst>
            <pc:docMk/>
            <pc:sldMk cId="1287349681" sldId="2147480137"/>
            <ac:picMk id="9" creationId="{BE954F9A-6E4D-E092-9B78-7E58A43AC6AC}"/>
          </ac:picMkLst>
        </pc:picChg>
        <pc:picChg chg="mod">
          <ac:chgData name="Karmakar, Sumit" userId="S::skarmakar@elogex.com::5d020034-ff2c-4e7e-8d00-e94708d613b2" providerId="AD" clId="Web-{E5BBEF98-84F4-508B-0218-E44D0E2BEC63}" dt="2024-03-28T12:28:03.484" v="300" actId="1076"/>
          <ac:picMkLst>
            <pc:docMk/>
            <pc:sldMk cId="1287349681" sldId="2147480137"/>
            <ac:picMk id="10" creationId="{D41CA259-FF66-66C8-8AE7-3DEEBCB6DF9E}"/>
          </ac:picMkLst>
        </pc:picChg>
      </pc:sldChg>
      <pc:sldChg chg="modSp">
        <pc:chgData name="Karmakar, Sumit" userId="S::skarmakar@elogex.com::5d020034-ff2c-4e7e-8d00-e94708d613b2" providerId="AD" clId="Web-{E5BBEF98-84F4-508B-0218-E44D0E2BEC63}" dt="2024-03-28T12:18:20.416" v="204" actId="20577"/>
        <pc:sldMkLst>
          <pc:docMk/>
          <pc:sldMk cId="954045621" sldId="2147480138"/>
        </pc:sldMkLst>
        <pc:spChg chg="mod">
          <ac:chgData name="Karmakar, Sumit" userId="S::skarmakar@elogex.com::5d020034-ff2c-4e7e-8d00-e94708d613b2" providerId="AD" clId="Web-{E5BBEF98-84F4-508B-0218-E44D0E2BEC63}" dt="2024-03-28T12:17:45.931" v="201" actId="20577"/>
          <ac:spMkLst>
            <pc:docMk/>
            <pc:sldMk cId="954045621" sldId="2147480138"/>
            <ac:spMk id="2" creationId="{7C082A7E-E310-17E3-E129-649341E980C1}"/>
          </ac:spMkLst>
        </pc:spChg>
        <pc:spChg chg="mod">
          <ac:chgData name="Karmakar, Sumit" userId="S::skarmakar@elogex.com::5d020034-ff2c-4e7e-8d00-e94708d613b2" providerId="AD" clId="Web-{E5BBEF98-84F4-508B-0218-E44D0E2BEC63}" dt="2024-03-28T12:18:20.416" v="204" actId="20577"/>
          <ac:spMkLst>
            <pc:docMk/>
            <pc:sldMk cId="954045621" sldId="2147480138"/>
            <ac:spMk id="3" creationId="{95EACCFC-1AB4-E705-39CF-082950901B82}"/>
          </ac:spMkLst>
        </pc:spChg>
      </pc:sldChg>
      <pc:sldChg chg="modSp">
        <pc:chgData name="Karmakar, Sumit" userId="S::skarmakar@elogex.com::5d020034-ff2c-4e7e-8d00-e94708d613b2" providerId="AD" clId="Web-{E5BBEF98-84F4-508B-0218-E44D0E2BEC63}" dt="2024-03-28T12:20:44.343" v="231" actId="20577"/>
        <pc:sldMkLst>
          <pc:docMk/>
          <pc:sldMk cId="2272208059" sldId="2147480139"/>
        </pc:sldMkLst>
        <pc:spChg chg="mod">
          <ac:chgData name="Karmakar, Sumit" userId="S::skarmakar@elogex.com::5d020034-ff2c-4e7e-8d00-e94708d613b2" providerId="AD" clId="Web-{E5BBEF98-84F4-508B-0218-E44D0E2BEC63}" dt="2024-03-28T12:20:44.343" v="231" actId="20577"/>
          <ac:spMkLst>
            <pc:docMk/>
            <pc:sldMk cId="2272208059" sldId="2147480139"/>
            <ac:spMk id="2" creationId="{7C082A7E-E310-17E3-E129-649341E980C1}"/>
          </ac:spMkLst>
        </pc:spChg>
      </pc:sldChg>
    </pc:docChg>
  </pc:docChgLst>
  <pc:docChgLst>
    <pc:chgData name="Van der Merwe, Erik" userId="a62317fc-2486-4a25-ba5a-86c81a817e31" providerId="ADAL" clId="{A564E1CD-4692-4153-ADC0-ED74F06FD1A7}"/>
    <pc:docChg chg="undo redo custSel addSld modSld sldOrd modSection">
      <pc:chgData name="Van der Merwe, Erik" userId="a62317fc-2486-4a25-ba5a-86c81a817e31" providerId="ADAL" clId="{A564E1CD-4692-4153-ADC0-ED74F06FD1A7}" dt="2024-03-19T03:29:43.035" v="2213" actId="113"/>
      <pc:docMkLst>
        <pc:docMk/>
      </pc:docMkLst>
      <pc:sldChg chg="addSp modSp mod">
        <pc:chgData name="Van der Merwe, Erik" userId="a62317fc-2486-4a25-ba5a-86c81a817e31" providerId="ADAL" clId="{A564E1CD-4692-4153-ADC0-ED74F06FD1A7}" dt="2024-03-19T03:11:43.284" v="2042" actId="12788"/>
        <pc:sldMkLst>
          <pc:docMk/>
          <pc:sldMk cId="1765818760" sldId="2147480113"/>
        </pc:sldMkLst>
        <pc:spChg chg="mod">
          <ac:chgData name="Van der Merwe, Erik" userId="a62317fc-2486-4a25-ba5a-86c81a817e31" providerId="ADAL" clId="{A564E1CD-4692-4153-ADC0-ED74F06FD1A7}" dt="2024-03-19T03:11:43.284" v="2042" actId="12788"/>
          <ac:spMkLst>
            <pc:docMk/>
            <pc:sldMk cId="1765818760" sldId="2147480113"/>
            <ac:spMk id="3" creationId="{9BC057FF-11FD-B2DB-9397-763690850573}"/>
          </ac:spMkLst>
        </pc:spChg>
        <pc:spChg chg="add mod">
          <ac:chgData name="Van der Merwe, Erik" userId="a62317fc-2486-4a25-ba5a-86c81a817e31" providerId="ADAL" clId="{A564E1CD-4692-4153-ADC0-ED74F06FD1A7}" dt="2024-03-19T03:11:43.284" v="2042" actId="12788"/>
          <ac:spMkLst>
            <pc:docMk/>
            <pc:sldMk cId="1765818760" sldId="2147480113"/>
            <ac:spMk id="4" creationId="{36514B23-3C03-850C-EF69-6F15FD7B48C8}"/>
          </ac:spMkLst>
        </pc:spChg>
        <pc:spChg chg="mod">
          <ac:chgData name="Van der Merwe, Erik" userId="a62317fc-2486-4a25-ba5a-86c81a817e31" providerId="ADAL" clId="{A564E1CD-4692-4153-ADC0-ED74F06FD1A7}" dt="2024-03-19T03:11:43.284" v="2042" actId="12788"/>
          <ac:spMkLst>
            <pc:docMk/>
            <pc:sldMk cId="1765818760" sldId="2147480113"/>
            <ac:spMk id="6" creationId="{488C49B2-8A74-B7AD-E253-52FB91724740}"/>
          </ac:spMkLst>
        </pc:spChg>
        <pc:spChg chg="mod">
          <ac:chgData name="Van der Merwe, Erik" userId="a62317fc-2486-4a25-ba5a-86c81a817e31" providerId="ADAL" clId="{A564E1CD-4692-4153-ADC0-ED74F06FD1A7}" dt="2024-03-19T03:11:43.284" v="2042" actId="12788"/>
          <ac:spMkLst>
            <pc:docMk/>
            <pc:sldMk cId="1765818760" sldId="2147480113"/>
            <ac:spMk id="11" creationId="{FA9662D8-75B7-6B49-0703-93BC24048EC1}"/>
          </ac:spMkLst>
        </pc:spChg>
        <pc:spChg chg="mod">
          <ac:chgData name="Van der Merwe, Erik" userId="a62317fc-2486-4a25-ba5a-86c81a817e31" providerId="ADAL" clId="{A564E1CD-4692-4153-ADC0-ED74F06FD1A7}" dt="2024-03-19T03:11:43.284" v="2042" actId="12788"/>
          <ac:spMkLst>
            <pc:docMk/>
            <pc:sldMk cId="1765818760" sldId="2147480113"/>
            <ac:spMk id="14" creationId="{3E353470-C7A0-06B0-BD3D-FECD09EAE3A4}"/>
          </ac:spMkLst>
        </pc:spChg>
        <pc:spChg chg="mod">
          <ac:chgData name="Van der Merwe, Erik" userId="a62317fc-2486-4a25-ba5a-86c81a817e31" providerId="ADAL" clId="{A564E1CD-4692-4153-ADC0-ED74F06FD1A7}" dt="2024-03-19T03:11:43.284" v="2042" actId="12788"/>
          <ac:spMkLst>
            <pc:docMk/>
            <pc:sldMk cId="1765818760" sldId="2147480113"/>
            <ac:spMk id="16" creationId="{1C9E1A02-7589-54E0-BACF-508949FA7757}"/>
          </ac:spMkLst>
        </pc:spChg>
        <pc:picChg chg="mod">
          <ac:chgData name="Van der Merwe, Erik" userId="a62317fc-2486-4a25-ba5a-86c81a817e31" providerId="ADAL" clId="{A564E1CD-4692-4153-ADC0-ED74F06FD1A7}" dt="2024-03-19T03:04:49.854" v="1956" actId="12788"/>
          <ac:picMkLst>
            <pc:docMk/>
            <pc:sldMk cId="1765818760" sldId="2147480113"/>
            <ac:picMk id="5" creationId="{FF648999-FD47-2646-74CD-B7F719E1314F}"/>
          </ac:picMkLst>
        </pc:picChg>
        <pc:picChg chg="add mod">
          <ac:chgData name="Van der Merwe, Erik" userId="a62317fc-2486-4a25-ba5a-86c81a817e31" providerId="ADAL" clId="{A564E1CD-4692-4153-ADC0-ED74F06FD1A7}" dt="2024-03-19T03:04:49.854" v="1956" actId="12788"/>
          <ac:picMkLst>
            <pc:docMk/>
            <pc:sldMk cId="1765818760" sldId="2147480113"/>
            <ac:picMk id="7" creationId="{E1A102D2-E254-C5BD-0452-04DC3473DC3E}"/>
          </ac:picMkLst>
        </pc:picChg>
        <pc:picChg chg="add mod">
          <ac:chgData name="Van der Merwe, Erik" userId="a62317fc-2486-4a25-ba5a-86c81a817e31" providerId="ADAL" clId="{A564E1CD-4692-4153-ADC0-ED74F06FD1A7}" dt="2024-03-19T03:02:32.776" v="1868" actId="571"/>
          <ac:picMkLst>
            <pc:docMk/>
            <pc:sldMk cId="1765818760" sldId="2147480113"/>
            <ac:picMk id="8" creationId="{B147C412-21C6-78C2-17E6-CCC22CE26B11}"/>
          </ac:picMkLst>
        </pc:picChg>
        <pc:picChg chg="add mod">
          <ac:chgData name="Van der Merwe, Erik" userId="a62317fc-2486-4a25-ba5a-86c81a817e31" providerId="ADAL" clId="{A564E1CD-4692-4153-ADC0-ED74F06FD1A7}" dt="2024-03-19T03:03:00.372" v="1922" actId="571"/>
          <ac:picMkLst>
            <pc:docMk/>
            <pc:sldMk cId="1765818760" sldId="2147480113"/>
            <ac:picMk id="9" creationId="{9B25D6C3-567D-EC4D-DDBC-F306D3A983F5}"/>
          </ac:picMkLst>
        </pc:picChg>
        <pc:picChg chg="mod">
          <ac:chgData name="Van der Merwe, Erik" userId="a62317fc-2486-4a25-ba5a-86c81a817e31" providerId="ADAL" clId="{A564E1CD-4692-4153-ADC0-ED74F06FD1A7}" dt="2024-03-19T03:04:49.854" v="1956" actId="12788"/>
          <ac:picMkLst>
            <pc:docMk/>
            <pc:sldMk cId="1765818760" sldId="2147480113"/>
            <ac:picMk id="10" creationId="{50A909B0-BF39-062F-233C-038C4EFDE65E}"/>
          </ac:picMkLst>
        </pc:picChg>
        <pc:picChg chg="mod">
          <ac:chgData name="Van der Merwe, Erik" userId="a62317fc-2486-4a25-ba5a-86c81a817e31" providerId="ADAL" clId="{A564E1CD-4692-4153-ADC0-ED74F06FD1A7}" dt="2024-03-19T03:04:49.854" v="1956" actId="12788"/>
          <ac:picMkLst>
            <pc:docMk/>
            <pc:sldMk cId="1765818760" sldId="2147480113"/>
            <ac:picMk id="13" creationId="{DE8CA397-46DA-E85B-1C8F-8FD1038A0D72}"/>
          </ac:picMkLst>
        </pc:picChg>
        <pc:picChg chg="mod">
          <ac:chgData name="Van der Merwe, Erik" userId="a62317fc-2486-4a25-ba5a-86c81a817e31" providerId="ADAL" clId="{A564E1CD-4692-4153-ADC0-ED74F06FD1A7}" dt="2024-03-19T03:04:49.854" v="1956" actId="12788"/>
          <ac:picMkLst>
            <pc:docMk/>
            <pc:sldMk cId="1765818760" sldId="2147480113"/>
            <ac:picMk id="15" creationId="{F177ED6A-21A3-ADD7-BEDF-6AFC8DFD498A}"/>
          </ac:picMkLst>
        </pc:picChg>
        <pc:picChg chg="mod">
          <ac:chgData name="Van der Merwe, Erik" userId="a62317fc-2486-4a25-ba5a-86c81a817e31" providerId="ADAL" clId="{A564E1CD-4692-4153-ADC0-ED74F06FD1A7}" dt="2024-03-19T03:04:49.854" v="1956" actId="12788"/>
          <ac:picMkLst>
            <pc:docMk/>
            <pc:sldMk cId="1765818760" sldId="2147480113"/>
            <ac:picMk id="17" creationId="{6C0084E6-A4C1-8E14-0EF7-F511A5AE74FE}"/>
          </ac:picMkLst>
        </pc:picChg>
      </pc:sldChg>
      <pc:sldChg chg="addSp delSp modSp add mod ord">
        <pc:chgData name="Van der Merwe, Erik" userId="a62317fc-2486-4a25-ba5a-86c81a817e31" providerId="ADAL" clId="{A564E1CD-4692-4153-ADC0-ED74F06FD1A7}" dt="2024-03-19T03:29:43.035" v="2213" actId="113"/>
        <pc:sldMkLst>
          <pc:docMk/>
          <pc:sldMk cId="3114691178" sldId="2147480114"/>
        </pc:sldMkLst>
        <pc:spChg chg="del">
          <ac:chgData name="Van der Merwe, Erik" userId="a62317fc-2486-4a25-ba5a-86c81a817e31" providerId="ADAL" clId="{A564E1CD-4692-4153-ADC0-ED74F06FD1A7}" dt="2024-03-19T01:57:08.275" v="1" actId="478"/>
          <ac:spMkLst>
            <pc:docMk/>
            <pc:sldMk cId="3114691178" sldId="2147480114"/>
            <ac:spMk id="3" creationId="{718D565E-D34E-8BBE-EF51-4CAC0B66544A}"/>
          </ac:spMkLst>
        </pc:spChg>
        <pc:spChg chg="add mod ord">
          <ac:chgData name="Van der Merwe, Erik" userId="a62317fc-2486-4a25-ba5a-86c81a817e31" providerId="ADAL" clId="{A564E1CD-4692-4153-ADC0-ED74F06FD1A7}" dt="2024-03-19T03:11:39.326" v="2040" actId="20577"/>
          <ac:spMkLst>
            <pc:docMk/>
            <pc:sldMk cId="3114691178" sldId="2147480114"/>
            <ac:spMk id="4" creationId="{7D4BF2ED-AC5B-0D24-516C-84EE34EF0F26}"/>
          </ac:spMkLst>
        </pc:spChg>
        <pc:spChg chg="del">
          <ac:chgData name="Van der Merwe, Erik" userId="a62317fc-2486-4a25-ba5a-86c81a817e31" providerId="ADAL" clId="{A564E1CD-4692-4153-ADC0-ED74F06FD1A7}" dt="2024-03-19T01:57:08.275" v="1" actId="478"/>
          <ac:spMkLst>
            <pc:docMk/>
            <pc:sldMk cId="3114691178" sldId="2147480114"/>
            <ac:spMk id="6" creationId="{A63DB028-1893-C4A3-9D97-B4F847ED32D1}"/>
          </ac:spMkLst>
        </pc:spChg>
        <pc:spChg chg="add del mod">
          <ac:chgData name="Van der Merwe, Erik" userId="a62317fc-2486-4a25-ba5a-86c81a817e31" providerId="ADAL" clId="{A564E1CD-4692-4153-ADC0-ED74F06FD1A7}" dt="2024-03-19T01:57:45.274" v="6" actId="478"/>
          <ac:spMkLst>
            <pc:docMk/>
            <pc:sldMk cId="3114691178" sldId="2147480114"/>
            <ac:spMk id="7" creationId="{6110490C-4511-835E-AD56-46981C559829}"/>
          </ac:spMkLst>
        </pc:spChg>
        <pc:spChg chg="add mod">
          <ac:chgData name="Van der Merwe, Erik" userId="a62317fc-2486-4a25-ba5a-86c81a817e31" providerId="ADAL" clId="{A564E1CD-4692-4153-ADC0-ED74F06FD1A7}" dt="2024-03-19T02:42:07.113" v="1036" actId="1076"/>
          <ac:spMkLst>
            <pc:docMk/>
            <pc:sldMk cId="3114691178" sldId="2147480114"/>
            <ac:spMk id="8" creationId="{9A8AFD97-6548-3F4A-4D20-68484CE3E0C6}"/>
          </ac:spMkLst>
        </pc:spChg>
        <pc:spChg chg="add mod">
          <ac:chgData name="Van der Merwe, Erik" userId="a62317fc-2486-4a25-ba5a-86c81a817e31" providerId="ADAL" clId="{A564E1CD-4692-4153-ADC0-ED74F06FD1A7}" dt="2024-03-19T03:29:43.035" v="2213" actId="113"/>
          <ac:spMkLst>
            <pc:docMk/>
            <pc:sldMk cId="3114691178" sldId="2147480114"/>
            <ac:spMk id="9" creationId="{4920E92B-7718-8222-9BFE-94A6716A8881}"/>
          </ac:spMkLst>
        </pc:spChg>
        <pc:spChg chg="del">
          <ac:chgData name="Van der Merwe, Erik" userId="a62317fc-2486-4a25-ba5a-86c81a817e31" providerId="ADAL" clId="{A564E1CD-4692-4153-ADC0-ED74F06FD1A7}" dt="2024-03-19T01:57:08.275" v="1" actId="478"/>
          <ac:spMkLst>
            <pc:docMk/>
            <pc:sldMk cId="3114691178" sldId="2147480114"/>
            <ac:spMk id="11" creationId="{2E8050F7-68B9-DE81-3733-7528B0648C09}"/>
          </ac:spMkLst>
        </pc:spChg>
        <pc:spChg chg="add mod">
          <ac:chgData name="Van der Merwe, Erik" userId="a62317fc-2486-4a25-ba5a-86c81a817e31" providerId="ADAL" clId="{A564E1CD-4692-4153-ADC0-ED74F06FD1A7}" dt="2024-03-19T03:29:38.644" v="2212" actId="113"/>
          <ac:spMkLst>
            <pc:docMk/>
            <pc:sldMk cId="3114691178" sldId="2147480114"/>
            <ac:spMk id="12" creationId="{3C0CEDD4-EBFB-353C-5303-0FB361E05818}"/>
          </ac:spMkLst>
        </pc:spChg>
        <pc:spChg chg="del">
          <ac:chgData name="Van der Merwe, Erik" userId="a62317fc-2486-4a25-ba5a-86c81a817e31" providerId="ADAL" clId="{A564E1CD-4692-4153-ADC0-ED74F06FD1A7}" dt="2024-03-19T01:57:08.275" v="1" actId="478"/>
          <ac:spMkLst>
            <pc:docMk/>
            <pc:sldMk cId="3114691178" sldId="2147480114"/>
            <ac:spMk id="14" creationId="{49BC857F-CD09-90AD-6D08-2DB07BD0F71A}"/>
          </ac:spMkLst>
        </pc:spChg>
        <pc:spChg chg="del">
          <ac:chgData name="Van der Merwe, Erik" userId="a62317fc-2486-4a25-ba5a-86c81a817e31" providerId="ADAL" clId="{A564E1CD-4692-4153-ADC0-ED74F06FD1A7}" dt="2024-03-19T01:57:08.275" v="1" actId="478"/>
          <ac:spMkLst>
            <pc:docMk/>
            <pc:sldMk cId="3114691178" sldId="2147480114"/>
            <ac:spMk id="16" creationId="{E0BA75B7-A40A-05E8-D468-6F680850D2C8}"/>
          </ac:spMkLst>
        </pc:spChg>
        <pc:spChg chg="add mod">
          <ac:chgData name="Van der Merwe, Erik" userId="a62317fc-2486-4a25-ba5a-86c81a817e31" providerId="ADAL" clId="{A564E1CD-4692-4153-ADC0-ED74F06FD1A7}" dt="2024-03-19T02:14:10.001" v="371" actId="404"/>
          <ac:spMkLst>
            <pc:docMk/>
            <pc:sldMk cId="3114691178" sldId="2147480114"/>
            <ac:spMk id="18" creationId="{91B30D9E-4251-EC41-7D02-76659175E10D}"/>
          </ac:spMkLst>
        </pc:spChg>
        <pc:spChg chg="add mod">
          <ac:chgData name="Van der Merwe, Erik" userId="a62317fc-2486-4a25-ba5a-86c81a817e31" providerId="ADAL" clId="{A564E1CD-4692-4153-ADC0-ED74F06FD1A7}" dt="2024-03-19T03:29:06.331" v="2210" actId="12789"/>
          <ac:spMkLst>
            <pc:docMk/>
            <pc:sldMk cId="3114691178" sldId="2147480114"/>
            <ac:spMk id="19" creationId="{58EE22D9-D66C-2075-3E64-FA6499E1196E}"/>
          </ac:spMkLst>
        </pc:spChg>
        <pc:spChg chg="add mod">
          <ac:chgData name="Van der Merwe, Erik" userId="a62317fc-2486-4a25-ba5a-86c81a817e31" providerId="ADAL" clId="{A564E1CD-4692-4153-ADC0-ED74F06FD1A7}" dt="2024-03-19T02:24:15.958" v="717" actId="404"/>
          <ac:spMkLst>
            <pc:docMk/>
            <pc:sldMk cId="3114691178" sldId="2147480114"/>
            <ac:spMk id="20" creationId="{A6CE2B40-6661-D9FD-362E-58C38727DCF2}"/>
          </ac:spMkLst>
        </pc:spChg>
        <pc:spChg chg="add mod">
          <ac:chgData name="Van der Merwe, Erik" userId="a62317fc-2486-4a25-ba5a-86c81a817e31" providerId="ADAL" clId="{A564E1CD-4692-4153-ADC0-ED74F06FD1A7}" dt="2024-03-19T03:29:06.331" v="2210" actId="12789"/>
          <ac:spMkLst>
            <pc:docMk/>
            <pc:sldMk cId="3114691178" sldId="2147480114"/>
            <ac:spMk id="21" creationId="{674277F3-C042-22B9-1C33-4BEEB500FE9D}"/>
          </ac:spMkLst>
        </pc:spChg>
        <pc:spChg chg="add mod">
          <ac:chgData name="Van der Merwe, Erik" userId="a62317fc-2486-4a25-ba5a-86c81a817e31" providerId="ADAL" clId="{A564E1CD-4692-4153-ADC0-ED74F06FD1A7}" dt="2024-03-19T02:24:15.958" v="717" actId="404"/>
          <ac:spMkLst>
            <pc:docMk/>
            <pc:sldMk cId="3114691178" sldId="2147480114"/>
            <ac:spMk id="22" creationId="{EE65AA3E-1D2C-06EC-6222-393E1D64B3E0}"/>
          </ac:spMkLst>
        </pc:spChg>
        <pc:spChg chg="add mod">
          <ac:chgData name="Van der Merwe, Erik" userId="a62317fc-2486-4a25-ba5a-86c81a817e31" providerId="ADAL" clId="{A564E1CD-4692-4153-ADC0-ED74F06FD1A7}" dt="2024-03-19T02:19:21.528" v="561" actId="17032"/>
          <ac:spMkLst>
            <pc:docMk/>
            <pc:sldMk cId="3114691178" sldId="2147480114"/>
            <ac:spMk id="23" creationId="{31CC89F3-EB2C-B655-7F42-FE691354439C}"/>
          </ac:spMkLst>
        </pc:spChg>
        <pc:spChg chg="add mod">
          <ac:chgData name="Van der Merwe, Erik" userId="a62317fc-2486-4a25-ba5a-86c81a817e31" providerId="ADAL" clId="{A564E1CD-4692-4153-ADC0-ED74F06FD1A7}" dt="2024-03-19T02:36:34.547" v="898" actId="1076"/>
          <ac:spMkLst>
            <pc:docMk/>
            <pc:sldMk cId="3114691178" sldId="2147480114"/>
            <ac:spMk id="24" creationId="{E851DD55-8C84-B0EF-B66C-453A4C2C0326}"/>
          </ac:spMkLst>
        </pc:spChg>
        <pc:spChg chg="add mod">
          <ac:chgData name="Van der Merwe, Erik" userId="a62317fc-2486-4a25-ba5a-86c81a817e31" providerId="ADAL" clId="{A564E1CD-4692-4153-ADC0-ED74F06FD1A7}" dt="2024-03-19T03:29:06.331" v="2210" actId="12789"/>
          <ac:spMkLst>
            <pc:docMk/>
            <pc:sldMk cId="3114691178" sldId="2147480114"/>
            <ac:spMk id="37" creationId="{C5FB6E55-1B8E-6DE2-30C2-9EE8DAED77F3}"/>
          </ac:spMkLst>
        </pc:spChg>
        <pc:spChg chg="add mod">
          <ac:chgData name="Van der Merwe, Erik" userId="a62317fc-2486-4a25-ba5a-86c81a817e31" providerId="ADAL" clId="{A564E1CD-4692-4153-ADC0-ED74F06FD1A7}" dt="2024-03-19T02:21:18.188" v="661" actId="20577"/>
          <ac:spMkLst>
            <pc:docMk/>
            <pc:sldMk cId="3114691178" sldId="2147480114"/>
            <ac:spMk id="38" creationId="{11D1149B-6BB8-E5C3-36AD-14B387877A62}"/>
          </ac:spMkLst>
        </pc:spChg>
        <pc:spChg chg="add mod">
          <ac:chgData name="Van der Merwe, Erik" userId="a62317fc-2486-4a25-ba5a-86c81a817e31" providerId="ADAL" clId="{A564E1CD-4692-4153-ADC0-ED74F06FD1A7}" dt="2024-03-19T02:23:24.665" v="702" actId="1076"/>
          <ac:spMkLst>
            <pc:docMk/>
            <pc:sldMk cId="3114691178" sldId="2147480114"/>
            <ac:spMk id="43" creationId="{CEC9A718-A993-FDB7-72C0-2A235CC11330}"/>
          </ac:spMkLst>
        </pc:spChg>
        <pc:spChg chg="add mod">
          <ac:chgData name="Van der Merwe, Erik" userId="a62317fc-2486-4a25-ba5a-86c81a817e31" providerId="ADAL" clId="{A564E1CD-4692-4153-ADC0-ED74F06FD1A7}" dt="2024-03-19T02:26:20.055" v="738" actId="20577"/>
          <ac:spMkLst>
            <pc:docMk/>
            <pc:sldMk cId="3114691178" sldId="2147480114"/>
            <ac:spMk id="44" creationId="{AC458972-9D28-948A-0351-870DDCBBF36F}"/>
          </ac:spMkLst>
        </pc:spChg>
        <pc:spChg chg="add mod ord">
          <ac:chgData name="Van der Merwe, Erik" userId="a62317fc-2486-4a25-ba5a-86c81a817e31" providerId="ADAL" clId="{A564E1CD-4692-4153-ADC0-ED74F06FD1A7}" dt="2024-03-19T02:38:25.278" v="950" actId="167"/>
          <ac:spMkLst>
            <pc:docMk/>
            <pc:sldMk cId="3114691178" sldId="2147480114"/>
            <ac:spMk id="53" creationId="{21CDA126-CE71-8226-A1C3-4B3F2C86924E}"/>
          </ac:spMkLst>
        </pc:spChg>
        <pc:spChg chg="add mod">
          <ac:chgData name="Van der Merwe, Erik" userId="a62317fc-2486-4a25-ba5a-86c81a817e31" providerId="ADAL" clId="{A564E1CD-4692-4153-ADC0-ED74F06FD1A7}" dt="2024-03-19T02:31:41.074" v="856" actId="1076"/>
          <ac:spMkLst>
            <pc:docMk/>
            <pc:sldMk cId="3114691178" sldId="2147480114"/>
            <ac:spMk id="61" creationId="{69290EC0-DD63-9CD7-BE84-7E3D85C38158}"/>
          </ac:spMkLst>
        </pc:spChg>
        <pc:spChg chg="add mod">
          <ac:chgData name="Van der Merwe, Erik" userId="a62317fc-2486-4a25-ba5a-86c81a817e31" providerId="ADAL" clId="{A564E1CD-4692-4153-ADC0-ED74F06FD1A7}" dt="2024-03-19T02:31:55.865" v="858" actId="1076"/>
          <ac:spMkLst>
            <pc:docMk/>
            <pc:sldMk cId="3114691178" sldId="2147480114"/>
            <ac:spMk id="62" creationId="{D0298E2B-0E7B-38AA-DFAA-A6320C4591C2}"/>
          </ac:spMkLst>
        </pc:spChg>
        <pc:spChg chg="add mod">
          <ac:chgData name="Van der Merwe, Erik" userId="a62317fc-2486-4a25-ba5a-86c81a817e31" providerId="ADAL" clId="{A564E1CD-4692-4153-ADC0-ED74F06FD1A7}" dt="2024-03-19T02:32:09.260" v="859" actId="1076"/>
          <ac:spMkLst>
            <pc:docMk/>
            <pc:sldMk cId="3114691178" sldId="2147480114"/>
            <ac:spMk id="63" creationId="{23D662CA-FC75-AE3B-81F9-620F85D254AD}"/>
          </ac:spMkLst>
        </pc:spChg>
        <pc:spChg chg="add mod">
          <ac:chgData name="Van der Merwe, Erik" userId="a62317fc-2486-4a25-ba5a-86c81a817e31" providerId="ADAL" clId="{A564E1CD-4692-4153-ADC0-ED74F06FD1A7}" dt="2024-03-19T02:37:03.792" v="901" actId="1076"/>
          <ac:spMkLst>
            <pc:docMk/>
            <pc:sldMk cId="3114691178" sldId="2147480114"/>
            <ac:spMk id="79" creationId="{2EAD56B9-8A7E-BF47-79F2-AB010E670D57}"/>
          </ac:spMkLst>
        </pc:spChg>
        <pc:spChg chg="add mod">
          <ac:chgData name="Van der Merwe, Erik" userId="a62317fc-2486-4a25-ba5a-86c81a817e31" providerId="ADAL" clId="{A564E1CD-4692-4153-ADC0-ED74F06FD1A7}" dt="2024-03-19T03:20:59.756" v="2173" actId="1076"/>
          <ac:spMkLst>
            <pc:docMk/>
            <pc:sldMk cId="3114691178" sldId="2147480114"/>
            <ac:spMk id="87" creationId="{1FB4989B-574E-6579-DCEB-CFAEB695FA67}"/>
          </ac:spMkLst>
        </pc:spChg>
        <pc:spChg chg="add mod">
          <ac:chgData name="Van der Merwe, Erik" userId="a62317fc-2486-4a25-ba5a-86c81a817e31" providerId="ADAL" clId="{A564E1CD-4692-4153-ADC0-ED74F06FD1A7}" dt="2024-03-19T03:20:29.360" v="2171" actId="1038"/>
          <ac:spMkLst>
            <pc:docMk/>
            <pc:sldMk cId="3114691178" sldId="2147480114"/>
            <ac:spMk id="88" creationId="{E512E3A1-739B-2C3B-D1A1-632729E3975A}"/>
          </ac:spMkLst>
        </pc:spChg>
        <pc:spChg chg="add mod">
          <ac:chgData name="Van der Merwe, Erik" userId="a62317fc-2486-4a25-ba5a-86c81a817e31" providerId="ADAL" clId="{A564E1CD-4692-4153-ADC0-ED74F06FD1A7}" dt="2024-03-19T03:29:06.331" v="2210" actId="12789"/>
          <ac:spMkLst>
            <pc:docMk/>
            <pc:sldMk cId="3114691178" sldId="2147480114"/>
            <ac:spMk id="101" creationId="{BB9A562E-288C-E586-8EA9-71A20451A5CA}"/>
          </ac:spMkLst>
        </pc:spChg>
        <pc:spChg chg="add mod">
          <ac:chgData name="Van der Merwe, Erik" userId="a62317fc-2486-4a25-ba5a-86c81a817e31" providerId="ADAL" clId="{A564E1CD-4692-4153-ADC0-ED74F06FD1A7}" dt="2024-03-19T03:29:06.331" v="2210" actId="12789"/>
          <ac:spMkLst>
            <pc:docMk/>
            <pc:sldMk cId="3114691178" sldId="2147480114"/>
            <ac:spMk id="102" creationId="{6CD56641-AAC3-800F-86EB-1C5A6FC80FF4}"/>
          </ac:spMkLst>
        </pc:spChg>
        <pc:spChg chg="add mod">
          <ac:chgData name="Van der Merwe, Erik" userId="a62317fc-2486-4a25-ba5a-86c81a817e31" providerId="ADAL" clId="{A564E1CD-4692-4153-ADC0-ED74F06FD1A7}" dt="2024-03-19T03:29:06.331" v="2210" actId="12789"/>
          <ac:spMkLst>
            <pc:docMk/>
            <pc:sldMk cId="3114691178" sldId="2147480114"/>
            <ac:spMk id="103" creationId="{2736B58A-9EC5-8159-6DCD-C1400851552F}"/>
          </ac:spMkLst>
        </pc:spChg>
        <pc:spChg chg="add mod">
          <ac:chgData name="Van der Merwe, Erik" userId="a62317fc-2486-4a25-ba5a-86c81a817e31" providerId="ADAL" clId="{A564E1CD-4692-4153-ADC0-ED74F06FD1A7}" dt="2024-03-19T03:26:48.593" v="2199" actId="113"/>
          <ac:spMkLst>
            <pc:docMk/>
            <pc:sldMk cId="3114691178" sldId="2147480114"/>
            <ac:spMk id="107" creationId="{E74B5A5C-6896-645E-557D-4823CBB26C7A}"/>
          </ac:spMkLst>
        </pc:spChg>
        <pc:spChg chg="add mod">
          <ac:chgData name="Van der Merwe, Erik" userId="a62317fc-2486-4a25-ba5a-86c81a817e31" providerId="ADAL" clId="{A564E1CD-4692-4153-ADC0-ED74F06FD1A7}" dt="2024-03-19T03:29:15.678" v="2211" actId="113"/>
          <ac:spMkLst>
            <pc:docMk/>
            <pc:sldMk cId="3114691178" sldId="2147480114"/>
            <ac:spMk id="108" creationId="{8273D790-5762-4ECC-8068-40E72BEECADE}"/>
          </ac:spMkLst>
        </pc:spChg>
        <pc:spChg chg="add mod">
          <ac:chgData name="Van der Merwe, Erik" userId="a62317fc-2486-4a25-ba5a-86c81a817e31" providerId="ADAL" clId="{A564E1CD-4692-4153-ADC0-ED74F06FD1A7}" dt="2024-03-19T03:26:45.194" v="2198" actId="113"/>
          <ac:spMkLst>
            <pc:docMk/>
            <pc:sldMk cId="3114691178" sldId="2147480114"/>
            <ac:spMk id="109" creationId="{0371E441-B796-4E41-3FB1-8A2EDFCEFF78}"/>
          </ac:spMkLst>
        </pc:spChg>
        <pc:spChg chg="add mod">
          <ac:chgData name="Van der Merwe, Erik" userId="a62317fc-2486-4a25-ba5a-86c81a817e31" providerId="ADAL" clId="{A564E1CD-4692-4153-ADC0-ED74F06FD1A7}" dt="2024-03-19T03:29:06.331" v="2210" actId="12789"/>
          <ac:spMkLst>
            <pc:docMk/>
            <pc:sldMk cId="3114691178" sldId="2147480114"/>
            <ac:spMk id="110" creationId="{E368AEDF-6EF1-0A5D-939F-C1948E929006}"/>
          </ac:spMkLst>
        </pc:spChg>
        <pc:spChg chg="add mod">
          <ac:chgData name="Van der Merwe, Erik" userId="a62317fc-2486-4a25-ba5a-86c81a817e31" providerId="ADAL" clId="{A564E1CD-4692-4153-ADC0-ED74F06FD1A7}" dt="2024-03-19T03:27:35.626" v="2205" actId="20577"/>
          <ac:spMkLst>
            <pc:docMk/>
            <pc:sldMk cId="3114691178" sldId="2147480114"/>
            <ac:spMk id="111" creationId="{C452A4ED-7FCE-7BEC-F2DC-6BC9C92512EE}"/>
          </ac:spMkLst>
        </pc:spChg>
        <pc:spChg chg="add mod">
          <ac:chgData name="Van der Merwe, Erik" userId="a62317fc-2486-4a25-ba5a-86c81a817e31" providerId="ADAL" clId="{A564E1CD-4692-4153-ADC0-ED74F06FD1A7}" dt="2024-03-19T03:27:55.459" v="2207" actId="1076"/>
          <ac:spMkLst>
            <pc:docMk/>
            <pc:sldMk cId="3114691178" sldId="2147480114"/>
            <ac:spMk id="112" creationId="{2F1298B4-CB41-4B91-7B66-093629709E8C}"/>
          </ac:spMkLst>
        </pc:spChg>
        <pc:spChg chg="add mod">
          <ac:chgData name="Van der Merwe, Erik" userId="a62317fc-2486-4a25-ba5a-86c81a817e31" providerId="ADAL" clId="{A564E1CD-4692-4153-ADC0-ED74F06FD1A7}" dt="2024-03-19T03:29:06.331" v="2210" actId="12789"/>
          <ac:spMkLst>
            <pc:docMk/>
            <pc:sldMk cId="3114691178" sldId="2147480114"/>
            <ac:spMk id="113" creationId="{568625C4-9098-C4EC-7E3F-984445F4C60F}"/>
          </ac:spMkLst>
        </pc:spChg>
        <pc:picChg chg="del">
          <ac:chgData name="Van der Merwe, Erik" userId="a62317fc-2486-4a25-ba5a-86c81a817e31" providerId="ADAL" clId="{A564E1CD-4692-4153-ADC0-ED74F06FD1A7}" dt="2024-03-19T01:57:08.275" v="1" actId="478"/>
          <ac:picMkLst>
            <pc:docMk/>
            <pc:sldMk cId="3114691178" sldId="2147480114"/>
            <ac:picMk id="5" creationId="{1B66E605-8D03-8D6B-025E-564E60534104}"/>
          </ac:picMkLst>
        </pc:picChg>
        <pc:picChg chg="del">
          <ac:chgData name="Van der Merwe, Erik" userId="a62317fc-2486-4a25-ba5a-86c81a817e31" providerId="ADAL" clId="{A564E1CD-4692-4153-ADC0-ED74F06FD1A7}" dt="2024-03-19T01:57:08.275" v="1" actId="478"/>
          <ac:picMkLst>
            <pc:docMk/>
            <pc:sldMk cId="3114691178" sldId="2147480114"/>
            <ac:picMk id="10" creationId="{9B3CE679-7D46-9C20-7261-B573F6439491}"/>
          </ac:picMkLst>
        </pc:picChg>
        <pc:picChg chg="del">
          <ac:chgData name="Van der Merwe, Erik" userId="a62317fc-2486-4a25-ba5a-86c81a817e31" providerId="ADAL" clId="{A564E1CD-4692-4153-ADC0-ED74F06FD1A7}" dt="2024-03-19T01:57:08.275" v="1" actId="478"/>
          <ac:picMkLst>
            <pc:docMk/>
            <pc:sldMk cId="3114691178" sldId="2147480114"/>
            <ac:picMk id="13" creationId="{4552EDB6-4615-56DE-41B0-0687BC4AC741}"/>
          </ac:picMkLst>
        </pc:picChg>
        <pc:picChg chg="del">
          <ac:chgData name="Van der Merwe, Erik" userId="a62317fc-2486-4a25-ba5a-86c81a817e31" providerId="ADAL" clId="{A564E1CD-4692-4153-ADC0-ED74F06FD1A7}" dt="2024-03-19T01:57:08.275" v="1" actId="478"/>
          <ac:picMkLst>
            <pc:docMk/>
            <pc:sldMk cId="3114691178" sldId="2147480114"/>
            <ac:picMk id="15" creationId="{192CD9B0-E943-11F7-DA96-D513A5A043C9}"/>
          </ac:picMkLst>
        </pc:picChg>
        <pc:picChg chg="del">
          <ac:chgData name="Van der Merwe, Erik" userId="a62317fc-2486-4a25-ba5a-86c81a817e31" providerId="ADAL" clId="{A564E1CD-4692-4153-ADC0-ED74F06FD1A7}" dt="2024-03-19T01:57:08.275" v="1" actId="478"/>
          <ac:picMkLst>
            <pc:docMk/>
            <pc:sldMk cId="3114691178" sldId="2147480114"/>
            <ac:picMk id="17" creationId="{7CB0A30F-732A-CAE9-39FE-698C986745AC}"/>
          </ac:picMkLst>
        </pc:picChg>
        <pc:cxnChg chg="add mod">
          <ac:chgData name="Van der Merwe, Erik" userId="a62317fc-2486-4a25-ba5a-86c81a817e31" providerId="ADAL" clId="{A564E1CD-4692-4153-ADC0-ED74F06FD1A7}" dt="2024-03-19T02:17:29.570" v="551" actId="108"/>
          <ac:cxnSpMkLst>
            <pc:docMk/>
            <pc:sldMk cId="3114691178" sldId="2147480114"/>
            <ac:cxnSpMk id="26" creationId="{E5D15895-2EB3-A137-3BCA-EF18D07BDD9D}"/>
          </ac:cxnSpMkLst>
        </pc:cxnChg>
        <pc:cxnChg chg="add mod">
          <ac:chgData name="Van der Merwe, Erik" userId="a62317fc-2486-4a25-ba5a-86c81a817e31" providerId="ADAL" clId="{A564E1CD-4692-4153-ADC0-ED74F06FD1A7}" dt="2024-03-19T02:43:52.877" v="1044" actId="14100"/>
          <ac:cxnSpMkLst>
            <pc:docMk/>
            <pc:sldMk cId="3114691178" sldId="2147480114"/>
            <ac:cxnSpMk id="27" creationId="{0BA0F07B-2033-D99C-8546-D403CA00FE1C}"/>
          </ac:cxnSpMkLst>
        </pc:cxnChg>
        <pc:cxnChg chg="add mod">
          <ac:chgData name="Van der Merwe, Erik" userId="a62317fc-2486-4a25-ba5a-86c81a817e31" providerId="ADAL" clId="{A564E1CD-4692-4153-ADC0-ED74F06FD1A7}" dt="2024-03-19T02:18:10.570" v="555" actId="693"/>
          <ac:cxnSpMkLst>
            <pc:docMk/>
            <pc:sldMk cId="3114691178" sldId="2147480114"/>
            <ac:cxnSpMk id="30" creationId="{30E0BCF3-E935-B96A-404E-CDE487B4350E}"/>
          </ac:cxnSpMkLst>
        </pc:cxnChg>
        <pc:cxnChg chg="add mod">
          <ac:chgData name="Van der Merwe, Erik" userId="a62317fc-2486-4a25-ba5a-86c81a817e31" providerId="ADAL" clId="{A564E1CD-4692-4153-ADC0-ED74F06FD1A7}" dt="2024-03-19T02:44:10.870" v="1048" actId="14100"/>
          <ac:cxnSpMkLst>
            <pc:docMk/>
            <pc:sldMk cId="3114691178" sldId="2147480114"/>
            <ac:cxnSpMk id="34" creationId="{C0036012-5DDB-CDC4-C88D-51F48935827F}"/>
          </ac:cxnSpMkLst>
        </pc:cxnChg>
        <pc:cxnChg chg="add mod">
          <ac:chgData name="Van der Merwe, Erik" userId="a62317fc-2486-4a25-ba5a-86c81a817e31" providerId="ADAL" clId="{A564E1CD-4692-4153-ADC0-ED74F06FD1A7}" dt="2024-03-19T02:21:02.970" v="636" actId="14100"/>
          <ac:cxnSpMkLst>
            <pc:docMk/>
            <pc:sldMk cId="3114691178" sldId="2147480114"/>
            <ac:cxnSpMk id="39" creationId="{6A4AFD20-F302-BB91-3EC4-7A628A938F0C}"/>
          </ac:cxnSpMkLst>
        </pc:cxnChg>
        <pc:cxnChg chg="add mod">
          <ac:chgData name="Van der Merwe, Erik" userId="a62317fc-2486-4a25-ba5a-86c81a817e31" providerId="ADAL" clId="{A564E1CD-4692-4153-ADC0-ED74F06FD1A7}" dt="2024-03-19T02:24:32.878" v="720" actId="14100"/>
          <ac:cxnSpMkLst>
            <pc:docMk/>
            <pc:sldMk cId="3114691178" sldId="2147480114"/>
            <ac:cxnSpMk id="42" creationId="{38EF021E-5BF3-06FF-8386-901D5D663D75}"/>
          </ac:cxnSpMkLst>
        </pc:cxnChg>
        <pc:cxnChg chg="add mod">
          <ac:chgData name="Van der Merwe, Erik" userId="a62317fc-2486-4a25-ba5a-86c81a817e31" providerId="ADAL" clId="{A564E1CD-4692-4153-ADC0-ED74F06FD1A7}" dt="2024-03-19T02:36:34.547" v="898" actId="1076"/>
          <ac:cxnSpMkLst>
            <pc:docMk/>
            <pc:sldMk cId="3114691178" sldId="2147480114"/>
            <ac:cxnSpMk id="47" creationId="{5B9437E2-8384-4D33-6517-44872F062E9A}"/>
          </ac:cxnSpMkLst>
        </pc:cxnChg>
        <pc:cxnChg chg="add mod">
          <ac:chgData name="Van der Merwe, Erik" userId="a62317fc-2486-4a25-ba5a-86c81a817e31" providerId="ADAL" clId="{A564E1CD-4692-4153-ADC0-ED74F06FD1A7}" dt="2024-03-19T02:25:20.802" v="735" actId="14100"/>
          <ac:cxnSpMkLst>
            <pc:docMk/>
            <pc:sldMk cId="3114691178" sldId="2147480114"/>
            <ac:cxnSpMk id="50" creationId="{3A5DFC1D-5241-2A5B-2763-07330303F70D}"/>
          </ac:cxnSpMkLst>
        </pc:cxnChg>
        <pc:cxnChg chg="add mod">
          <ac:chgData name="Van der Merwe, Erik" userId="a62317fc-2486-4a25-ba5a-86c81a817e31" providerId="ADAL" clId="{A564E1CD-4692-4153-ADC0-ED74F06FD1A7}" dt="2024-03-19T02:38:18.477" v="949" actId="14100"/>
          <ac:cxnSpMkLst>
            <pc:docMk/>
            <pc:sldMk cId="3114691178" sldId="2147480114"/>
            <ac:cxnSpMk id="54" creationId="{C715A097-43BA-78C7-EB85-D60AE8341F32}"/>
          </ac:cxnSpMkLst>
        </pc:cxnChg>
        <pc:cxnChg chg="add del mod">
          <ac:chgData name="Van der Merwe, Erik" userId="a62317fc-2486-4a25-ba5a-86c81a817e31" providerId="ADAL" clId="{A564E1CD-4692-4153-ADC0-ED74F06FD1A7}" dt="2024-03-19T02:38:00.741" v="902" actId="478"/>
          <ac:cxnSpMkLst>
            <pc:docMk/>
            <pc:sldMk cId="3114691178" sldId="2147480114"/>
            <ac:cxnSpMk id="58" creationId="{FF6B0209-27EF-70E8-149B-E4AB16B4626B}"/>
          </ac:cxnSpMkLst>
        </pc:cxnChg>
        <pc:cxnChg chg="add mod">
          <ac:chgData name="Van der Merwe, Erik" userId="a62317fc-2486-4a25-ba5a-86c81a817e31" providerId="ADAL" clId="{A564E1CD-4692-4153-ADC0-ED74F06FD1A7}" dt="2024-03-19T02:32:21.664" v="862" actId="14100"/>
          <ac:cxnSpMkLst>
            <pc:docMk/>
            <pc:sldMk cId="3114691178" sldId="2147480114"/>
            <ac:cxnSpMk id="64" creationId="{FB414208-2974-6A2C-EA4A-E3342514DF74}"/>
          </ac:cxnSpMkLst>
        </pc:cxnChg>
        <pc:cxnChg chg="add mod">
          <ac:chgData name="Van der Merwe, Erik" userId="a62317fc-2486-4a25-ba5a-86c81a817e31" providerId="ADAL" clId="{A564E1CD-4692-4153-ADC0-ED74F06FD1A7}" dt="2024-03-19T02:31:45.950" v="857" actId="14100"/>
          <ac:cxnSpMkLst>
            <pc:docMk/>
            <pc:sldMk cId="3114691178" sldId="2147480114"/>
            <ac:cxnSpMk id="67" creationId="{F1C3D8F2-7512-CCFB-3C2C-64562F861106}"/>
          </ac:cxnSpMkLst>
        </pc:cxnChg>
        <pc:cxnChg chg="add mod">
          <ac:chgData name="Van der Merwe, Erik" userId="a62317fc-2486-4a25-ba5a-86c81a817e31" providerId="ADAL" clId="{A564E1CD-4692-4153-ADC0-ED74F06FD1A7}" dt="2024-03-19T02:32:45.478" v="866" actId="14100"/>
          <ac:cxnSpMkLst>
            <pc:docMk/>
            <pc:sldMk cId="3114691178" sldId="2147480114"/>
            <ac:cxnSpMk id="73" creationId="{EAFD2E44-CD48-6AD2-93DF-DA8B91E8913C}"/>
          </ac:cxnSpMkLst>
        </pc:cxnChg>
        <pc:cxnChg chg="add mod">
          <ac:chgData name="Van der Merwe, Erik" userId="a62317fc-2486-4a25-ba5a-86c81a817e31" providerId="ADAL" clId="{A564E1CD-4692-4153-ADC0-ED74F06FD1A7}" dt="2024-03-19T02:37:03.792" v="901" actId="1076"/>
          <ac:cxnSpMkLst>
            <pc:docMk/>
            <pc:sldMk cId="3114691178" sldId="2147480114"/>
            <ac:cxnSpMk id="80" creationId="{D4556A28-0806-BC88-34CA-00144D2586E1}"/>
          </ac:cxnSpMkLst>
        </pc:cxnChg>
        <pc:cxnChg chg="add mod">
          <ac:chgData name="Van der Merwe, Erik" userId="a62317fc-2486-4a25-ba5a-86c81a817e31" providerId="ADAL" clId="{A564E1CD-4692-4153-ADC0-ED74F06FD1A7}" dt="2024-03-19T03:20:59.756" v="2173" actId="1076"/>
          <ac:cxnSpMkLst>
            <pc:docMk/>
            <pc:sldMk cId="3114691178" sldId="2147480114"/>
            <ac:cxnSpMk id="89" creationId="{7EF07E63-BDB2-02E4-F0B2-4241E4634C01}"/>
          </ac:cxnSpMkLst>
        </pc:cxnChg>
        <pc:cxnChg chg="add mod">
          <ac:chgData name="Van der Merwe, Erik" userId="a62317fc-2486-4a25-ba5a-86c81a817e31" providerId="ADAL" clId="{A564E1CD-4692-4153-ADC0-ED74F06FD1A7}" dt="2024-03-19T03:20:59.756" v="2173" actId="1076"/>
          <ac:cxnSpMkLst>
            <pc:docMk/>
            <pc:sldMk cId="3114691178" sldId="2147480114"/>
            <ac:cxnSpMk id="92" creationId="{707960CB-CA74-A428-BFAF-C2F279389F5D}"/>
          </ac:cxnSpMkLst>
        </pc:cxnChg>
      </pc:sldChg>
    </pc:docChg>
  </pc:docChgLst>
  <pc:docChgLst>
    <pc:chgData name="Karmakar, Sumit" userId="S::skarmakar@elogex.com::5d020034-ff2c-4e7e-8d00-e94708d613b2" providerId="AD" clId="Web-{998F2B37-6566-6C74-56A0-FEED354AD26C}"/>
    <pc:docChg chg="modSld sldOrd">
      <pc:chgData name="Karmakar, Sumit" userId="S::skarmakar@elogex.com::5d020034-ff2c-4e7e-8d00-e94708d613b2" providerId="AD" clId="Web-{998F2B37-6566-6C74-56A0-FEED354AD26C}" dt="2024-03-19T13:31:02.045" v="24" actId="1076"/>
      <pc:docMkLst>
        <pc:docMk/>
      </pc:docMkLst>
      <pc:sldChg chg="ord">
        <pc:chgData name="Karmakar, Sumit" userId="S::skarmakar@elogex.com::5d020034-ff2c-4e7e-8d00-e94708d613b2" providerId="AD" clId="Web-{998F2B37-6566-6C74-56A0-FEED354AD26C}" dt="2024-03-19T13:29:43.137" v="0"/>
        <pc:sldMkLst>
          <pc:docMk/>
          <pc:sldMk cId="3961352546" sldId="2671"/>
        </pc:sldMkLst>
      </pc:sldChg>
      <pc:sldChg chg="modSp">
        <pc:chgData name="Karmakar, Sumit" userId="S::skarmakar@elogex.com::5d020034-ff2c-4e7e-8d00-e94708d613b2" providerId="AD" clId="Web-{998F2B37-6566-6C74-56A0-FEED354AD26C}" dt="2024-03-19T13:31:02.045" v="24" actId="1076"/>
        <pc:sldMkLst>
          <pc:docMk/>
          <pc:sldMk cId="1887349041" sldId="2147480082"/>
        </pc:sldMkLst>
        <pc:grpChg chg="mod">
          <ac:chgData name="Karmakar, Sumit" userId="S::skarmakar@elogex.com::5d020034-ff2c-4e7e-8d00-e94708d613b2" providerId="AD" clId="Web-{998F2B37-6566-6C74-56A0-FEED354AD26C}" dt="2024-03-19T13:31:02.045" v="15" actId="1076"/>
          <ac:grpSpMkLst>
            <pc:docMk/>
            <pc:sldMk cId="1887349041" sldId="2147480082"/>
            <ac:grpSpMk id="7" creationId="{C77DA14E-65E5-9D04-5DDE-D46278F2F241}"/>
          </ac:grpSpMkLst>
        </pc:grpChg>
        <pc:grpChg chg="mod">
          <ac:chgData name="Karmakar, Sumit" userId="S::skarmakar@elogex.com::5d020034-ff2c-4e7e-8d00-e94708d613b2" providerId="AD" clId="Web-{998F2B37-6566-6C74-56A0-FEED354AD26C}" dt="2024-03-19T13:31:02.045" v="21" actId="1076"/>
          <ac:grpSpMkLst>
            <pc:docMk/>
            <pc:sldMk cId="1887349041" sldId="2147480082"/>
            <ac:grpSpMk id="19" creationId="{04795E89-C3B0-D5F5-E0AC-331BA786FFCE}"/>
          </ac:grpSpMkLst>
        </pc:grpChg>
        <pc:grpChg chg="mod">
          <ac:chgData name="Karmakar, Sumit" userId="S::skarmakar@elogex.com::5d020034-ff2c-4e7e-8d00-e94708d613b2" providerId="AD" clId="Web-{998F2B37-6566-6C74-56A0-FEED354AD26C}" dt="2024-03-19T13:31:02.045" v="24" actId="1076"/>
          <ac:grpSpMkLst>
            <pc:docMk/>
            <pc:sldMk cId="1887349041" sldId="2147480082"/>
            <ac:grpSpMk id="25" creationId="{40D9AA27-26A4-B141-9C19-52D5E65C9200}"/>
          </ac:grpSpMkLst>
        </pc:grpChg>
        <pc:grpChg chg="mod">
          <ac:chgData name="Karmakar, Sumit" userId="S::skarmakar@elogex.com::5d020034-ff2c-4e7e-8d00-e94708d613b2" providerId="AD" clId="Web-{998F2B37-6566-6C74-56A0-FEED354AD26C}" dt="2024-03-19T13:31:02.045" v="23" actId="1076"/>
          <ac:grpSpMkLst>
            <pc:docMk/>
            <pc:sldMk cId="1887349041" sldId="2147480082"/>
            <ac:grpSpMk id="28" creationId="{373114D0-456B-324D-89AD-32B398D78BA9}"/>
          </ac:grpSpMkLst>
        </pc:grpChg>
        <pc:grpChg chg="mod">
          <ac:chgData name="Karmakar, Sumit" userId="S::skarmakar@elogex.com::5d020034-ff2c-4e7e-8d00-e94708d613b2" providerId="AD" clId="Web-{998F2B37-6566-6C74-56A0-FEED354AD26C}" dt="2024-03-19T13:31:02.045" v="22" actId="1076"/>
          <ac:grpSpMkLst>
            <pc:docMk/>
            <pc:sldMk cId="1887349041" sldId="2147480082"/>
            <ac:grpSpMk id="31" creationId="{6FB56CF5-4E56-0246-BAD2-318203169C29}"/>
          </ac:grpSpMkLst>
        </pc:grpChg>
        <pc:grpChg chg="mod">
          <ac:chgData name="Karmakar, Sumit" userId="S::skarmakar@elogex.com::5d020034-ff2c-4e7e-8d00-e94708d613b2" providerId="AD" clId="Web-{998F2B37-6566-6C74-56A0-FEED354AD26C}" dt="2024-03-19T13:31:02.045" v="20" actId="1076"/>
          <ac:grpSpMkLst>
            <pc:docMk/>
            <pc:sldMk cId="1887349041" sldId="2147480082"/>
            <ac:grpSpMk id="52" creationId="{096E8D10-4603-C702-DAB1-5EAEFF4317B5}"/>
          </ac:grpSpMkLst>
        </pc:grpChg>
        <pc:grpChg chg="mod">
          <ac:chgData name="Karmakar, Sumit" userId="S::skarmakar@elogex.com::5d020034-ff2c-4e7e-8d00-e94708d613b2" providerId="AD" clId="Web-{998F2B37-6566-6C74-56A0-FEED354AD26C}" dt="2024-03-19T13:31:02.045" v="19" actId="1076"/>
          <ac:grpSpMkLst>
            <pc:docMk/>
            <pc:sldMk cId="1887349041" sldId="2147480082"/>
            <ac:grpSpMk id="67" creationId="{D6E26279-01D2-FF85-DD8F-8AE23E7D8DAA}"/>
          </ac:grpSpMkLst>
        </pc:grpChg>
        <pc:grpChg chg="mod">
          <ac:chgData name="Karmakar, Sumit" userId="S::skarmakar@elogex.com::5d020034-ff2c-4e7e-8d00-e94708d613b2" providerId="AD" clId="Web-{998F2B37-6566-6C74-56A0-FEED354AD26C}" dt="2024-03-19T13:31:02.045" v="18" actId="1076"/>
          <ac:grpSpMkLst>
            <pc:docMk/>
            <pc:sldMk cId="1887349041" sldId="2147480082"/>
            <ac:grpSpMk id="70" creationId="{97F984DD-164D-F1D0-08EB-FF3C11CC3716}"/>
          </ac:grpSpMkLst>
        </pc:grpChg>
        <pc:grpChg chg="mod">
          <ac:chgData name="Karmakar, Sumit" userId="S::skarmakar@elogex.com::5d020034-ff2c-4e7e-8d00-e94708d613b2" providerId="AD" clId="Web-{998F2B37-6566-6C74-56A0-FEED354AD26C}" dt="2024-03-19T13:31:02.045" v="17" actId="1076"/>
          <ac:grpSpMkLst>
            <pc:docMk/>
            <pc:sldMk cId="1887349041" sldId="2147480082"/>
            <ac:grpSpMk id="90" creationId="{C4342F55-1772-23AF-B95E-F369FA1A757B}"/>
          </ac:grpSpMkLst>
        </pc:grpChg>
        <pc:grpChg chg="mod">
          <ac:chgData name="Karmakar, Sumit" userId="S::skarmakar@elogex.com::5d020034-ff2c-4e7e-8d00-e94708d613b2" providerId="AD" clId="Web-{998F2B37-6566-6C74-56A0-FEED354AD26C}" dt="2024-03-19T13:31:02.045" v="16" actId="1076"/>
          <ac:grpSpMkLst>
            <pc:docMk/>
            <pc:sldMk cId="1887349041" sldId="2147480082"/>
            <ac:grpSpMk id="100" creationId="{144414BD-AA9A-7252-267A-80CD2576E68E}"/>
          </ac:grpSpMkLst>
        </pc:grpChg>
        <pc:graphicFrameChg chg="mod modGraphic">
          <ac:chgData name="Karmakar, Sumit" userId="S::skarmakar@elogex.com::5d020034-ff2c-4e7e-8d00-e94708d613b2" providerId="AD" clId="Web-{998F2B37-6566-6C74-56A0-FEED354AD26C}" dt="2024-03-19T13:30:35.560" v="4"/>
          <ac:graphicFrameMkLst>
            <pc:docMk/>
            <pc:sldMk cId="1887349041" sldId="2147480082"/>
            <ac:graphicFrameMk id="5" creationId="{CDC76AFD-66C6-FB43-9737-6535F0D1285D}"/>
          </ac:graphicFrameMkLst>
        </pc:graphicFrameChg>
      </pc:sldChg>
    </pc:docChg>
  </pc:docChgLst>
  <pc:docChgLst>
    <pc:chgData name="Karmakar, Sumit" userId="S::skarmakar@elogex.com::5d020034-ff2c-4e7e-8d00-e94708d613b2" providerId="AD" clId="Web-{D3DA8496-9452-46EB-B616-B462B781A4DE}"/>
    <pc:docChg chg="addSld delSld modSld sldOrd modSection">
      <pc:chgData name="Karmakar, Sumit" userId="S::skarmakar@elogex.com::5d020034-ff2c-4e7e-8d00-e94708d613b2" providerId="AD" clId="Web-{D3DA8496-9452-46EB-B616-B462B781A4DE}" dt="2024-02-28T19:48:44.890" v="64" actId="20577"/>
      <pc:docMkLst>
        <pc:docMk/>
      </pc:docMkLst>
      <pc:sldChg chg="modSp add del">
        <pc:chgData name="Karmakar, Sumit" userId="S::skarmakar@elogex.com::5d020034-ff2c-4e7e-8d00-e94708d613b2" providerId="AD" clId="Web-{D3DA8496-9452-46EB-B616-B462B781A4DE}" dt="2024-02-28T18:15:36.630" v="4"/>
        <pc:sldMkLst>
          <pc:docMk/>
          <pc:sldMk cId="2247960786" sldId="266"/>
        </pc:sldMkLst>
        <pc:spChg chg="mod">
          <ac:chgData name="Karmakar, Sumit" userId="S::skarmakar@elogex.com::5d020034-ff2c-4e7e-8d00-e94708d613b2" providerId="AD" clId="Web-{D3DA8496-9452-46EB-B616-B462B781A4DE}" dt="2024-02-28T18:15:35.599" v="3" actId="20577"/>
          <ac:spMkLst>
            <pc:docMk/>
            <pc:sldMk cId="2247960786" sldId="266"/>
            <ac:spMk id="5" creationId="{00000000-0000-0000-0000-000000000000}"/>
          </ac:spMkLst>
        </pc:spChg>
      </pc:sldChg>
      <pc:sldChg chg="modSp">
        <pc:chgData name="Karmakar, Sumit" userId="S::skarmakar@elogex.com::5d020034-ff2c-4e7e-8d00-e94708d613b2" providerId="AD" clId="Web-{D3DA8496-9452-46EB-B616-B462B781A4DE}" dt="2024-02-28T18:18:01.634" v="15" actId="20577"/>
        <pc:sldMkLst>
          <pc:docMk/>
          <pc:sldMk cId="3853618670" sldId="310"/>
        </pc:sldMkLst>
        <pc:spChg chg="mod">
          <ac:chgData name="Karmakar, Sumit" userId="S::skarmakar@elogex.com::5d020034-ff2c-4e7e-8d00-e94708d613b2" providerId="AD" clId="Web-{D3DA8496-9452-46EB-B616-B462B781A4DE}" dt="2024-02-28T18:18:01.634" v="15" actId="20577"/>
          <ac:spMkLst>
            <pc:docMk/>
            <pc:sldMk cId="3853618670" sldId="310"/>
            <ac:spMk id="10" creationId="{8D4A47EA-9BE7-EF00-303D-E6AF9A73A44F}"/>
          </ac:spMkLst>
        </pc:spChg>
      </pc:sldChg>
      <pc:sldChg chg="delSp modSp add">
        <pc:chgData name="Karmakar, Sumit" userId="S::skarmakar@elogex.com::5d020034-ff2c-4e7e-8d00-e94708d613b2" providerId="AD" clId="Web-{D3DA8496-9452-46EB-B616-B462B781A4DE}" dt="2024-02-28T18:24:12.424" v="33" actId="20577"/>
        <pc:sldMkLst>
          <pc:docMk/>
          <pc:sldMk cId="989006033" sldId="2147479593"/>
        </pc:sldMkLst>
        <pc:spChg chg="mod">
          <ac:chgData name="Karmakar, Sumit" userId="S::skarmakar@elogex.com::5d020034-ff2c-4e7e-8d00-e94708d613b2" providerId="AD" clId="Web-{D3DA8496-9452-46EB-B616-B462B781A4DE}" dt="2024-02-28T18:24:12.424" v="33" actId="20577"/>
          <ac:spMkLst>
            <pc:docMk/>
            <pc:sldMk cId="989006033" sldId="2147479593"/>
            <ac:spMk id="11" creationId="{4EAF6075-4CA2-4B6E-A332-CBBF7A288E81}"/>
          </ac:spMkLst>
        </pc:spChg>
        <pc:spChg chg="mod">
          <ac:chgData name="Karmakar, Sumit" userId="S::skarmakar@elogex.com::5d020034-ff2c-4e7e-8d00-e94708d613b2" providerId="AD" clId="Web-{D3DA8496-9452-46EB-B616-B462B781A4DE}" dt="2024-02-28T18:23:52.642" v="30" actId="1076"/>
          <ac:spMkLst>
            <pc:docMk/>
            <pc:sldMk cId="989006033" sldId="2147479593"/>
            <ac:spMk id="13" creationId="{54823303-BCC9-ECEE-17BB-4253BA9206CC}"/>
          </ac:spMkLst>
        </pc:spChg>
        <pc:spChg chg="del">
          <ac:chgData name="Karmakar, Sumit" userId="S::skarmakar@elogex.com::5d020034-ff2c-4e7e-8d00-e94708d613b2" providerId="AD" clId="Web-{D3DA8496-9452-46EB-B616-B462B781A4DE}" dt="2024-02-28T18:24:02.815" v="31"/>
          <ac:spMkLst>
            <pc:docMk/>
            <pc:sldMk cId="989006033" sldId="2147479593"/>
            <ac:spMk id="17" creationId="{7F1B0BAB-BB86-9461-2B81-17D45F7BC942}"/>
          </ac:spMkLst>
        </pc:spChg>
        <pc:spChg chg="mod">
          <ac:chgData name="Karmakar, Sumit" userId="S::skarmakar@elogex.com::5d020034-ff2c-4e7e-8d00-e94708d613b2" providerId="AD" clId="Web-{D3DA8496-9452-46EB-B616-B462B781A4DE}" dt="2024-02-28T18:23:33.814" v="28" actId="14100"/>
          <ac:spMkLst>
            <pc:docMk/>
            <pc:sldMk cId="989006033" sldId="2147479593"/>
            <ac:spMk id="103" creationId="{E9BC58D8-3B51-476B-A1B4-A962EC2D056C}"/>
          </ac:spMkLst>
        </pc:spChg>
      </pc:sldChg>
      <pc:sldChg chg="addSp modSp">
        <pc:chgData name="Karmakar, Sumit" userId="S::skarmakar@elogex.com::5d020034-ff2c-4e7e-8d00-e94708d613b2" providerId="AD" clId="Web-{D3DA8496-9452-46EB-B616-B462B781A4DE}" dt="2024-02-28T19:48:44.890" v="64" actId="20577"/>
        <pc:sldMkLst>
          <pc:docMk/>
          <pc:sldMk cId="2371631138" sldId="2147479780"/>
        </pc:sldMkLst>
        <pc:spChg chg="mod">
          <ac:chgData name="Karmakar, Sumit" userId="S::skarmakar@elogex.com::5d020034-ff2c-4e7e-8d00-e94708d613b2" providerId="AD" clId="Web-{D3DA8496-9452-46EB-B616-B462B781A4DE}" dt="2024-02-28T19:48:44.890" v="64" actId="20577"/>
          <ac:spMkLst>
            <pc:docMk/>
            <pc:sldMk cId="2371631138" sldId="2147479780"/>
            <ac:spMk id="5" creationId="{AA965B8F-560B-560F-794A-6338F063A727}"/>
          </ac:spMkLst>
        </pc:spChg>
        <pc:picChg chg="add mod">
          <ac:chgData name="Karmakar, Sumit" userId="S::skarmakar@elogex.com::5d020034-ff2c-4e7e-8d00-e94708d613b2" providerId="AD" clId="Web-{D3DA8496-9452-46EB-B616-B462B781A4DE}" dt="2024-02-28T19:46:08.167" v="44" actId="14100"/>
          <ac:picMkLst>
            <pc:docMk/>
            <pc:sldMk cId="2371631138" sldId="2147479780"/>
            <ac:picMk id="2" creationId="{9C4150CF-09D1-145C-2091-4DE2599C386E}"/>
          </ac:picMkLst>
        </pc:picChg>
      </pc:sldChg>
      <pc:sldChg chg="modSp ord">
        <pc:chgData name="Karmakar, Sumit" userId="S::skarmakar@elogex.com::5d020034-ff2c-4e7e-8d00-e94708d613b2" providerId="AD" clId="Web-{D3DA8496-9452-46EB-B616-B462B781A4DE}" dt="2024-02-28T18:22:03.343" v="23"/>
        <pc:sldMkLst>
          <pc:docMk/>
          <pc:sldMk cId="2768228940" sldId="2147480034"/>
        </pc:sldMkLst>
        <pc:spChg chg="mod">
          <ac:chgData name="Karmakar, Sumit" userId="S::skarmakar@elogex.com::5d020034-ff2c-4e7e-8d00-e94708d613b2" providerId="AD" clId="Web-{D3DA8496-9452-46EB-B616-B462B781A4DE}" dt="2024-02-28T18:19:21.370" v="18" actId="20577"/>
          <ac:spMkLst>
            <pc:docMk/>
            <pc:sldMk cId="2768228940" sldId="2147480034"/>
            <ac:spMk id="3" creationId="{5BD8F34E-7D67-1BBE-D4B2-85EE63373B51}"/>
          </ac:spMkLst>
        </pc:spChg>
      </pc:sldChg>
      <pc:sldChg chg="ord">
        <pc:chgData name="Karmakar, Sumit" userId="S::skarmakar@elogex.com::5d020034-ff2c-4e7e-8d00-e94708d613b2" providerId="AD" clId="Web-{D3DA8496-9452-46EB-B616-B462B781A4DE}" dt="2024-02-28T18:22:13.749" v="24"/>
        <pc:sldMkLst>
          <pc:docMk/>
          <pc:sldMk cId="2476771074" sldId="2147480058"/>
        </pc:sldMkLst>
      </pc:sldChg>
      <pc:sldChg chg="modSp add del replId">
        <pc:chgData name="Karmakar, Sumit" userId="S::skarmakar@elogex.com::5d020034-ff2c-4e7e-8d00-e94708d613b2" providerId="AD" clId="Web-{D3DA8496-9452-46EB-B616-B462B781A4DE}" dt="2024-02-28T18:18:19.415" v="16"/>
        <pc:sldMkLst>
          <pc:docMk/>
          <pc:sldMk cId="298824891" sldId="2147480060"/>
        </pc:sldMkLst>
        <pc:spChg chg="mod">
          <ac:chgData name="Karmakar, Sumit" userId="S::skarmakar@elogex.com::5d020034-ff2c-4e7e-8d00-e94708d613b2" providerId="AD" clId="Web-{D3DA8496-9452-46EB-B616-B462B781A4DE}" dt="2024-02-28T18:16:06.209" v="7" actId="14100"/>
          <ac:spMkLst>
            <pc:docMk/>
            <pc:sldMk cId="298824891" sldId="2147480060"/>
            <ac:spMk id="4" creationId="{4CD90252-C5A2-5BB1-070F-4AD981A986DF}"/>
          </ac:spMkLst>
        </pc:spChg>
      </pc:sldChg>
      <pc:sldChg chg="add del replId">
        <pc:chgData name="Karmakar, Sumit" userId="S::skarmakar@elogex.com::5d020034-ff2c-4e7e-8d00-e94708d613b2" providerId="AD" clId="Web-{D3DA8496-9452-46EB-B616-B462B781A4DE}" dt="2024-02-28T18:24:23.346" v="34"/>
        <pc:sldMkLst>
          <pc:docMk/>
          <pc:sldMk cId="1094337815" sldId="2147480060"/>
        </pc:sldMkLst>
      </pc:sldChg>
      <pc:sldMasterChg chg="addSldLayout">
        <pc:chgData name="Karmakar, Sumit" userId="S::skarmakar@elogex.com::5d020034-ff2c-4e7e-8d00-e94708d613b2" providerId="AD" clId="Web-{D3DA8496-9452-46EB-B616-B462B781A4DE}" dt="2024-02-28T18:20:45.700" v="20"/>
        <pc:sldMasterMkLst>
          <pc:docMk/>
          <pc:sldMasterMk cId="2758596200" sldId="2147484360"/>
        </pc:sldMasterMkLst>
        <pc:sldLayoutChg chg="add">
          <pc:chgData name="Karmakar, Sumit" userId="S::skarmakar@elogex.com::5d020034-ff2c-4e7e-8d00-e94708d613b2" providerId="AD" clId="Web-{D3DA8496-9452-46EB-B616-B462B781A4DE}" dt="2024-02-28T18:20:45.700" v="20"/>
          <pc:sldLayoutMkLst>
            <pc:docMk/>
            <pc:sldMasterMk cId="2758596200" sldId="2147483767"/>
            <pc:sldLayoutMk cId="3060286729" sldId="2147484359"/>
          </pc:sldLayoutMkLst>
        </pc:sldLayoutChg>
        <pc:sldLayoutChg chg="add">
          <pc:chgData name="Karmakar, Sumit" userId="S::skarmakar@elogex.com::5d020034-ff2c-4e7e-8d00-e94708d613b2" providerId="AD" clId="Web-{D3DA8496-9452-46EB-B616-B462B781A4DE}" dt="2024-02-28T18:14:46.785" v="0"/>
          <pc:sldLayoutMkLst>
            <pc:docMk/>
            <pc:sldMasterMk cId="2758596200" sldId="2147484362"/>
            <pc:sldLayoutMk cId="2090690304" sldId="2147484362"/>
          </pc:sldLayoutMkLst>
        </pc:sldLayoutChg>
      </pc:sldMasterChg>
    </pc:docChg>
  </pc:docChgLst>
  <pc:docChgLst>
    <pc:chgData name="Karmakar, Sumit" userId="S::skarmakar@elogex.com::5d020034-ff2c-4e7e-8d00-e94708d613b2" providerId="AD" clId="Web-{A1B342A4-9B27-87DA-5822-B9D439C115FF}"/>
    <pc:docChg chg="addSld delSld modSld modSection">
      <pc:chgData name="Karmakar, Sumit" userId="S::skarmakar@elogex.com::5d020034-ff2c-4e7e-8d00-e94708d613b2" providerId="AD" clId="Web-{A1B342A4-9B27-87DA-5822-B9D439C115FF}" dt="2024-03-12T13:56:38.395" v="315"/>
      <pc:docMkLst>
        <pc:docMk/>
      </pc:docMkLst>
      <pc:sldChg chg="del">
        <pc:chgData name="Karmakar, Sumit" userId="S::skarmakar@elogex.com::5d020034-ff2c-4e7e-8d00-e94708d613b2" providerId="AD" clId="Web-{A1B342A4-9B27-87DA-5822-B9D439C115FF}" dt="2024-03-12T13:56:38.395" v="315"/>
        <pc:sldMkLst>
          <pc:docMk/>
          <pc:sldMk cId="2539536041" sldId="2147480093"/>
        </pc:sldMkLst>
      </pc:sldChg>
      <pc:sldChg chg="modSp">
        <pc:chgData name="Karmakar, Sumit" userId="S::skarmakar@elogex.com::5d020034-ff2c-4e7e-8d00-e94708d613b2" providerId="AD" clId="Web-{A1B342A4-9B27-87DA-5822-B9D439C115FF}" dt="2024-03-12T13:07:37.014" v="208" actId="20577"/>
        <pc:sldMkLst>
          <pc:docMk/>
          <pc:sldMk cId="3611435049" sldId="2147480097"/>
        </pc:sldMkLst>
        <pc:spChg chg="mod">
          <ac:chgData name="Karmakar, Sumit" userId="S::skarmakar@elogex.com::5d020034-ff2c-4e7e-8d00-e94708d613b2" providerId="AD" clId="Web-{A1B342A4-9B27-87DA-5822-B9D439C115FF}" dt="2024-03-12T13:07:37.014" v="208" actId="20577"/>
          <ac:spMkLst>
            <pc:docMk/>
            <pc:sldMk cId="3611435049" sldId="2147480097"/>
            <ac:spMk id="2" creationId="{0329E297-E798-08B1-A1CC-65371311D18E}"/>
          </ac:spMkLst>
        </pc:spChg>
        <pc:spChg chg="mod">
          <ac:chgData name="Karmakar, Sumit" userId="S::skarmakar@elogex.com::5d020034-ff2c-4e7e-8d00-e94708d613b2" providerId="AD" clId="Web-{A1B342A4-9B27-87DA-5822-B9D439C115FF}" dt="2024-03-12T13:06:03.495" v="201" actId="1076"/>
          <ac:spMkLst>
            <pc:docMk/>
            <pc:sldMk cId="3611435049" sldId="2147480097"/>
            <ac:spMk id="13" creationId="{9591BC70-8805-97F7-F795-9E7A8B12FB7E}"/>
          </ac:spMkLst>
        </pc:spChg>
      </pc:sldChg>
      <pc:sldChg chg="modSp">
        <pc:chgData name="Karmakar, Sumit" userId="S::skarmakar@elogex.com::5d020034-ff2c-4e7e-8d00-e94708d613b2" providerId="AD" clId="Web-{A1B342A4-9B27-87DA-5822-B9D439C115FF}" dt="2024-03-12T13:13:08.978" v="250" actId="20577"/>
        <pc:sldMkLst>
          <pc:docMk/>
          <pc:sldMk cId="212255833" sldId="2147480098"/>
        </pc:sldMkLst>
        <pc:spChg chg="mod">
          <ac:chgData name="Karmakar, Sumit" userId="S::skarmakar@elogex.com::5d020034-ff2c-4e7e-8d00-e94708d613b2" providerId="AD" clId="Web-{A1B342A4-9B27-87DA-5822-B9D439C115FF}" dt="2024-03-12T13:13:08.978" v="250" actId="20577"/>
          <ac:spMkLst>
            <pc:docMk/>
            <pc:sldMk cId="212255833" sldId="2147480098"/>
            <ac:spMk id="2" creationId="{0329E297-E798-08B1-A1CC-65371311D18E}"/>
          </ac:spMkLst>
        </pc:spChg>
        <pc:spChg chg="mod">
          <ac:chgData name="Karmakar, Sumit" userId="S::skarmakar@elogex.com::5d020034-ff2c-4e7e-8d00-e94708d613b2" providerId="AD" clId="Web-{A1B342A4-9B27-87DA-5822-B9D439C115FF}" dt="2024-03-12T13:08:10.593" v="213" actId="20577"/>
          <ac:spMkLst>
            <pc:docMk/>
            <pc:sldMk cId="212255833" sldId="2147480098"/>
            <ac:spMk id="4" creationId="{F0697669-9F12-8549-3D44-D25329EFB281}"/>
          </ac:spMkLst>
        </pc:spChg>
      </pc:sldChg>
      <pc:sldChg chg="modSp">
        <pc:chgData name="Karmakar, Sumit" userId="S::skarmakar@elogex.com::5d020034-ff2c-4e7e-8d00-e94708d613b2" providerId="AD" clId="Web-{A1B342A4-9B27-87DA-5822-B9D439C115FF}" dt="2024-03-12T12:49:44.338" v="184" actId="20577"/>
        <pc:sldMkLst>
          <pc:docMk/>
          <pc:sldMk cId="295364091" sldId="2147480099"/>
        </pc:sldMkLst>
        <pc:spChg chg="mod">
          <ac:chgData name="Karmakar, Sumit" userId="S::skarmakar@elogex.com::5d020034-ff2c-4e7e-8d00-e94708d613b2" providerId="AD" clId="Web-{A1B342A4-9B27-87DA-5822-B9D439C115FF}" dt="2024-03-12T12:49:44.338" v="184" actId="20577"/>
          <ac:spMkLst>
            <pc:docMk/>
            <pc:sldMk cId="295364091" sldId="2147480099"/>
            <ac:spMk id="2" creationId="{0329E297-E798-08B1-A1CC-65371311D18E}"/>
          </ac:spMkLst>
        </pc:spChg>
      </pc:sldChg>
      <pc:sldChg chg="modSp">
        <pc:chgData name="Karmakar, Sumit" userId="S::skarmakar@elogex.com::5d020034-ff2c-4e7e-8d00-e94708d613b2" providerId="AD" clId="Web-{A1B342A4-9B27-87DA-5822-B9D439C115FF}" dt="2024-03-12T13:54:49.143" v="313" actId="20577"/>
        <pc:sldMkLst>
          <pc:docMk/>
          <pc:sldMk cId="2112086780" sldId="2147480100"/>
        </pc:sldMkLst>
        <pc:spChg chg="mod">
          <ac:chgData name="Karmakar, Sumit" userId="S::skarmakar@elogex.com::5d020034-ff2c-4e7e-8d00-e94708d613b2" providerId="AD" clId="Web-{A1B342A4-9B27-87DA-5822-B9D439C115FF}" dt="2024-03-12T13:54:49.143" v="313" actId="20577"/>
          <ac:spMkLst>
            <pc:docMk/>
            <pc:sldMk cId="2112086780" sldId="2147480100"/>
            <ac:spMk id="9" creationId="{7FBA4B87-97CE-C427-F2E6-4E29EF3AAD3C}"/>
          </ac:spMkLst>
        </pc:spChg>
        <pc:spChg chg="mod">
          <ac:chgData name="Karmakar, Sumit" userId="S::skarmakar@elogex.com::5d020034-ff2c-4e7e-8d00-e94708d613b2" providerId="AD" clId="Web-{A1B342A4-9B27-87DA-5822-B9D439C115FF}" dt="2024-03-12T13:54:32.456" v="294" actId="20577"/>
          <ac:spMkLst>
            <pc:docMk/>
            <pc:sldMk cId="2112086780" sldId="2147480100"/>
            <ac:spMk id="15" creationId="{1F7BCB79-682D-216B-E063-16CE18D59036}"/>
          </ac:spMkLst>
        </pc:spChg>
      </pc:sldChg>
      <pc:sldChg chg="del">
        <pc:chgData name="Karmakar, Sumit" userId="S::skarmakar@elogex.com::5d020034-ff2c-4e7e-8d00-e94708d613b2" providerId="AD" clId="Web-{A1B342A4-9B27-87DA-5822-B9D439C115FF}" dt="2024-03-12T13:56:35.098" v="314"/>
        <pc:sldMkLst>
          <pc:docMk/>
          <pc:sldMk cId="3778393025" sldId="2147480102"/>
        </pc:sldMkLst>
      </pc:sldChg>
      <pc:sldChg chg="addSp delSp modSp add replId">
        <pc:chgData name="Karmakar, Sumit" userId="S::skarmakar@elogex.com::5d020034-ff2c-4e7e-8d00-e94708d613b2" providerId="AD" clId="Web-{A1B342A4-9B27-87DA-5822-B9D439C115FF}" dt="2024-03-12T13:48:07.294" v="269" actId="20577"/>
        <pc:sldMkLst>
          <pc:docMk/>
          <pc:sldMk cId="3119129675" sldId="2147480103"/>
        </pc:sldMkLst>
        <pc:spChg chg="mod">
          <ac:chgData name="Karmakar, Sumit" userId="S::skarmakar@elogex.com::5d020034-ff2c-4e7e-8d00-e94708d613b2" providerId="AD" clId="Web-{A1B342A4-9B27-87DA-5822-B9D439C115FF}" dt="2024-03-12T12:48:36.383" v="169" actId="20577"/>
          <ac:spMkLst>
            <pc:docMk/>
            <pc:sldMk cId="3119129675" sldId="2147480103"/>
            <ac:spMk id="2" creationId="{0329E297-E798-08B1-A1CC-65371311D18E}"/>
          </ac:spMkLst>
        </pc:spChg>
        <pc:spChg chg="add mod">
          <ac:chgData name="Karmakar, Sumit" userId="S::skarmakar@elogex.com::5d020034-ff2c-4e7e-8d00-e94708d613b2" providerId="AD" clId="Web-{A1B342A4-9B27-87DA-5822-B9D439C115FF}" dt="2024-03-12T13:48:07.294" v="269" actId="20577"/>
          <ac:spMkLst>
            <pc:docMk/>
            <pc:sldMk cId="3119129675" sldId="2147480103"/>
            <ac:spMk id="3" creationId="{4C10BBDB-4D37-03E0-0571-0EE1468D6F8F}"/>
          </ac:spMkLst>
        </pc:spChg>
        <pc:spChg chg="del">
          <ac:chgData name="Karmakar, Sumit" userId="S::skarmakar@elogex.com::5d020034-ff2c-4e7e-8d00-e94708d613b2" providerId="AD" clId="Web-{A1B342A4-9B27-87DA-5822-B9D439C115FF}" dt="2024-03-12T12:42:45.418" v="1"/>
          <ac:spMkLst>
            <pc:docMk/>
            <pc:sldMk cId="3119129675" sldId="2147480103"/>
            <ac:spMk id="3" creationId="{DA736210-7ED2-7A43-C730-5E516CC3CA7D}"/>
          </ac:spMkLst>
        </pc:spChg>
        <pc:spChg chg="add mod">
          <ac:chgData name="Karmakar, Sumit" userId="S::skarmakar@elogex.com::5d020034-ff2c-4e7e-8d00-e94708d613b2" providerId="AD" clId="Web-{A1B342A4-9B27-87DA-5822-B9D439C115FF}" dt="2024-03-12T12:44:39.984" v="83"/>
          <ac:spMkLst>
            <pc:docMk/>
            <pc:sldMk cId="3119129675" sldId="2147480103"/>
            <ac:spMk id="4" creationId="{B829C4CB-BE02-39C9-2884-46EFBA420D6B}"/>
          </ac:spMkLst>
        </pc:spChg>
        <pc:spChg chg="add mod">
          <ac:chgData name="Karmakar, Sumit" userId="S::skarmakar@elogex.com::5d020034-ff2c-4e7e-8d00-e94708d613b2" providerId="AD" clId="Web-{A1B342A4-9B27-87DA-5822-B9D439C115FF}" dt="2024-03-12T12:44:39.984" v="84"/>
          <ac:spMkLst>
            <pc:docMk/>
            <pc:sldMk cId="3119129675" sldId="2147480103"/>
            <ac:spMk id="5" creationId="{97AA6137-7738-3421-AC3C-20D6C99FAF1A}"/>
          </ac:spMkLst>
        </pc:spChg>
        <pc:spChg chg="add mod">
          <ac:chgData name="Karmakar, Sumit" userId="S::skarmakar@elogex.com::5d020034-ff2c-4e7e-8d00-e94708d613b2" providerId="AD" clId="Web-{A1B342A4-9B27-87DA-5822-B9D439C115FF}" dt="2024-03-12T12:46:23.816" v="128" actId="20577"/>
          <ac:spMkLst>
            <pc:docMk/>
            <pc:sldMk cId="3119129675" sldId="2147480103"/>
            <ac:spMk id="6" creationId="{0C545564-0021-626C-2891-C040E5888D24}"/>
          </ac:spMkLst>
        </pc:spChg>
        <pc:spChg chg="add mod">
          <ac:chgData name="Karmakar, Sumit" userId="S::skarmakar@elogex.com::5d020034-ff2c-4e7e-8d00-e94708d613b2" providerId="AD" clId="Web-{A1B342A4-9B27-87DA-5822-B9D439C115FF}" dt="2024-03-12T12:46:29.816" v="141" actId="20577"/>
          <ac:spMkLst>
            <pc:docMk/>
            <pc:sldMk cId="3119129675" sldId="2147480103"/>
            <ac:spMk id="7" creationId="{561EBFEE-59AA-0D38-9EDF-24CD5970D5A6}"/>
          </ac:spMkLst>
        </pc:spChg>
        <pc:spChg chg="add del mod">
          <ac:chgData name="Karmakar, Sumit" userId="S::skarmakar@elogex.com::5d020034-ff2c-4e7e-8d00-e94708d613b2" providerId="AD" clId="Web-{A1B342A4-9B27-87DA-5822-B9D439C115FF}" dt="2024-03-12T12:48:55.946" v="181"/>
          <ac:spMkLst>
            <pc:docMk/>
            <pc:sldMk cId="3119129675" sldId="2147480103"/>
            <ac:spMk id="8" creationId="{786A437C-69EF-4C67-2056-2048B6DF85D3}"/>
          </ac:spMkLst>
        </pc:spChg>
        <pc:spChg chg="add del mod">
          <ac:chgData name="Karmakar, Sumit" userId="S::skarmakar@elogex.com::5d020034-ff2c-4e7e-8d00-e94708d613b2" providerId="AD" clId="Web-{A1B342A4-9B27-87DA-5822-B9D439C115FF}" dt="2024-03-12T12:48:55.946" v="180"/>
          <ac:spMkLst>
            <pc:docMk/>
            <pc:sldMk cId="3119129675" sldId="2147480103"/>
            <ac:spMk id="9" creationId="{BB139104-8377-0908-9A80-DF674917BB86}"/>
          </ac:spMkLst>
        </pc:spChg>
      </pc:sldChg>
      <pc:sldChg chg="delSp modSp add replId">
        <pc:chgData name="Karmakar, Sumit" userId="S::skarmakar@elogex.com::5d020034-ff2c-4e7e-8d00-e94708d613b2" providerId="AD" clId="Web-{A1B342A4-9B27-87DA-5822-B9D439C115FF}" dt="2024-03-12T12:48:50.961" v="179"/>
        <pc:sldMkLst>
          <pc:docMk/>
          <pc:sldMk cId="2143152165" sldId="2147480104"/>
        </pc:sldMkLst>
        <pc:spChg chg="mod">
          <ac:chgData name="Karmakar, Sumit" userId="S::skarmakar@elogex.com::5d020034-ff2c-4e7e-8d00-e94708d613b2" providerId="AD" clId="Web-{A1B342A4-9B27-87DA-5822-B9D439C115FF}" dt="2024-03-12T12:48:44.086" v="175" actId="20577"/>
          <ac:spMkLst>
            <pc:docMk/>
            <pc:sldMk cId="2143152165" sldId="2147480104"/>
            <ac:spMk id="2" creationId="{0329E297-E798-08B1-A1CC-65371311D18E}"/>
          </ac:spMkLst>
        </pc:spChg>
        <pc:spChg chg="del">
          <ac:chgData name="Karmakar, Sumit" userId="S::skarmakar@elogex.com::5d020034-ff2c-4e7e-8d00-e94708d613b2" providerId="AD" clId="Web-{A1B342A4-9B27-87DA-5822-B9D439C115FF}" dt="2024-03-12T12:48:50.961" v="179"/>
          <ac:spMkLst>
            <pc:docMk/>
            <pc:sldMk cId="2143152165" sldId="2147480104"/>
            <ac:spMk id="4" creationId="{B829C4CB-BE02-39C9-2884-46EFBA420D6B}"/>
          </ac:spMkLst>
        </pc:spChg>
        <pc:spChg chg="del">
          <ac:chgData name="Karmakar, Sumit" userId="S::skarmakar@elogex.com::5d020034-ff2c-4e7e-8d00-e94708d613b2" providerId="AD" clId="Web-{A1B342A4-9B27-87DA-5822-B9D439C115FF}" dt="2024-03-12T12:48:50.961" v="178"/>
          <ac:spMkLst>
            <pc:docMk/>
            <pc:sldMk cId="2143152165" sldId="2147480104"/>
            <ac:spMk id="5" creationId="{97AA6137-7738-3421-AC3C-20D6C99FAF1A}"/>
          </ac:spMkLst>
        </pc:spChg>
        <pc:spChg chg="del">
          <ac:chgData name="Karmakar, Sumit" userId="S::skarmakar@elogex.com::5d020034-ff2c-4e7e-8d00-e94708d613b2" providerId="AD" clId="Web-{A1B342A4-9B27-87DA-5822-B9D439C115FF}" dt="2024-03-12T12:48:50.961" v="177"/>
          <ac:spMkLst>
            <pc:docMk/>
            <pc:sldMk cId="2143152165" sldId="2147480104"/>
            <ac:spMk id="6" creationId="{0C545564-0021-626C-2891-C040E5888D24}"/>
          </ac:spMkLst>
        </pc:spChg>
        <pc:spChg chg="del">
          <ac:chgData name="Karmakar, Sumit" userId="S::skarmakar@elogex.com::5d020034-ff2c-4e7e-8d00-e94708d613b2" providerId="AD" clId="Web-{A1B342A4-9B27-87DA-5822-B9D439C115FF}" dt="2024-03-12T12:48:50.961" v="176"/>
          <ac:spMkLst>
            <pc:docMk/>
            <pc:sldMk cId="2143152165" sldId="2147480104"/>
            <ac:spMk id="7" creationId="{561EBFEE-59AA-0D38-9EDF-24CD5970D5A6}"/>
          </ac:spMkLst>
        </pc:spChg>
      </pc:sldChg>
      <pc:sldChg chg="addSp delSp modSp add del replId delAnim">
        <pc:chgData name="Karmakar, Sumit" userId="S::skarmakar@elogex.com::5d020034-ff2c-4e7e-8d00-e94708d613b2" providerId="AD" clId="Web-{A1B342A4-9B27-87DA-5822-B9D439C115FF}" dt="2024-03-12T13:11:21.021" v="245"/>
        <pc:sldMkLst>
          <pc:docMk/>
          <pc:sldMk cId="3782552988" sldId="2147480105"/>
        </pc:sldMkLst>
        <pc:spChg chg="mod">
          <ac:chgData name="Karmakar, Sumit" userId="S::skarmakar@elogex.com::5d020034-ff2c-4e7e-8d00-e94708d613b2" providerId="AD" clId="Web-{A1B342A4-9B27-87DA-5822-B9D439C115FF}" dt="2024-03-12T13:08:27.359" v="221" actId="20577"/>
          <ac:spMkLst>
            <pc:docMk/>
            <pc:sldMk cId="3782552988" sldId="2147480105"/>
            <ac:spMk id="2" creationId="{0329E297-E798-08B1-A1CC-65371311D18E}"/>
          </ac:spMkLst>
        </pc:spChg>
        <pc:spChg chg="del">
          <ac:chgData name="Karmakar, Sumit" userId="S::skarmakar@elogex.com::5d020034-ff2c-4e7e-8d00-e94708d613b2" providerId="AD" clId="Web-{A1B342A4-9B27-87DA-5822-B9D439C115FF}" dt="2024-03-12T13:08:51.095" v="234"/>
          <ac:spMkLst>
            <pc:docMk/>
            <pc:sldMk cId="3782552988" sldId="2147480105"/>
            <ac:spMk id="4" creationId="{F0697669-9F12-8549-3D44-D25329EFB281}"/>
          </ac:spMkLst>
        </pc:spChg>
        <pc:spChg chg="del">
          <ac:chgData name="Karmakar, Sumit" userId="S::skarmakar@elogex.com::5d020034-ff2c-4e7e-8d00-e94708d613b2" providerId="AD" clId="Web-{A1B342A4-9B27-87DA-5822-B9D439C115FF}" dt="2024-03-12T13:08:51.095" v="233"/>
          <ac:spMkLst>
            <pc:docMk/>
            <pc:sldMk cId="3782552988" sldId="2147480105"/>
            <ac:spMk id="7" creationId="{A159AD5B-6053-5908-9F59-2480BFB85440}"/>
          </ac:spMkLst>
        </pc:spChg>
        <pc:spChg chg="del">
          <ac:chgData name="Karmakar, Sumit" userId="S::skarmakar@elogex.com::5d020034-ff2c-4e7e-8d00-e94708d613b2" providerId="AD" clId="Web-{A1B342A4-9B27-87DA-5822-B9D439C115FF}" dt="2024-03-12T13:08:51.095" v="232"/>
          <ac:spMkLst>
            <pc:docMk/>
            <pc:sldMk cId="3782552988" sldId="2147480105"/>
            <ac:spMk id="10" creationId="{C7F26662-E20E-39BE-53B4-81587EE8E670}"/>
          </ac:spMkLst>
        </pc:spChg>
        <pc:spChg chg="del">
          <ac:chgData name="Karmakar, Sumit" userId="S::skarmakar@elogex.com::5d020034-ff2c-4e7e-8d00-e94708d613b2" providerId="AD" clId="Web-{A1B342A4-9B27-87DA-5822-B9D439C115FF}" dt="2024-03-12T13:08:51.095" v="230"/>
          <ac:spMkLst>
            <pc:docMk/>
            <pc:sldMk cId="3782552988" sldId="2147480105"/>
            <ac:spMk id="22" creationId="{D3F763AC-3959-D499-CC30-519B8AC5E73F}"/>
          </ac:spMkLst>
        </pc:spChg>
        <pc:spChg chg="del">
          <ac:chgData name="Karmakar, Sumit" userId="S::skarmakar@elogex.com::5d020034-ff2c-4e7e-8d00-e94708d613b2" providerId="AD" clId="Web-{A1B342A4-9B27-87DA-5822-B9D439C115FF}" dt="2024-03-12T13:08:51.095" v="229"/>
          <ac:spMkLst>
            <pc:docMk/>
            <pc:sldMk cId="3782552988" sldId="2147480105"/>
            <ac:spMk id="26" creationId="{98219922-8DC4-8D1E-E189-523A0112C31E}"/>
          </ac:spMkLst>
        </pc:spChg>
        <pc:spChg chg="del">
          <ac:chgData name="Karmakar, Sumit" userId="S::skarmakar@elogex.com::5d020034-ff2c-4e7e-8d00-e94708d613b2" providerId="AD" clId="Web-{A1B342A4-9B27-87DA-5822-B9D439C115FF}" dt="2024-03-12T13:08:51.095" v="227"/>
          <ac:spMkLst>
            <pc:docMk/>
            <pc:sldMk cId="3782552988" sldId="2147480105"/>
            <ac:spMk id="32" creationId="{17C8BC3F-6C8E-4431-BD68-228F1B16F934}"/>
          </ac:spMkLst>
        </pc:spChg>
        <pc:grpChg chg="del">
          <ac:chgData name="Karmakar, Sumit" userId="S::skarmakar@elogex.com::5d020034-ff2c-4e7e-8d00-e94708d613b2" providerId="AD" clId="Web-{A1B342A4-9B27-87DA-5822-B9D439C115FF}" dt="2024-03-12T13:08:51.095" v="231"/>
          <ac:grpSpMkLst>
            <pc:docMk/>
            <pc:sldMk cId="3782552988" sldId="2147480105"/>
            <ac:grpSpMk id="18" creationId="{7B9C20FA-A501-9911-0A73-89E617573AA4}"/>
          </ac:grpSpMkLst>
        </pc:grpChg>
        <pc:grpChg chg="del">
          <ac:chgData name="Karmakar, Sumit" userId="S::skarmakar@elogex.com::5d020034-ff2c-4e7e-8d00-e94708d613b2" providerId="AD" clId="Web-{A1B342A4-9B27-87DA-5822-B9D439C115FF}" dt="2024-03-12T13:08:51.095" v="228"/>
          <ac:grpSpMkLst>
            <pc:docMk/>
            <pc:sldMk cId="3782552988" sldId="2147480105"/>
            <ac:grpSpMk id="30" creationId="{BCD9222C-38AB-4E20-152C-32DCB7EE43A2}"/>
          </ac:grpSpMkLst>
        </pc:grpChg>
        <pc:grpChg chg="del">
          <ac:chgData name="Karmakar, Sumit" userId="S::skarmakar@elogex.com::5d020034-ff2c-4e7e-8d00-e94708d613b2" providerId="AD" clId="Web-{A1B342A4-9B27-87DA-5822-B9D439C115FF}" dt="2024-03-12T13:08:51.095" v="226"/>
          <ac:grpSpMkLst>
            <pc:docMk/>
            <pc:sldMk cId="3782552988" sldId="2147480105"/>
            <ac:grpSpMk id="36" creationId="{BCB9D3F8-7984-9DD3-11E3-C13B96C3AF7B}"/>
          </ac:grpSpMkLst>
        </pc:grpChg>
        <pc:grpChg chg="del">
          <ac:chgData name="Karmakar, Sumit" userId="S::skarmakar@elogex.com::5d020034-ff2c-4e7e-8d00-e94708d613b2" providerId="AD" clId="Web-{A1B342A4-9B27-87DA-5822-B9D439C115FF}" dt="2024-03-12T13:08:51.095" v="225"/>
          <ac:grpSpMkLst>
            <pc:docMk/>
            <pc:sldMk cId="3782552988" sldId="2147480105"/>
            <ac:grpSpMk id="40" creationId="{CF78D80F-9525-1311-726A-AFDCE448820E}"/>
          </ac:grpSpMkLst>
        </pc:grpChg>
        <pc:grpChg chg="del">
          <ac:chgData name="Karmakar, Sumit" userId="S::skarmakar@elogex.com::5d020034-ff2c-4e7e-8d00-e94708d613b2" providerId="AD" clId="Web-{A1B342A4-9B27-87DA-5822-B9D439C115FF}" dt="2024-03-12T13:08:51.095" v="224"/>
          <ac:grpSpMkLst>
            <pc:docMk/>
            <pc:sldMk cId="3782552988" sldId="2147480105"/>
            <ac:grpSpMk id="46" creationId="{EC1D4968-EF26-ECE5-6D9D-64BF433D3A7D}"/>
          </ac:grpSpMkLst>
        </pc:grpChg>
        <pc:grpChg chg="del">
          <ac:chgData name="Karmakar, Sumit" userId="S::skarmakar@elogex.com::5d020034-ff2c-4e7e-8d00-e94708d613b2" providerId="AD" clId="Web-{A1B342A4-9B27-87DA-5822-B9D439C115FF}" dt="2024-03-12T13:08:51.095" v="223"/>
          <ac:grpSpMkLst>
            <pc:docMk/>
            <pc:sldMk cId="3782552988" sldId="2147480105"/>
            <ac:grpSpMk id="62" creationId="{1D2994B6-2693-DF55-0A0C-43128BC15FD0}"/>
          </ac:grpSpMkLst>
        </pc:grpChg>
        <pc:grpChg chg="del">
          <ac:chgData name="Karmakar, Sumit" userId="S::skarmakar@elogex.com::5d020034-ff2c-4e7e-8d00-e94708d613b2" providerId="AD" clId="Web-{A1B342A4-9B27-87DA-5822-B9D439C115FF}" dt="2024-03-12T13:08:51.095" v="222"/>
          <ac:grpSpMkLst>
            <pc:docMk/>
            <pc:sldMk cId="3782552988" sldId="2147480105"/>
            <ac:grpSpMk id="70" creationId="{FB90B166-D1F0-2AF7-C7C1-322A6BAF66DF}"/>
          </ac:grpSpMkLst>
        </pc:grpChg>
        <pc:picChg chg="add del mod">
          <ac:chgData name="Karmakar, Sumit" userId="S::skarmakar@elogex.com::5d020034-ff2c-4e7e-8d00-e94708d613b2" providerId="AD" clId="Web-{A1B342A4-9B27-87DA-5822-B9D439C115FF}" dt="2024-03-12T13:09:53.706" v="240"/>
          <ac:picMkLst>
            <pc:docMk/>
            <pc:sldMk cId="3782552988" sldId="2147480105"/>
            <ac:picMk id="3" creationId="{0F9E457C-D4F1-0B46-E397-601647EE6EF8}"/>
          </ac:picMkLst>
        </pc:picChg>
        <pc:picChg chg="add del mod">
          <ac:chgData name="Karmakar, Sumit" userId="S::skarmakar@elogex.com::5d020034-ff2c-4e7e-8d00-e94708d613b2" providerId="AD" clId="Web-{A1B342A4-9B27-87DA-5822-B9D439C115FF}" dt="2024-03-12T13:10:38.817" v="242"/>
          <ac:picMkLst>
            <pc:docMk/>
            <pc:sldMk cId="3782552988" sldId="2147480105"/>
            <ac:picMk id="5" creationId="{D538B5C8-0E5D-B353-E53E-742AA0D470A9}"/>
          </ac:picMkLst>
        </pc:picChg>
        <pc:picChg chg="add del mod">
          <ac:chgData name="Karmakar, Sumit" userId="S::skarmakar@elogex.com::5d020034-ff2c-4e7e-8d00-e94708d613b2" providerId="AD" clId="Web-{A1B342A4-9B27-87DA-5822-B9D439C115FF}" dt="2024-03-12T13:11:15.912" v="244"/>
          <ac:picMkLst>
            <pc:docMk/>
            <pc:sldMk cId="3782552988" sldId="2147480105"/>
            <ac:picMk id="6" creationId="{06B05F69-110D-CB3D-9506-63A828AE6368}"/>
          </ac:picMkLst>
        </pc:picChg>
      </pc:sldChg>
    </pc:docChg>
  </pc:docChgLst>
  <pc:docChgLst>
    <pc:chgData name="Karmakar, Sumit" userId="S::skarmakar@elogex.com::5d020034-ff2c-4e7e-8d00-e94708d613b2" providerId="AD" clId="Web-{32EB4B95-29D3-55B0-C1BA-8CEBCC0039DA}"/>
    <pc:docChg chg="addSld delSld modSld modSection">
      <pc:chgData name="Karmakar, Sumit" userId="S::skarmakar@elogex.com::5d020034-ff2c-4e7e-8d00-e94708d613b2" providerId="AD" clId="Web-{32EB4B95-29D3-55B0-C1BA-8CEBCC0039DA}" dt="2024-03-26T13:53:29.801" v="125" actId="20577"/>
      <pc:docMkLst>
        <pc:docMk/>
      </pc:docMkLst>
      <pc:sldChg chg="delSp">
        <pc:chgData name="Karmakar, Sumit" userId="S::skarmakar@elogex.com::5d020034-ff2c-4e7e-8d00-e94708d613b2" providerId="AD" clId="Web-{32EB4B95-29D3-55B0-C1BA-8CEBCC0039DA}" dt="2024-03-26T13:51:01.092" v="86"/>
        <pc:sldMkLst>
          <pc:docMk/>
          <pc:sldMk cId="1693912635" sldId="2147480094"/>
        </pc:sldMkLst>
        <pc:spChg chg="del">
          <ac:chgData name="Karmakar, Sumit" userId="S::skarmakar@elogex.com::5d020034-ff2c-4e7e-8d00-e94708d613b2" providerId="AD" clId="Web-{32EB4B95-29D3-55B0-C1BA-8CEBCC0039DA}" dt="2024-03-26T13:51:01.092" v="86"/>
          <ac:spMkLst>
            <pc:docMk/>
            <pc:sldMk cId="1693912635" sldId="2147480094"/>
            <ac:spMk id="14" creationId="{A1694DFA-409D-5F39-CC5D-F26355CFB730}"/>
          </ac:spMkLst>
        </pc:spChg>
      </pc:sldChg>
      <pc:sldChg chg="modSp">
        <pc:chgData name="Karmakar, Sumit" userId="S::skarmakar@elogex.com::5d020034-ff2c-4e7e-8d00-e94708d613b2" providerId="AD" clId="Web-{32EB4B95-29D3-55B0-C1BA-8CEBCC0039DA}" dt="2024-03-26T13:50:41.982" v="85" actId="20577"/>
        <pc:sldMkLst>
          <pc:docMk/>
          <pc:sldMk cId="3118094164" sldId="2147480101"/>
        </pc:sldMkLst>
        <pc:spChg chg="mod">
          <ac:chgData name="Karmakar, Sumit" userId="S::skarmakar@elogex.com::5d020034-ff2c-4e7e-8d00-e94708d613b2" providerId="AD" clId="Web-{32EB4B95-29D3-55B0-C1BA-8CEBCC0039DA}" dt="2024-03-26T13:50:41.982" v="85" actId="20577"/>
          <ac:spMkLst>
            <pc:docMk/>
            <pc:sldMk cId="3118094164" sldId="2147480101"/>
            <ac:spMk id="9" creationId="{7FBA4B87-97CE-C427-F2E6-4E29EF3AAD3C}"/>
          </ac:spMkLst>
        </pc:spChg>
        <pc:graphicFrameChg chg="modGraphic">
          <ac:chgData name="Karmakar, Sumit" userId="S::skarmakar@elogex.com::5d020034-ff2c-4e7e-8d00-e94708d613b2" providerId="AD" clId="Web-{32EB4B95-29D3-55B0-C1BA-8CEBCC0039DA}" dt="2024-03-26T13:50:26.762" v="82" actId="20577"/>
          <ac:graphicFrameMkLst>
            <pc:docMk/>
            <pc:sldMk cId="3118094164" sldId="2147480101"/>
            <ac:graphicFrameMk id="3" creationId="{A0C264A5-87A4-39BA-F813-F8DBD0595773}"/>
          </ac:graphicFrameMkLst>
        </pc:graphicFrameChg>
      </pc:sldChg>
      <pc:sldChg chg="modSp">
        <pc:chgData name="Karmakar, Sumit" userId="S::skarmakar@elogex.com::5d020034-ff2c-4e7e-8d00-e94708d613b2" providerId="AD" clId="Web-{32EB4B95-29D3-55B0-C1BA-8CEBCC0039DA}" dt="2024-03-26T13:45:28.485" v="19" actId="20577"/>
        <pc:sldMkLst>
          <pc:docMk/>
          <pc:sldMk cId="480133652" sldId="2147480109"/>
        </pc:sldMkLst>
        <pc:spChg chg="mod">
          <ac:chgData name="Karmakar, Sumit" userId="S::skarmakar@elogex.com::5d020034-ff2c-4e7e-8d00-e94708d613b2" providerId="AD" clId="Web-{32EB4B95-29D3-55B0-C1BA-8CEBCC0039DA}" dt="2024-03-26T13:45:28.485" v="19" actId="20577"/>
          <ac:spMkLst>
            <pc:docMk/>
            <pc:sldMk cId="480133652" sldId="2147480109"/>
            <ac:spMk id="4" creationId="{0316E24A-36E5-F9DC-64A3-504BD87305DA}"/>
          </ac:spMkLst>
        </pc:spChg>
      </pc:sldChg>
      <pc:sldChg chg="modSp">
        <pc:chgData name="Karmakar, Sumit" userId="S::skarmakar@elogex.com::5d020034-ff2c-4e7e-8d00-e94708d613b2" providerId="AD" clId="Web-{32EB4B95-29D3-55B0-C1BA-8CEBCC0039DA}" dt="2024-03-26T13:51:34.468" v="106" actId="20577"/>
        <pc:sldMkLst>
          <pc:docMk/>
          <pc:sldMk cId="1765818760" sldId="2147480113"/>
        </pc:sldMkLst>
        <pc:spChg chg="mod">
          <ac:chgData name="Karmakar, Sumit" userId="S::skarmakar@elogex.com::5d020034-ff2c-4e7e-8d00-e94708d613b2" providerId="AD" clId="Web-{32EB4B95-29D3-55B0-C1BA-8CEBCC0039DA}" dt="2024-03-26T13:51:34.468" v="106" actId="20577"/>
          <ac:spMkLst>
            <pc:docMk/>
            <pc:sldMk cId="1765818760" sldId="2147480113"/>
            <ac:spMk id="2" creationId="{0329E297-E798-08B1-A1CC-65371311D18E}"/>
          </ac:spMkLst>
        </pc:spChg>
      </pc:sldChg>
      <pc:sldChg chg="del">
        <pc:chgData name="Karmakar, Sumit" userId="S::skarmakar@elogex.com::5d020034-ff2c-4e7e-8d00-e94708d613b2" providerId="AD" clId="Web-{32EB4B95-29D3-55B0-C1BA-8CEBCC0039DA}" dt="2024-03-26T13:42:44.479" v="0"/>
        <pc:sldMkLst>
          <pc:docMk/>
          <pc:sldMk cId="2185285943" sldId="2147480118"/>
        </pc:sldMkLst>
      </pc:sldChg>
      <pc:sldChg chg="modSp">
        <pc:chgData name="Karmakar, Sumit" userId="S::skarmakar@elogex.com::5d020034-ff2c-4e7e-8d00-e94708d613b2" providerId="AD" clId="Web-{32EB4B95-29D3-55B0-C1BA-8CEBCC0039DA}" dt="2024-03-26T13:51:20.327" v="100" actId="20577"/>
        <pc:sldMkLst>
          <pc:docMk/>
          <pc:sldMk cId="2801638841" sldId="2147480120"/>
        </pc:sldMkLst>
        <pc:spChg chg="mod">
          <ac:chgData name="Karmakar, Sumit" userId="S::skarmakar@elogex.com::5d020034-ff2c-4e7e-8d00-e94708d613b2" providerId="AD" clId="Web-{32EB4B95-29D3-55B0-C1BA-8CEBCC0039DA}" dt="2024-03-26T13:51:20.327" v="100" actId="20577"/>
          <ac:spMkLst>
            <pc:docMk/>
            <pc:sldMk cId="2801638841" sldId="2147480120"/>
            <ac:spMk id="2" creationId="{5429BBFA-3801-9631-FFE5-70B7418F24FD}"/>
          </ac:spMkLst>
        </pc:spChg>
      </pc:sldChg>
      <pc:sldChg chg="del">
        <pc:chgData name="Karmakar, Sumit" userId="S::skarmakar@elogex.com::5d020034-ff2c-4e7e-8d00-e94708d613b2" providerId="AD" clId="Web-{32EB4B95-29D3-55B0-C1BA-8CEBCC0039DA}" dt="2024-03-26T13:43:05.105" v="1"/>
        <pc:sldMkLst>
          <pc:docMk/>
          <pc:sldMk cId="3006918676" sldId="2147480124"/>
        </pc:sldMkLst>
      </pc:sldChg>
      <pc:sldChg chg="modSp">
        <pc:chgData name="Karmakar, Sumit" userId="S::skarmakar@elogex.com::5d020034-ff2c-4e7e-8d00-e94708d613b2" providerId="AD" clId="Web-{32EB4B95-29D3-55B0-C1BA-8CEBCC0039DA}" dt="2024-03-26T13:44:26.749" v="10" actId="20577"/>
        <pc:sldMkLst>
          <pc:docMk/>
          <pc:sldMk cId="124787207" sldId="2147480125"/>
        </pc:sldMkLst>
        <pc:spChg chg="mod">
          <ac:chgData name="Karmakar, Sumit" userId="S::skarmakar@elogex.com::5d020034-ff2c-4e7e-8d00-e94708d613b2" providerId="AD" clId="Web-{32EB4B95-29D3-55B0-C1BA-8CEBCC0039DA}" dt="2024-03-26T13:43:37.528" v="5" actId="20577"/>
          <ac:spMkLst>
            <pc:docMk/>
            <pc:sldMk cId="124787207" sldId="2147480125"/>
            <ac:spMk id="5" creationId="{9EC53D68-A263-06FE-93B4-B648803621B0}"/>
          </ac:spMkLst>
        </pc:spChg>
        <pc:spChg chg="mod">
          <ac:chgData name="Karmakar, Sumit" userId="S::skarmakar@elogex.com::5d020034-ff2c-4e7e-8d00-e94708d613b2" providerId="AD" clId="Web-{32EB4B95-29D3-55B0-C1BA-8CEBCC0039DA}" dt="2024-03-26T13:43:51.122" v="8" actId="20577"/>
          <ac:spMkLst>
            <pc:docMk/>
            <pc:sldMk cId="124787207" sldId="2147480125"/>
            <ac:spMk id="20" creationId="{EF3CC311-68AE-AC78-C191-00D4A319D760}"/>
          </ac:spMkLst>
        </pc:spChg>
        <pc:spChg chg="mod">
          <ac:chgData name="Karmakar, Sumit" userId="S::skarmakar@elogex.com::5d020034-ff2c-4e7e-8d00-e94708d613b2" providerId="AD" clId="Web-{32EB4B95-29D3-55B0-C1BA-8CEBCC0039DA}" dt="2024-03-26T13:44:26.749" v="10" actId="20577"/>
          <ac:spMkLst>
            <pc:docMk/>
            <pc:sldMk cId="124787207" sldId="2147480125"/>
            <ac:spMk id="23" creationId="{920ABBEB-F283-196D-8086-99FAA1F4F9B3}"/>
          </ac:spMkLst>
        </pc:spChg>
        <pc:spChg chg="mod">
          <ac:chgData name="Karmakar, Sumit" userId="S::skarmakar@elogex.com::5d020034-ff2c-4e7e-8d00-e94708d613b2" providerId="AD" clId="Web-{32EB4B95-29D3-55B0-C1BA-8CEBCC0039DA}" dt="2024-03-26T13:43:31.465" v="4" actId="20577"/>
          <ac:spMkLst>
            <pc:docMk/>
            <pc:sldMk cId="124787207" sldId="2147480125"/>
            <ac:spMk id="29" creationId="{4E17A846-0BA2-FE67-6117-4A9F9C2AC2DA}"/>
          </ac:spMkLst>
        </pc:spChg>
        <pc:spChg chg="mod">
          <ac:chgData name="Karmakar, Sumit" userId="S::skarmakar@elogex.com::5d020034-ff2c-4e7e-8d00-e94708d613b2" providerId="AD" clId="Web-{32EB4B95-29D3-55B0-C1BA-8CEBCC0039DA}" dt="2024-03-26T13:44:11.998" v="9" actId="20577"/>
          <ac:spMkLst>
            <pc:docMk/>
            <pc:sldMk cId="124787207" sldId="2147480125"/>
            <ac:spMk id="31" creationId="{2A2E292A-770E-6EEE-F097-5898A1C6FC1E}"/>
          </ac:spMkLst>
        </pc:spChg>
      </pc:sldChg>
      <pc:sldChg chg="delSp modSp">
        <pc:chgData name="Karmakar, Sumit" userId="S::skarmakar@elogex.com::5d020034-ff2c-4e7e-8d00-e94708d613b2" providerId="AD" clId="Web-{32EB4B95-29D3-55B0-C1BA-8CEBCC0039DA}" dt="2024-03-26T13:52:45.299" v="116" actId="1076"/>
        <pc:sldMkLst>
          <pc:docMk/>
          <pc:sldMk cId="3502658628" sldId="2147480127"/>
        </pc:sldMkLst>
        <pc:spChg chg="mod">
          <ac:chgData name="Karmakar, Sumit" userId="S::skarmakar@elogex.com::5d020034-ff2c-4e7e-8d00-e94708d613b2" providerId="AD" clId="Web-{32EB4B95-29D3-55B0-C1BA-8CEBCC0039DA}" dt="2024-03-26T13:52:19.095" v="111" actId="20577"/>
          <ac:spMkLst>
            <pc:docMk/>
            <pc:sldMk cId="3502658628" sldId="2147480127"/>
            <ac:spMk id="2" creationId="{7C082A7E-E310-17E3-E129-649341E980C1}"/>
          </ac:spMkLst>
        </pc:spChg>
        <pc:spChg chg="mod">
          <ac:chgData name="Karmakar, Sumit" userId="S::skarmakar@elogex.com::5d020034-ff2c-4e7e-8d00-e94708d613b2" providerId="AD" clId="Web-{32EB4B95-29D3-55B0-C1BA-8CEBCC0039DA}" dt="2024-03-26T13:52:45.299" v="116" actId="1076"/>
          <ac:spMkLst>
            <pc:docMk/>
            <pc:sldMk cId="3502658628" sldId="2147480127"/>
            <ac:spMk id="3" creationId="{95EACCFC-1AB4-E705-39CF-082950901B82}"/>
          </ac:spMkLst>
        </pc:spChg>
        <pc:spChg chg="mod">
          <ac:chgData name="Karmakar, Sumit" userId="S::skarmakar@elogex.com::5d020034-ff2c-4e7e-8d00-e94708d613b2" providerId="AD" clId="Web-{32EB4B95-29D3-55B0-C1BA-8CEBCC0039DA}" dt="2024-03-26T13:52:37.189" v="114" actId="14100"/>
          <ac:spMkLst>
            <pc:docMk/>
            <pc:sldMk cId="3502658628" sldId="2147480127"/>
            <ac:spMk id="4" creationId="{53D61D74-7667-418B-79BA-8B3D88D7D0F6}"/>
          </ac:spMkLst>
        </pc:spChg>
        <pc:spChg chg="del">
          <ac:chgData name="Karmakar, Sumit" userId="S::skarmakar@elogex.com::5d020034-ff2c-4e7e-8d00-e94708d613b2" providerId="AD" clId="Web-{32EB4B95-29D3-55B0-C1BA-8CEBCC0039DA}" dt="2024-03-26T13:52:28.001" v="112"/>
          <ac:spMkLst>
            <pc:docMk/>
            <pc:sldMk cId="3502658628" sldId="2147480127"/>
            <ac:spMk id="5" creationId="{AD6DA829-B88B-9940-7A69-8B2210CED0EA}"/>
          </ac:spMkLst>
        </pc:spChg>
        <pc:spChg chg="del">
          <ac:chgData name="Karmakar, Sumit" userId="S::skarmakar@elogex.com::5d020034-ff2c-4e7e-8d00-e94708d613b2" providerId="AD" clId="Web-{32EB4B95-29D3-55B0-C1BA-8CEBCC0039DA}" dt="2024-03-26T13:52:31.455" v="113"/>
          <ac:spMkLst>
            <pc:docMk/>
            <pc:sldMk cId="3502658628" sldId="2147480127"/>
            <ac:spMk id="6" creationId="{67198E3D-3C9A-5220-0DC7-94E7ACF46720}"/>
          </ac:spMkLst>
        </pc:spChg>
      </pc:sldChg>
      <pc:sldChg chg="addSp delSp modSp add replId">
        <pc:chgData name="Karmakar, Sumit" userId="S::skarmakar@elogex.com::5d020034-ff2c-4e7e-8d00-e94708d613b2" providerId="AD" clId="Web-{32EB4B95-29D3-55B0-C1BA-8CEBCC0039DA}" dt="2024-03-26T13:53:29.801" v="125" actId="20577"/>
        <pc:sldMkLst>
          <pc:docMk/>
          <pc:sldMk cId="971165485" sldId="2147480128"/>
        </pc:sldMkLst>
        <pc:spChg chg="mod">
          <ac:chgData name="Karmakar, Sumit" userId="S::skarmakar@elogex.com::5d020034-ff2c-4e7e-8d00-e94708d613b2" providerId="AD" clId="Web-{32EB4B95-29D3-55B0-C1BA-8CEBCC0039DA}" dt="2024-03-26T13:53:29.801" v="125" actId="20577"/>
          <ac:spMkLst>
            <pc:docMk/>
            <pc:sldMk cId="971165485" sldId="2147480128"/>
            <ac:spMk id="2" creationId="{7C082A7E-E310-17E3-E129-649341E980C1}"/>
          </ac:spMkLst>
        </pc:spChg>
        <pc:spChg chg="del">
          <ac:chgData name="Karmakar, Sumit" userId="S::skarmakar@elogex.com::5d020034-ff2c-4e7e-8d00-e94708d613b2" providerId="AD" clId="Web-{32EB4B95-29D3-55B0-C1BA-8CEBCC0039DA}" dt="2024-03-26T13:52:55.565" v="118"/>
          <ac:spMkLst>
            <pc:docMk/>
            <pc:sldMk cId="971165485" sldId="2147480128"/>
            <ac:spMk id="3" creationId="{95EACCFC-1AB4-E705-39CF-082950901B82}"/>
          </ac:spMkLst>
        </pc:spChg>
        <pc:spChg chg="del">
          <ac:chgData name="Karmakar, Sumit" userId="S::skarmakar@elogex.com::5d020034-ff2c-4e7e-8d00-e94708d613b2" providerId="AD" clId="Web-{32EB4B95-29D3-55B0-C1BA-8CEBCC0039DA}" dt="2024-03-26T13:52:52.846" v="117"/>
          <ac:spMkLst>
            <pc:docMk/>
            <pc:sldMk cId="971165485" sldId="2147480128"/>
            <ac:spMk id="4" creationId="{53D61D74-7667-418B-79BA-8B3D88D7D0F6}"/>
          </ac:spMkLst>
        </pc:spChg>
        <pc:spChg chg="mod">
          <ac:chgData name="Karmakar, Sumit" userId="S::skarmakar@elogex.com::5d020034-ff2c-4e7e-8d00-e94708d613b2" providerId="AD" clId="Web-{32EB4B95-29D3-55B0-C1BA-8CEBCC0039DA}" dt="2024-03-26T13:53:05.831" v="120" actId="14100"/>
          <ac:spMkLst>
            <pc:docMk/>
            <pc:sldMk cId="971165485" sldId="2147480128"/>
            <ac:spMk id="5" creationId="{AD6DA829-B88B-9940-7A69-8B2210CED0EA}"/>
          </ac:spMkLst>
        </pc:spChg>
        <pc:spChg chg="mod">
          <ac:chgData name="Karmakar, Sumit" userId="S::skarmakar@elogex.com::5d020034-ff2c-4e7e-8d00-e94708d613b2" providerId="AD" clId="Web-{32EB4B95-29D3-55B0-C1BA-8CEBCC0039DA}" dt="2024-03-26T13:53:15.347" v="122" actId="1076"/>
          <ac:spMkLst>
            <pc:docMk/>
            <pc:sldMk cId="971165485" sldId="2147480128"/>
            <ac:spMk id="6" creationId="{67198E3D-3C9A-5220-0DC7-94E7ACF46720}"/>
          </ac:spMkLst>
        </pc:spChg>
        <pc:spChg chg="add del mod">
          <ac:chgData name="Karmakar, Sumit" userId="S::skarmakar@elogex.com::5d020034-ff2c-4e7e-8d00-e94708d613b2" providerId="AD" clId="Web-{32EB4B95-29D3-55B0-C1BA-8CEBCC0039DA}" dt="2024-03-26T13:52:59.690" v="119"/>
          <ac:spMkLst>
            <pc:docMk/>
            <pc:sldMk cId="971165485" sldId="2147480128"/>
            <ac:spMk id="9" creationId="{220D8381-250C-D4E1-2366-24EE9084EA36}"/>
          </ac:spMkLst>
        </pc:spChg>
      </pc:sldChg>
    </pc:docChg>
  </pc:docChgLst>
  <pc:docChgLst>
    <pc:chgData name="Karmakar, Sumit" userId="S::skarmakar@elogex.com::5d020034-ff2c-4e7e-8d00-e94708d613b2" providerId="AD" clId="Web-{5375A68D-4181-441D-1EDE-358F54FF98E9}"/>
    <pc:docChg chg="modSld">
      <pc:chgData name="Karmakar, Sumit" userId="S::skarmakar@elogex.com::5d020034-ff2c-4e7e-8d00-e94708d613b2" providerId="AD" clId="Web-{5375A68D-4181-441D-1EDE-358F54FF98E9}" dt="2024-03-25T21:00:02.267" v="86" actId="14100"/>
      <pc:docMkLst>
        <pc:docMk/>
      </pc:docMkLst>
      <pc:sldChg chg="modSp">
        <pc:chgData name="Karmakar, Sumit" userId="S::skarmakar@elogex.com::5d020034-ff2c-4e7e-8d00-e94708d613b2" providerId="AD" clId="Web-{5375A68D-4181-441D-1EDE-358F54FF98E9}" dt="2024-03-25T20:56:14.744" v="9" actId="20577"/>
        <pc:sldMkLst>
          <pc:docMk/>
          <pc:sldMk cId="1693912635" sldId="2147480094"/>
        </pc:sldMkLst>
        <pc:spChg chg="mod">
          <ac:chgData name="Karmakar, Sumit" userId="S::skarmakar@elogex.com::5d020034-ff2c-4e7e-8d00-e94708d613b2" providerId="AD" clId="Web-{5375A68D-4181-441D-1EDE-358F54FF98E9}" dt="2024-03-25T20:56:14.744" v="9" actId="20577"/>
          <ac:spMkLst>
            <pc:docMk/>
            <pc:sldMk cId="1693912635" sldId="2147480094"/>
            <ac:spMk id="9" creationId="{7FBA4B87-97CE-C427-F2E6-4E29EF3AAD3C}"/>
          </ac:spMkLst>
        </pc:spChg>
      </pc:sldChg>
      <pc:sldChg chg="delSp modSp">
        <pc:chgData name="Karmakar, Sumit" userId="S::skarmakar@elogex.com::5d020034-ff2c-4e7e-8d00-e94708d613b2" providerId="AD" clId="Web-{5375A68D-4181-441D-1EDE-358F54FF98E9}" dt="2024-03-25T21:00:02.267" v="86" actId="14100"/>
        <pc:sldMkLst>
          <pc:docMk/>
          <pc:sldMk cId="565861938" sldId="2147480095"/>
        </pc:sldMkLst>
        <pc:spChg chg="mod">
          <ac:chgData name="Karmakar, Sumit" userId="S::skarmakar@elogex.com::5d020034-ff2c-4e7e-8d00-e94708d613b2" providerId="AD" clId="Web-{5375A68D-4181-441D-1EDE-358F54FF98E9}" dt="2024-03-25T21:00:02.235" v="83" actId="14100"/>
          <ac:spMkLst>
            <pc:docMk/>
            <pc:sldMk cId="565861938" sldId="2147480095"/>
            <ac:spMk id="3" creationId="{F3DA6107-33E1-9438-D065-7B23A77E442B}"/>
          </ac:spMkLst>
        </pc:spChg>
        <pc:spChg chg="mod">
          <ac:chgData name="Karmakar, Sumit" userId="S::skarmakar@elogex.com::5d020034-ff2c-4e7e-8d00-e94708d613b2" providerId="AD" clId="Web-{5375A68D-4181-441D-1EDE-358F54FF98E9}" dt="2024-03-25T21:00:02.251" v="84" actId="14100"/>
          <ac:spMkLst>
            <pc:docMk/>
            <pc:sldMk cId="565861938" sldId="2147480095"/>
            <ac:spMk id="4" creationId="{CC4D759E-91DC-1EF6-3378-6D0AA70590B9}"/>
          </ac:spMkLst>
        </pc:spChg>
        <pc:spChg chg="mod">
          <ac:chgData name="Karmakar, Sumit" userId="S::skarmakar@elogex.com::5d020034-ff2c-4e7e-8d00-e94708d613b2" providerId="AD" clId="Web-{5375A68D-4181-441D-1EDE-358F54FF98E9}" dt="2024-03-25T21:00:02.251" v="85" actId="14100"/>
          <ac:spMkLst>
            <pc:docMk/>
            <pc:sldMk cId="565861938" sldId="2147480095"/>
            <ac:spMk id="5" creationId="{9EC53D68-A263-06FE-93B4-B648803621B0}"/>
          </ac:spMkLst>
        </pc:spChg>
        <pc:spChg chg="mod">
          <ac:chgData name="Karmakar, Sumit" userId="S::skarmakar@elogex.com::5d020034-ff2c-4e7e-8d00-e94708d613b2" providerId="AD" clId="Web-{5375A68D-4181-441D-1EDE-358F54FF98E9}" dt="2024-03-25T21:00:02.079" v="69" actId="14100"/>
          <ac:spMkLst>
            <pc:docMk/>
            <pc:sldMk cId="565861938" sldId="2147480095"/>
            <ac:spMk id="9" creationId="{07CE4040-D44C-B20B-3297-1B5F090F8C99}"/>
          </ac:spMkLst>
        </pc:spChg>
        <pc:spChg chg="mod">
          <ac:chgData name="Karmakar, Sumit" userId="S::skarmakar@elogex.com::5d020034-ff2c-4e7e-8d00-e94708d613b2" providerId="AD" clId="Web-{5375A68D-4181-441D-1EDE-358F54FF98E9}" dt="2024-03-25T21:00:02.095" v="70" actId="14100"/>
          <ac:spMkLst>
            <pc:docMk/>
            <pc:sldMk cId="565861938" sldId="2147480095"/>
            <ac:spMk id="11" creationId="{9B8733AF-1ACA-0817-500E-BF850E95ECC4}"/>
          </ac:spMkLst>
        </pc:spChg>
        <pc:spChg chg="mod">
          <ac:chgData name="Karmakar, Sumit" userId="S::skarmakar@elogex.com::5d020034-ff2c-4e7e-8d00-e94708d613b2" providerId="AD" clId="Web-{5375A68D-4181-441D-1EDE-358F54FF98E9}" dt="2024-03-25T21:00:02.110" v="71" actId="14100"/>
          <ac:spMkLst>
            <pc:docMk/>
            <pc:sldMk cId="565861938" sldId="2147480095"/>
            <ac:spMk id="13" creationId="{C1D28996-B9E7-8C64-127C-378031DDAC5B}"/>
          </ac:spMkLst>
        </pc:spChg>
        <pc:spChg chg="mod">
          <ac:chgData name="Karmakar, Sumit" userId="S::skarmakar@elogex.com::5d020034-ff2c-4e7e-8d00-e94708d613b2" providerId="AD" clId="Web-{5375A68D-4181-441D-1EDE-358F54FF98E9}" dt="2024-03-25T21:00:02.126" v="73" actId="14100"/>
          <ac:spMkLst>
            <pc:docMk/>
            <pc:sldMk cId="565861938" sldId="2147480095"/>
            <ac:spMk id="19" creationId="{4D995FCE-2224-CDDB-DDEA-4F6A2FB80C72}"/>
          </ac:spMkLst>
        </pc:spChg>
        <pc:spChg chg="mod">
          <ac:chgData name="Karmakar, Sumit" userId="S::skarmakar@elogex.com::5d020034-ff2c-4e7e-8d00-e94708d613b2" providerId="AD" clId="Web-{5375A68D-4181-441D-1EDE-358F54FF98E9}" dt="2024-03-25T21:00:02.142" v="74" actId="14100"/>
          <ac:spMkLst>
            <pc:docMk/>
            <pc:sldMk cId="565861938" sldId="2147480095"/>
            <ac:spMk id="21" creationId="{80FEDC7B-E799-1C2B-1C3F-CDD3197062CA}"/>
          </ac:spMkLst>
        </pc:spChg>
        <pc:spChg chg="mod">
          <ac:chgData name="Karmakar, Sumit" userId="S::skarmakar@elogex.com::5d020034-ff2c-4e7e-8d00-e94708d613b2" providerId="AD" clId="Web-{5375A68D-4181-441D-1EDE-358F54FF98E9}" dt="2024-03-25T21:00:02.142" v="75" actId="14100"/>
          <ac:spMkLst>
            <pc:docMk/>
            <pc:sldMk cId="565861938" sldId="2147480095"/>
            <ac:spMk id="23" creationId="{920ABBEB-F283-196D-8086-99FAA1F4F9B3}"/>
          </ac:spMkLst>
        </pc:spChg>
        <pc:spChg chg="mod">
          <ac:chgData name="Karmakar, Sumit" userId="S::skarmakar@elogex.com::5d020034-ff2c-4e7e-8d00-e94708d613b2" providerId="AD" clId="Web-{5375A68D-4181-441D-1EDE-358F54FF98E9}" dt="2024-03-25T21:00:02.157" v="76" actId="14100"/>
          <ac:spMkLst>
            <pc:docMk/>
            <pc:sldMk cId="565861938" sldId="2147480095"/>
            <ac:spMk id="25" creationId="{0E961777-BCE0-B3C3-9228-16DF9679EB1C}"/>
          </ac:spMkLst>
        </pc:spChg>
        <pc:spChg chg="mod">
          <ac:chgData name="Karmakar, Sumit" userId="S::skarmakar@elogex.com::5d020034-ff2c-4e7e-8d00-e94708d613b2" providerId="AD" clId="Web-{5375A68D-4181-441D-1EDE-358F54FF98E9}" dt="2024-03-25T21:00:02.173" v="77" actId="14100"/>
          <ac:spMkLst>
            <pc:docMk/>
            <pc:sldMk cId="565861938" sldId="2147480095"/>
            <ac:spMk id="27" creationId="{851BF37F-AE54-9EC4-7B8E-B0D6E1D8DCB4}"/>
          </ac:spMkLst>
        </pc:spChg>
        <pc:spChg chg="mod">
          <ac:chgData name="Karmakar, Sumit" userId="S::skarmakar@elogex.com::5d020034-ff2c-4e7e-8d00-e94708d613b2" providerId="AD" clId="Web-{5375A68D-4181-441D-1EDE-358F54FF98E9}" dt="2024-03-25T21:00:02.173" v="78" actId="14100"/>
          <ac:spMkLst>
            <pc:docMk/>
            <pc:sldMk cId="565861938" sldId="2147480095"/>
            <ac:spMk id="29" creationId="{4E17A846-0BA2-FE67-6117-4A9F9C2AC2DA}"/>
          </ac:spMkLst>
        </pc:spChg>
        <pc:spChg chg="del">
          <ac:chgData name="Karmakar, Sumit" userId="S::skarmakar@elogex.com::5d020034-ff2c-4e7e-8d00-e94708d613b2" providerId="AD" clId="Web-{5375A68D-4181-441D-1EDE-358F54FF98E9}" dt="2024-03-25T20:58:51.155" v="10"/>
          <ac:spMkLst>
            <pc:docMk/>
            <pc:sldMk cId="565861938" sldId="2147480095"/>
            <ac:spMk id="59" creationId="{CDE944F2-26E5-83C1-4747-3CEFEE5CE018}"/>
          </ac:spMkLst>
        </pc:spChg>
        <pc:picChg chg="mod">
          <ac:chgData name="Karmakar, Sumit" userId="S::skarmakar@elogex.com::5d020034-ff2c-4e7e-8d00-e94708d613b2" providerId="AD" clId="Web-{5375A68D-4181-441D-1EDE-358F54FF98E9}" dt="2024-03-25T21:00:02.079" v="68" actId="14100"/>
          <ac:picMkLst>
            <pc:docMk/>
            <pc:sldMk cId="565861938" sldId="2147480095"/>
            <ac:picMk id="6" creationId="{564F8508-1A4F-8581-325B-7D5F8C677BDF}"/>
          </ac:picMkLst>
        </pc:picChg>
        <pc:picChg chg="mod">
          <ac:chgData name="Karmakar, Sumit" userId="S::skarmakar@elogex.com::5d020034-ff2c-4e7e-8d00-e94708d613b2" providerId="AD" clId="Web-{5375A68D-4181-441D-1EDE-358F54FF98E9}" dt="2024-03-25T21:00:02.267" v="86" actId="14100"/>
          <ac:picMkLst>
            <pc:docMk/>
            <pc:sldMk cId="565861938" sldId="2147480095"/>
            <ac:picMk id="7" creationId="{AF11AF0C-C878-7741-2649-FB09F74C4FC4}"/>
          </ac:picMkLst>
        </pc:picChg>
        <pc:picChg chg="mod">
          <ac:chgData name="Karmakar, Sumit" userId="S::skarmakar@elogex.com::5d020034-ff2c-4e7e-8d00-e94708d613b2" providerId="AD" clId="Web-{5375A68D-4181-441D-1EDE-358F54FF98E9}" dt="2024-03-25T21:00:02.126" v="72" actId="14100"/>
          <ac:picMkLst>
            <pc:docMk/>
            <pc:sldMk cId="565861938" sldId="2147480095"/>
            <ac:picMk id="15" creationId="{8A5CF876-DC73-2936-0A37-5DC57B6D5068}"/>
          </ac:picMkLst>
        </pc:picChg>
        <pc:picChg chg="mod">
          <ac:chgData name="Karmakar, Sumit" userId="S::skarmakar@elogex.com::5d020034-ff2c-4e7e-8d00-e94708d613b2" providerId="AD" clId="Web-{5375A68D-4181-441D-1EDE-358F54FF98E9}" dt="2024-03-25T21:00:02.188" v="79" actId="14100"/>
          <ac:picMkLst>
            <pc:docMk/>
            <pc:sldMk cId="565861938" sldId="2147480095"/>
            <ac:picMk id="33" creationId="{1211DC14-FB69-49C8-17E3-A52DE2956DE6}"/>
          </ac:picMkLst>
        </pc:picChg>
        <pc:picChg chg="mod">
          <ac:chgData name="Karmakar, Sumit" userId="S::skarmakar@elogex.com::5d020034-ff2c-4e7e-8d00-e94708d613b2" providerId="AD" clId="Web-{5375A68D-4181-441D-1EDE-358F54FF98E9}" dt="2024-03-25T21:00:02.204" v="80" actId="14100"/>
          <ac:picMkLst>
            <pc:docMk/>
            <pc:sldMk cId="565861938" sldId="2147480095"/>
            <ac:picMk id="48" creationId="{C214F85E-9E03-BBF1-C7A1-9B77DDE3A3F9}"/>
          </ac:picMkLst>
        </pc:picChg>
        <pc:picChg chg="mod">
          <ac:chgData name="Karmakar, Sumit" userId="S::skarmakar@elogex.com::5d020034-ff2c-4e7e-8d00-e94708d613b2" providerId="AD" clId="Web-{5375A68D-4181-441D-1EDE-358F54FF98E9}" dt="2024-03-25T21:00:02.204" v="81" actId="14100"/>
          <ac:picMkLst>
            <pc:docMk/>
            <pc:sldMk cId="565861938" sldId="2147480095"/>
            <ac:picMk id="52" creationId="{BA4BA1F2-EA5A-2C6C-6D6C-0BB978DEA1C8}"/>
          </ac:picMkLst>
        </pc:picChg>
        <pc:picChg chg="mod">
          <ac:chgData name="Karmakar, Sumit" userId="S::skarmakar@elogex.com::5d020034-ff2c-4e7e-8d00-e94708d613b2" providerId="AD" clId="Web-{5375A68D-4181-441D-1EDE-358F54FF98E9}" dt="2024-03-25T21:00:02.220" v="82" actId="14100"/>
          <ac:picMkLst>
            <pc:docMk/>
            <pc:sldMk cId="565861938" sldId="2147480095"/>
            <ac:picMk id="54" creationId="{5F4AE74D-BB62-4130-F0A2-3FAA4A7D8817}"/>
          </ac:picMkLst>
        </pc:picChg>
      </pc:sldChg>
      <pc:sldChg chg="modSp">
        <pc:chgData name="Karmakar, Sumit" userId="S::skarmakar@elogex.com::5d020034-ff2c-4e7e-8d00-e94708d613b2" providerId="AD" clId="Web-{5375A68D-4181-441D-1EDE-358F54FF98E9}" dt="2024-03-25T19:30:25.456" v="1" actId="14100"/>
        <pc:sldMkLst>
          <pc:docMk/>
          <pc:sldMk cId="2345600220" sldId="2147480105"/>
        </pc:sldMkLst>
        <pc:picChg chg="mod">
          <ac:chgData name="Karmakar, Sumit" userId="S::skarmakar@elogex.com::5d020034-ff2c-4e7e-8d00-e94708d613b2" providerId="AD" clId="Web-{5375A68D-4181-441D-1EDE-358F54FF98E9}" dt="2024-03-25T19:30:25.456" v="1" actId="14100"/>
          <ac:picMkLst>
            <pc:docMk/>
            <pc:sldMk cId="2345600220" sldId="2147480105"/>
            <ac:picMk id="8" creationId="{59CA4BD9-308B-0286-94AD-EC85AB10CB37}"/>
          </ac:picMkLst>
        </pc:picChg>
        <pc:picChg chg="mod">
          <ac:chgData name="Karmakar, Sumit" userId="S::skarmakar@elogex.com::5d020034-ff2c-4e7e-8d00-e94708d613b2" providerId="AD" clId="Web-{5375A68D-4181-441D-1EDE-358F54FF98E9}" dt="2024-03-25T19:30:25.347" v="0" actId="14100"/>
          <ac:picMkLst>
            <pc:docMk/>
            <pc:sldMk cId="2345600220" sldId="2147480105"/>
            <ac:picMk id="9" creationId="{8F07AA6B-201B-C667-D103-745BA75D89DC}"/>
          </ac:picMkLst>
        </pc:picChg>
      </pc:sldChg>
      <pc:sldChg chg="delSp modSp">
        <pc:chgData name="Karmakar, Sumit" userId="S::skarmakar@elogex.com::5d020034-ff2c-4e7e-8d00-e94708d613b2" providerId="AD" clId="Web-{5375A68D-4181-441D-1EDE-358F54FF98E9}" dt="2024-03-25T20:50:44.092" v="7" actId="1076"/>
        <pc:sldMkLst>
          <pc:docMk/>
          <pc:sldMk cId="3429014890" sldId="2147480119"/>
        </pc:sldMkLst>
        <pc:grpChg chg="del">
          <ac:chgData name="Karmakar, Sumit" userId="S::skarmakar@elogex.com::5d020034-ff2c-4e7e-8d00-e94708d613b2" providerId="AD" clId="Web-{5375A68D-4181-441D-1EDE-358F54FF98E9}" dt="2024-03-25T20:50:36.311" v="6"/>
          <ac:grpSpMkLst>
            <pc:docMk/>
            <pc:sldMk cId="3429014890" sldId="2147480119"/>
            <ac:grpSpMk id="17" creationId="{1B0670B2-A8EC-9C32-6F6A-6C0AC9F1B48D}"/>
          </ac:grpSpMkLst>
        </pc:grpChg>
        <pc:grpChg chg="mod">
          <ac:chgData name="Karmakar, Sumit" userId="S::skarmakar@elogex.com::5d020034-ff2c-4e7e-8d00-e94708d613b2" providerId="AD" clId="Web-{5375A68D-4181-441D-1EDE-358F54FF98E9}" dt="2024-03-25T20:50:44.092" v="7" actId="1076"/>
          <ac:grpSpMkLst>
            <pc:docMk/>
            <pc:sldMk cId="3429014890" sldId="2147480119"/>
            <ac:grpSpMk id="44" creationId="{A09C8D9C-DB21-EEB0-C524-2867FE55FCAE}"/>
          </ac:grpSpMkLst>
        </pc:grpChg>
        <pc:graphicFrameChg chg="mod modGraphic">
          <ac:chgData name="Karmakar, Sumit" userId="S::skarmakar@elogex.com::5d020034-ff2c-4e7e-8d00-e94708d613b2" providerId="AD" clId="Web-{5375A68D-4181-441D-1EDE-358F54FF98E9}" dt="2024-03-25T20:49:49.247" v="5"/>
          <ac:graphicFrameMkLst>
            <pc:docMk/>
            <pc:sldMk cId="3429014890" sldId="2147480119"/>
            <ac:graphicFrameMk id="3" creationId="{1C312072-B092-412E-81AA-32A802D2C4FF}"/>
          </ac:graphicFrameMkLst>
        </pc:graphicFrameChg>
      </pc:sldChg>
    </pc:docChg>
  </pc:docChgLst>
  <pc:docChgLst>
    <pc:chgData name="Karmakar, Sumit" userId="S::skarmakar@elogex.com::5d020034-ff2c-4e7e-8d00-e94708d613b2" providerId="AD" clId="Web-{873A770D-C112-E13A-8FB4-28393E5194C9}"/>
    <pc:docChg chg="modSld">
      <pc:chgData name="Karmakar, Sumit" userId="S::skarmakar@elogex.com::5d020034-ff2c-4e7e-8d00-e94708d613b2" providerId="AD" clId="Web-{873A770D-C112-E13A-8FB4-28393E5194C9}" dt="2024-03-27T20:42:12.117" v="26"/>
      <pc:docMkLst>
        <pc:docMk/>
      </pc:docMkLst>
      <pc:sldChg chg="modSp">
        <pc:chgData name="Karmakar, Sumit" userId="S::skarmakar@elogex.com::5d020034-ff2c-4e7e-8d00-e94708d613b2" providerId="AD" clId="Web-{873A770D-C112-E13A-8FB4-28393E5194C9}" dt="2024-03-27T20:42:12.117" v="26"/>
        <pc:sldMkLst>
          <pc:docMk/>
          <pc:sldMk cId="2930427818" sldId="2147480123"/>
        </pc:sldMkLst>
        <pc:graphicFrameChg chg="mod modGraphic">
          <ac:chgData name="Karmakar, Sumit" userId="S::skarmakar@elogex.com::5d020034-ff2c-4e7e-8d00-e94708d613b2" providerId="AD" clId="Web-{873A770D-C112-E13A-8FB4-28393E5194C9}" dt="2024-03-27T20:42:12.117" v="26"/>
          <ac:graphicFrameMkLst>
            <pc:docMk/>
            <pc:sldMk cId="2930427818" sldId="2147480123"/>
            <ac:graphicFrameMk id="9" creationId="{EBC76674-D92C-0398-CE76-269AE286316D}"/>
          </ac:graphicFrameMkLst>
        </pc:graphicFrameChg>
      </pc:sldChg>
      <pc:sldChg chg="modSp">
        <pc:chgData name="Karmakar, Sumit" userId="S::skarmakar@elogex.com::5d020034-ff2c-4e7e-8d00-e94708d613b2" providerId="AD" clId="Web-{873A770D-C112-E13A-8FB4-28393E5194C9}" dt="2024-03-27T20:40:34.505" v="24"/>
        <pc:sldMkLst>
          <pc:docMk/>
          <pc:sldMk cId="3725083184" sldId="2147480133"/>
        </pc:sldMkLst>
        <pc:spChg chg="mod">
          <ac:chgData name="Karmakar, Sumit" userId="S::skarmakar@elogex.com::5d020034-ff2c-4e7e-8d00-e94708d613b2" providerId="AD" clId="Web-{873A770D-C112-E13A-8FB4-28393E5194C9}" dt="2024-03-27T20:40:26.411" v="20" actId="1076"/>
          <ac:spMkLst>
            <pc:docMk/>
            <pc:sldMk cId="3725083184" sldId="2147480133"/>
            <ac:spMk id="35" creationId="{74C26D05-C795-C12E-007D-BEDE2B06A004}"/>
          </ac:spMkLst>
        </pc:spChg>
        <pc:spChg chg="mod">
          <ac:chgData name="Karmakar, Sumit" userId="S::skarmakar@elogex.com::5d020034-ff2c-4e7e-8d00-e94708d613b2" providerId="AD" clId="Web-{873A770D-C112-E13A-8FB4-28393E5194C9}" dt="2024-03-27T20:39:10.629" v="5" actId="1076"/>
          <ac:spMkLst>
            <pc:docMk/>
            <pc:sldMk cId="3725083184" sldId="2147480133"/>
            <ac:spMk id="43" creationId="{56DDF53B-8DA9-EA79-6FF4-EF06C0A150F3}"/>
          </ac:spMkLst>
        </pc:spChg>
        <pc:spChg chg="mod">
          <ac:chgData name="Karmakar, Sumit" userId="S::skarmakar@elogex.com::5d020034-ff2c-4e7e-8d00-e94708d613b2" providerId="AD" clId="Web-{873A770D-C112-E13A-8FB4-28393E5194C9}" dt="2024-03-27T20:39:10.629" v="4" actId="1076"/>
          <ac:spMkLst>
            <pc:docMk/>
            <pc:sldMk cId="3725083184" sldId="2147480133"/>
            <ac:spMk id="44" creationId="{F774C9C0-345E-DD70-E937-924C62AA199F}"/>
          </ac:spMkLst>
        </pc:spChg>
        <pc:grpChg chg="mod">
          <ac:chgData name="Karmakar, Sumit" userId="S::skarmakar@elogex.com::5d020034-ff2c-4e7e-8d00-e94708d613b2" providerId="AD" clId="Web-{873A770D-C112-E13A-8FB4-28393E5194C9}" dt="2024-03-27T20:40:26.271" v="16" actId="1076"/>
          <ac:grpSpMkLst>
            <pc:docMk/>
            <pc:sldMk cId="3725083184" sldId="2147480133"/>
            <ac:grpSpMk id="36" creationId="{7100B253-BE57-4779-7852-C9975126182E}"/>
          </ac:grpSpMkLst>
        </pc:grpChg>
        <pc:grpChg chg="mod">
          <ac:chgData name="Karmakar, Sumit" userId="S::skarmakar@elogex.com::5d020034-ff2c-4e7e-8d00-e94708d613b2" providerId="AD" clId="Web-{873A770D-C112-E13A-8FB4-28393E5194C9}" dt="2024-03-27T20:40:26.349" v="18" actId="1076"/>
          <ac:grpSpMkLst>
            <pc:docMk/>
            <pc:sldMk cId="3725083184" sldId="2147480133"/>
            <ac:grpSpMk id="39" creationId="{ABA14CCF-1364-6232-CDA1-885F9C80C71A}"/>
          </ac:grpSpMkLst>
        </pc:grpChg>
        <pc:grpChg chg="mod">
          <ac:chgData name="Karmakar, Sumit" userId="S::skarmakar@elogex.com::5d020034-ff2c-4e7e-8d00-e94708d613b2" providerId="AD" clId="Web-{873A770D-C112-E13A-8FB4-28393E5194C9}" dt="2024-03-27T20:40:26.380" v="19" actId="1076"/>
          <ac:grpSpMkLst>
            <pc:docMk/>
            <pc:sldMk cId="3725083184" sldId="2147480133"/>
            <ac:grpSpMk id="42" creationId="{EAF060A9-0156-0A03-4E20-0C3C9EA2E8D0}"/>
          </ac:grpSpMkLst>
        </pc:grpChg>
        <pc:grpChg chg="mod">
          <ac:chgData name="Karmakar, Sumit" userId="S::skarmakar@elogex.com::5d020034-ff2c-4e7e-8d00-e94708d613b2" providerId="AD" clId="Web-{873A770D-C112-E13A-8FB4-28393E5194C9}" dt="2024-03-27T20:40:26.318" v="17" actId="1076"/>
          <ac:grpSpMkLst>
            <pc:docMk/>
            <pc:sldMk cId="3725083184" sldId="2147480133"/>
            <ac:grpSpMk id="45" creationId="{6686D0F3-7D6C-F5B5-421B-C14ADD007920}"/>
          </ac:grpSpMkLst>
        </pc:grpChg>
        <pc:graphicFrameChg chg="mod modGraphic">
          <ac:chgData name="Karmakar, Sumit" userId="S::skarmakar@elogex.com::5d020034-ff2c-4e7e-8d00-e94708d613b2" providerId="AD" clId="Web-{873A770D-C112-E13A-8FB4-28393E5194C9}" dt="2024-03-27T20:40:34.505" v="24"/>
          <ac:graphicFrameMkLst>
            <pc:docMk/>
            <pc:sldMk cId="3725083184" sldId="2147480133"/>
            <ac:graphicFrameMk id="17" creationId="{39C2D995-BEAD-B4F2-BAA5-251C62A1C594}"/>
          </ac:graphicFrameMkLst>
        </pc:graphicFrameChg>
      </pc:sldChg>
    </pc:docChg>
  </pc:docChgLst>
  <pc:docChgLst>
    <pc:chgData name="Karmakar, Sumit" userId="S::skarmakar@elogex.com::5d020034-ff2c-4e7e-8d00-e94708d613b2" providerId="AD" clId="Web-{88130D00-2C15-14BF-51BB-A1BA43CCCB7D}"/>
    <pc:docChg chg="addSld delSld modSld sldOrd modSection">
      <pc:chgData name="Karmakar, Sumit" userId="S::skarmakar@elogex.com::5d020034-ff2c-4e7e-8d00-e94708d613b2" providerId="AD" clId="Web-{88130D00-2C15-14BF-51BB-A1BA43CCCB7D}" dt="2024-03-28T18:12:31.216" v="491"/>
      <pc:docMkLst>
        <pc:docMk/>
      </pc:docMkLst>
      <pc:sldChg chg="modSp">
        <pc:chgData name="Karmakar, Sumit" userId="S::skarmakar@elogex.com::5d020034-ff2c-4e7e-8d00-e94708d613b2" providerId="AD" clId="Web-{88130D00-2C15-14BF-51BB-A1BA43CCCB7D}" dt="2024-03-28T17:49:02.305" v="450" actId="20577"/>
        <pc:sldMkLst>
          <pc:docMk/>
          <pc:sldMk cId="3118094164" sldId="2147480101"/>
        </pc:sldMkLst>
        <pc:graphicFrameChg chg="modGraphic">
          <ac:chgData name="Karmakar, Sumit" userId="S::skarmakar@elogex.com::5d020034-ff2c-4e7e-8d00-e94708d613b2" providerId="AD" clId="Web-{88130D00-2C15-14BF-51BB-A1BA43CCCB7D}" dt="2024-03-28T17:49:02.305" v="450" actId="20577"/>
          <ac:graphicFrameMkLst>
            <pc:docMk/>
            <pc:sldMk cId="3118094164" sldId="2147480101"/>
            <ac:graphicFrameMk id="3" creationId="{A0C264A5-87A4-39BA-F813-F8DBD0595773}"/>
          </ac:graphicFrameMkLst>
        </pc:graphicFrameChg>
      </pc:sldChg>
      <pc:sldChg chg="modSp">
        <pc:chgData name="Karmakar, Sumit" userId="S::skarmakar@elogex.com::5d020034-ff2c-4e7e-8d00-e94708d613b2" providerId="AD" clId="Web-{88130D00-2C15-14BF-51BB-A1BA43CCCB7D}" dt="2024-03-28T18:01:46.596" v="489" actId="20577"/>
        <pc:sldMkLst>
          <pc:docMk/>
          <pc:sldMk cId="50788646" sldId="2147480107"/>
        </pc:sldMkLst>
        <pc:spChg chg="mod">
          <ac:chgData name="Karmakar, Sumit" userId="S::skarmakar@elogex.com::5d020034-ff2c-4e7e-8d00-e94708d613b2" providerId="AD" clId="Web-{88130D00-2C15-14BF-51BB-A1BA43CCCB7D}" dt="2024-03-28T18:01:46.596" v="489" actId="20577"/>
          <ac:spMkLst>
            <pc:docMk/>
            <pc:sldMk cId="50788646" sldId="2147480107"/>
            <ac:spMk id="15" creationId="{1F7BCB79-682D-216B-E063-16CE18D59036}"/>
          </ac:spMkLst>
        </pc:spChg>
      </pc:sldChg>
      <pc:sldChg chg="addSp delSp modSp">
        <pc:chgData name="Karmakar, Sumit" userId="S::skarmakar@elogex.com::5d020034-ff2c-4e7e-8d00-e94708d613b2" providerId="AD" clId="Web-{88130D00-2C15-14BF-51BB-A1BA43CCCB7D}" dt="2024-03-28T16:35:35.200" v="325"/>
        <pc:sldMkLst>
          <pc:docMk/>
          <pc:sldMk cId="3429014890" sldId="2147480119"/>
        </pc:sldMkLst>
        <pc:grpChg chg="mod">
          <ac:chgData name="Karmakar, Sumit" userId="S::skarmakar@elogex.com::5d020034-ff2c-4e7e-8d00-e94708d613b2" providerId="AD" clId="Web-{88130D00-2C15-14BF-51BB-A1BA43CCCB7D}" dt="2024-03-28T16:34:27.993" v="315" actId="1076"/>
          <ac:grpSpMkLst>
            <pc:docMk/>
            <pc:sldMk cId="3429014890" sldId="2147480119"/>
            <ac:grpSpMk id="4" creationId="{163707F5-AD23-FD6A-F363-1927FCAC0362}"/>
          </ac:grpSpMkLst>
        </pc:grpChg>
        <pc:grpChg chg="mod">
          <ac:chgData name="Karmakar, Sumit" userId="S::skarmakar@elogex.com::5d020034-ff2c-4e7e-8d00-e94708d613b2" providerId="AD" clId="Web-{88130D00-2C15-14BF-51BB-A1BA43CCCB7D}" dt="2024-03-28T16:34:05.883" v="311" actId="1076"/>
          <ac:grpSpMkLst>
            <pc:docMk/>
            <pc:sldMk cId="3429014890" sldId="2147480119"/>
            <ac:grpSpMk id="7" creationId="{71DECF8F-2E6A-3E7B-692D-7BC229322368}"/>
          </ac:grpSpMkLst>
        </pc:grpChg>
        <pc:grpChg chg="mod">
          <ac:chgData name="Karmakar, Sumit" userId="S::skarmakar@elogex.com::5d020034-ff2c-4e7e-8d00-e94708d613b2" providerId="AD" clId="Web-{88130D00-2C15-14BF-51BB-A1BA43CCCB7D}" dt="2024-03-28T16:34:05.915" v="312" actId="1076"/>
          <ac:grpSpMkLst>
            <pc:docMk/>
            <pc:sldMk cId="3429014890" sldId="2147480119"/>
            <ac:grpSpMk id="11" creationId="{DABAD7F9-2692-AC51-9799-F857B506478F}"/>
          </ac:grpSpMkLst>
        </pc:grpChg>
        <pc:grpChg chg="mod">
          <ac:chgData name="Karmakar, Sumit" userId="S::skarmakar@elogex.com::5d020034-ff2c-4e7e-8d00-e94708d613b2" providerId="AD" clId="Web-{88130D00-2C15-14BF-51BB-A1BA43CCCB7D}" dt="2024-03-28T16:34:28.009" v="316" actId="1076"/>
          <ac:grpSpMkLst>
            <pc:docMk/>
            <pc:sldMk cId="3429014890" sldId="2147480119"/>
            <ac:grpSpMk id="14" creationId="{1F7E9FFB-DDFC-78C1-737B-6D6F47F7603D}"/>
          </ac:grpSpMkLst>
        </pc:grpChg>
        <pc:grpChg chg="mod">
          <ac:chgData name="Karmakar, Sumit" userId="S::skarmakar@elogex.com::5d020034-ff2c-4e7e-8d00-e94708d613b2" providerId="AD" clId="Web-{88130D00-2C15-14BF-51BB-A1BA43CCCB7D}" dt="2024-03-28T16:32:09.161" v="293" actId="1076"/>
          <ac:grpSpMkLst>
            <pc:docMk/>
            <pc:sldMk cId="3429014890" sldId="2147480119"/>
            <ac:grpSpMk id="23" creationId="{570C2F2B-DF78-2263-99A3-16AFD75630AE}"/>
          </ac:grpSpMkLst>
        </pc:grpChg>
        <pc:grpChg chg="mod">
          <ac:chgData name="Karmakar, Sumit" userId="S::skarmakar@elogex.com::5d020034-ff2c-4e7e-8d00-e94708d613b2" providerId="AD" clId="Web-{88130D00-2C15-14BF-51BB-A1BA43CCCB7D}" dt="2024-03-28T16:32:24.365" v="297" actId="1076"/>
          <ac:grpSpMkLst>
            <pc:docMk/>
            <pc:sldMk cId="3429014890" sldId="2147480119"/>
            <ac:grpSpMk id="26" creationId="{272499FA-6902-A59A-ED3A-C6DC32CDE501}"/>
          </ac:grpSpMkLst>
        </pc:grpChg>
        <pc:grpChg chg="mod">
          <ac:chgData name="Karmakar, Sumit" userId="S::skarmakar@elogex.com::5d020034-ff2c-4e7e-8d00-e94708d613b2" providerId="AD" clId="Web-{88130D00-2C15-14BF-51BB-A1BA43CCCB7D}" dt="2024-03-28T16:35:06.135" v="321" actId="1076"/>
          <ac:grpSpMkLst>
            <pc:docMk/>
            <pc:sldMk cId="3429014890" sldId="2147480119"/>
            <ac:grpSpMk id="29" creationId="{3473C23D-589C-737E-C65C-34424C0DE261}"/>
          </ac:grpSpMkLst>
        </pc:grpChg>
        <pc:grpChg chg="mod">
          <ac:chgData name="Karmakar, Sumit" userId="S::skarmakar@elogex.com::5d020034-ff2c-4e7e-8d00-e94708d613b2" providerId="AD" clId="Web-{88130D00-2C15-14BF-51BB-A1BA43CCCB7D}" dt="2024-03-28T16:35:06.166" v="322" actId="1076"/>
          <ac:grpSpMkLst>
            <pc:docMk/>
            <pc:sldMk cId="3429014890" sldId="2147480119"/>
            <ac:grpSpMk id="35" creationId="{48A65659-8C73-A1ED-BC86-1E9D94A81141}"/>
          </ac:grpSpMkLst>
        </pc:grpChg>
        <pc:grpChg chg="mod">
          <ac:chgData name="Karmakar, Sumit" userId="S::skarmakar@elogex.com::5d020034-ff2c-4e7e-8d00-e94708d613b2" providerId="AD" clId="Web-{88130D00-2C15-14BF-51BB-A1BA43CCCB7D}" dt="2024-03-28T16:32:53.022" v="302" actId="1076"/>
          <ac:grpSpMkLst>
            <pc:docMk/>
            <pc:sldMk cId="3429014890" sldId="2147480119"/>
            <ac:grpSpMk id="44" creationId="{A09C8D9C-DB21-EEB0-C524-2867FE55FCAE}"/>
          </ac:grpSpMkLst>
        </pc:grpChg>
        <pc:grpChg chg="mod">
          <ac:chgData name="Karmakar, Sumit" userId="S::skarmakar@elogex.com::5d020034-ff2c-4e7e-8d00-e94708d613b2" providerId="AD" clId="Web-{88130D00-2C15-14BF-51BB-A1BA43CCCB7D}" dt="2024-03-28T16:32:53.037" v="303" actId="1076"/>
          <ac:grpSpMkLst>
            <pc:docMk/>
            <pc:sldMk cId="3429014890" sldId="2147480119"/>
            <ac:grpSpMk id="67" creationId="{DB95FA64-E2BC-46D3-B1B3-451FB312CCD3}"/>
          </ac:grpSpMkLst>
        </pc:grpChg>
        <pc:cxnChg chg="add del mod">
          <ac:chgData name="Karmakar, Sumit" userId="S::skarmakar@elogex.com::5d020034-ff2c-4e7e-8d00-e94708d613b2" providerId="AD" clId="Web-{88130D00-2C15-14BF-51BB-A1BA43CCCB7D}" dt="2024-03-28T16:35:35.200" v="325"/>
          <ac:cxnSpMkLst>
            <pc:docMk/>
            <pc:sldMk cId="3429014890" sldId="2147480119"/>
            <ac:cxnSpMk id="9" creationId="{C63B7049-0E06-C8EF-210E-5B79486B9FEE}"/>
          </ac:cxnSpMkLst>
        </pc:cxnChg>
      </pc:sldChg>
      <pc:sldChg chg="addSp delSp modSp">
        <pc:chgData name="Karmakar, Sumit" userId="S::skarmakar@elogex.com::5d020034-ff2c-4e7e-8d00-e94708d613b2" providerId="AD" clId="Web-{88130D00-2C15-14BF-51BB-A1BA43CCCB7D}" dt="2024-03-28T16:37:02.357" v="349" actId="1076"/>
        <pc:sldMkLst>
          <pc:docMk/>
          <pc:sldMk cId="2930427818" sldId="2147480123"/>
        </pc:sldMkLst>
        <pc:grpChg chg="mod">
          <ac:chgData name="Karmakar, Sumit" userId="S::skarmakar@elogex.com::5d020034-ff2c-4e7e-8d00-e94708d613b2" providerId="AD" clId="Web-{88130D00-2C15-14BF-51BB-A1BA43CCCB7D}" dt="2024-03-28T16:36:53.529" v="340" actId="1076"/>
          <ac:grpSpMkLst>
            <pc:docMk/>
            <pc:sldMk cId="2930427818" sldId="2147480123"/>
            <ac:grpSpMk id="32" creationId="{31D72906-8190-74D6-DE07-3AE9EDDF5038}"/>
          </ac:grpSpMkLst>
        </pc:grpChg>
        <pc:grpChg chg="mod">
          <ac:chgData name="Karmakar, Sumit" userId="S::skarmakar@elogex.com::5d020034-ff2c-4e7e-8d00-e94708d613b2" providerId="AD" clId="Web-{88130D00-2C15-14BF-51BB-A1BA43CCCB7D}" dt="2024-03-28T16:37:02.201" v="345" actId="1076"/>
          <ac:grpSpMkLst>
            <pc:docMk/>
            <pc:sldMk cId="2930427818" sldId="2147480123"/>
            <ac:grpSpMk id="38" creationId="{318ADE62-C06A-448A-379A-4CCF8219DAF4}"/>
          </ac:grpSpMkLst>
        </pc:grpChg>
        <pc:grpChg chg="mod">
          <ac:chgData name="Karmakar, Sumit" userId="S::skarmakar@elogex.com::5d020034-ff2c-4e7e-8d00-e94708d613b2" providerId="AD" clId="Web-{88130D00-2C15-14BF-51BB-A1BA43CCCB7D}" dt="2024-03-28T16:36:44.373" v="335" actId="1076"/>
          <ac:grpSpMkLst>
            <pc:docMk/>
            <pc:sldMk cId="2930427818" sldId="2147480123"/>
            <ac:grpSpMk id="41" creationId="{72114355-69D7-A675-B1C5-53D03F705CE4}"/>
          </ac:grpSpMkLst>
        </pc:grpChg>
        <pc:grpChg chg="mod">
          <ac:chgData name="Karmakar, Sumit" userId="S::skarmakar@elogex.com::5d020034-ff2c-4e7e-8d00-e94708d613b2" providerId="AD" clId="Web-{88130D00-2C15-14BF-51BB-A1BA43CCCB7D}" dt="2024-03-28T16:36:53.560" v="341" actId="1076"/>
          <ac:grpSpMkLst>
            <pc:docMk/>
            <pc:sldMk cId="2930427818" sldId="2147480123"/>
            <ac:grpSpMk id="56" creationId="{8ACFC7B8-9C98-8A48-9C38-669CB180626E}"/>
          </ac:grpSpMkLst>
        </pc:grpChg>
        <pc:grpChg chg="mod">
          <ac:chgData name="Karmakar, Sumit" userId="S::skarmakar@elogex.com::5d020034-ff2c-4e7e-8d00-e94708d613b2" providerId="AD" clId="Web-{88130D00-2C15-14BF-51BB-A1BA43CCCB7D}" dt="2024-03-28T16:37:02.248" v="346" actId="1076"/>
          <ac:grpSpMkLst>
            <pc:docMk/>
            <pc:sldMk cId="2930427818" sldId="2147480123"/>
            <ac:grpSpMk id="59" creationId="{A4407A1B-8971-C4DB-C0EE-8318FCA1F7E4}"/>
          </ac:grpSpMkLst>
        </pc:grpChg>
        <pc:grpChg chg="mod">
          <ac:chgData name="Karmakar, Sumit" userId="S::skarmakar@elogex.com::5d020034-ff2c-4e7e-8d00-e94708d613b2" providerId="AD" clId="Web-{88130D00-2C15-14BF-51BB-A1BA43CCCB7D}" dt="2024-03-28T16:36:44.404" v="336" actId="1076"/>
          <ac:grpSpMkLst>
            <pc:docMk/>
            <pc:sldMk cId="2930427818" sldId="2147480123"/>
            <ac:grpSpMk id="62" creationId="{3DD9257A-E522-1C14-1A15-261F883CBF45}"/>
          </ac:grpSpMkLst>
        </pc:grpChg>
        <pc:grpChg chg="mod">
          <ac:chgData name="Karmakar, Sumit" userId="S::skarmakar@elogex.com::5d020034-ff2c-4e7e-8d00-e94708d613b2" providerId="AD" clId="Web-{88130D00-2C15-14BF-51BB-A1BA43CCCB7D}" dt="2024-03-28T16:36:53.592" v="342" actId="1076"/>
          <ac:grpSpMkLst>
            <pc:docMk/>
            <pc:sldMk cId="2930427818" sldId="2147480123"/>
            <ac:grpSpMk id="66" creationId="{0B441B7B-90D6-33AE-15D0-3FF5CC72BCC3}"/>
          </ac:grpSpMkLst>
        </pc:grpChg>
        <pc:grpChg chg="mod">
          <ac:chgData name="Karmakar, Sumit" userId="S::skarmakar@elogex.com::5d020034-ff2c-4e7e-8d00-e94708d613b2" providerId="AD" clId="Web-{88130D00-2C15-14BF-51BB-A1BA43CCCB7D}" dt="2024-03-28T16:37:02.279" v="347" actId="1076"/>
          <ac:grpSpMkLst>
            <pc:docMk/>
            <pc:sldMk cId="2930427818" sldId="2147480123"/>
            <ac:grpSpMk id="72" creationId="{2C665AB2-34F0-9418-B0C0-7887508D56EC}"/>
          </ac:grpSpMkLst>
        </pc:grpChg>
        <pc:grpChg chg="mod">
          <ac:chgData name="Karmakar, Sumit" userId="S::skarmakar@elogex.com::5d020034-ff2c-4e7e-8d00-e94708d613b2" providerId="AD" clId="Web-{88130D00-2C15-14BF-51BB-A1BA43CCCB7D}" dt="2024-03-28T16:36:44.435" v="337" actId="1076"/>
          <ac:grpSpMkLst>
            <pc:docMk/>
            <pc:sldMk cId="2930427818" sldId="2147480123"/>
            <ac:grpSpMk id="75" creationId="{1048DDAE-0C8E-CC14-2CDE-B36101865603}"/>
          </ac:grpSpMkLst>
        </pc:grpChg>
        <pc:grpChg chg="mod">
          <ac:chgData name="Karmakar, Sumit" userId="S::skarmakar@elogex.com::5d020034-ff2c-4e7e-8d00-e94708d613b2" providerId="AD" clId="Web-{88130D00-2C15-14BF-51BB-A1BA43CCCB7D}" dt="2024-03-28T16:36:53.623" v="343" actId="1076"/>
          <ac:grpSpMkLst>
            <pc:docMk/>
            <pc:sldMk cId="2930427818" sldId="2147480123"/>
            <ac:grpSpMk id="78" creationId="{5FB67A88-0076-170A-2AC2-81D2E78D6964}"/>
          </ac:grpSpMkLst>
        </pc:grpChg>
        <pc:grpChg chg="mod">
          <ac:chgData name="Karmakar, Sumit" userId="S::skarmakar@elogex.com::5d020034-ff2c-4e7e-8d00-e94708d613b2" providerId="AD" clId="Web-{88130D00-2C15-14BF-51BB-A1BA43CCCB7D}" dt="2024-03-28T16:37:02.326" v="348" actId="1076"/>
          <ac:grpSpMkLst>
            <pc:docMk/>
            <pc:sldMk cId="2930427818" sldId="2147480123"/>
            <ac:grpSpMk id="81" creationId="{28C0938E-9EB2-846B-DDEF-41733E1EC7F0}"/>
          </ac:grpSpMkLst>
        </pc:grpChg>
        <pc:grpChg chg="mod">
          <ac:chgData name="Karmakar, Sumit" userId="S::skarmakar@elogex.com::5d020034-ff2c-4e7e-8d00-e94708d613b2" providerId="AD" clId="Web-{88130D00-2C15-14BF-51BB-A1BA43CCCB7D}" dt="2024-03-28T16:36:44.451" v="338" actId="1076"/>
          <ac:grpSpMkLst>
            <pc:docMk/>
            <pc:sldMk cId="2930427818" sldId="2147480123"/>
            <ac:grpSpMk id="84" creationId="{38FC5D16-E4CE-6728-FB61-BCBA201A8BFA}"/>
          </ac:grpSpMkLst>
        </pc:grpChg>
        <pc:grpChg chg="mod">
          <ac:chgData name="Karmakar, Sumit" userId="S::skarmakar@elogex.com::5d020034-ff2c-4e7e-8d00-e94708d613b2" providerId="AD" clId="Web-{88130D00-2C15-14BF-51BB-A1BA43CCCB7D}" dt="2024-03-28T16:36:53.654" v="344" actId="1076"/>
          <ac:grpSpMkLst>
            <pc:docMk/>
            <pc:sldMk cId="2930427818" sldId="2147480123"/>
            <ac:grpSpMk id="99" creationId="{972AC108-1C77-BAB5-62F2-E7D100C4EDD1}"/>
          </ac:grpSpMkLst>
        </pc:grpChg>
        <pc:grpChg chg="mod">
          <ac:chgData name="Karmakar, Sumit" userId="S::skarmakar@elogex.com::5d020034-ff2c-4e7e-8d00-e94708d613b2" providerId="AD" clId="Web-{88130D00-2C15-14BF-51BB-A1BA43CCCB7D}" dt="2024-03-28T16:37:02.357" v="349" actId="1076"/>
          <ac:grpSpMkLst>
            <pc:docMk/>
            <pc:sldMk cId="2930427818" sldId="2147480123"/>
            <ac:grpSpMk id="102" creationId="{6AF7A611-961E-F3C4-5858-9824F983083A}"/>
          </ac:grpSpMkLst>
        </pc:grpChg>
        <pc:grpChg chg="mod">
          <ac:chgData name="Karmakar, Sumit" userId="S::skarmakar@elogex.com::5d020034-ff2c-4e7e-8d00-e94708d613b2" providerId="AD" clId="Web-{88130D00-2C15-14BF-51BB-A1BA43CCCB7D}" dt="2024-03-28T16:36:44.482" v="339" actId="1076"/>
          <ac:grpSpMkLst>
            <pc:docMk/>
            <pc:sldMk cId="2930427818" sldId="2147480123"/>
            <ac:grpSpMk id="105" creationId="{89ECC555-219E-C66F-34CE-4CA8B181C6F4}"/>
          </ac:grpSpMkLst>
        </pc:grpChg>
        <pc:cxnChg chg="add del mod">
          <ac:chgData name="Karmakar, Sumit" userId="S::skarmakar@elogex.com::5d020034-ff2c-4e7e-8d00-e94708d613b2" providerId="AD" clId="Web-{88130D00-2C15-14BF-51BB-A1BA43CCCB7D}" dt="2024-03-28T16:36:35.107" v="334"/>
          <ac:cxnSpMkLst>
            <pc:docMk/>
            <pc:sldMk cId="2930427818" sldId="2147480123"/>
            <ac:cxnSpMk id="3" creationId="{C63B7049-0E06-C8EF-210E-5B79486B9FEE}"/>
          </ac:cxnSpMkLst>
        </pc:cxnChg>
      </pc:sldChg>
      <pc:sldChg chg="modSp">
        <pc:chgData name="Karmakar, Sumit" userId="S::skarmakar@elogex.com::5d020034-ff2c-4e7e-8d00-e94708d613b2" providerId="AD" clId="Web-{88130D00-2C15-14BF-51BB-A1BA43CCCB7D}" dt="2024-03-28T18:12:31.216" v="491"/>
        <pc:sldMkLst>
          <pc:docMk/>
          <pc:sldMk cId="1287383114" sldId="2147480126"/>
        </pc:sldMkLst>
        <pc:graphicFrameChg chg="mod modGraphic">
          <ac:chgData name="Karmakar, Sumit" userId="S::skarmakar@elogex.com::5d020034-ff2c-4e7e-8d00-e94708d613b2" providerId="AD" clId="Web-{88130D00-2C15-14BF-51BB-A1BA43CCCB7D}" dt="2024-03-28T18:12:31.216" v="491"/>
          <ac:graphicFrameMkLst>
            <pc:docMk/>
            <pc:sldMk cId="1287383114" sldId="2147480126"/>
            <ac:graphicFrameMk id="3" creationId="{CA9C21C4-2AEC-CC4C-240D-B02DAA76F564}"/>
          </ac:graphicFrameMkLst>
        </pc:graphicFrameChg>
      </pc:sldChg>
      <pc:sldChg chg="modSp">
        <pc:chgData name="Karmakar, Sumit" userId="S::skarmakar@elogex.com::5d020034-ff2c-4e7e-8d00-e94708d613b2" providerId="AD" clId="Web-{88130D00-2C15-14BF-51BB-A1BA43CCCB7D}" dt="2024-03-28T15:59:00.633" v="13" actId="20577"/>
        <pc:sldMkLst>
          <pc:docMk/>
          <pc:sldMk cId="452994539" sldId="2147480130"/>
        </pc:sldMkLst>
        <pc:spChg chg="mod">
          <ac:chgData name="Karmakar, Sumit" userId="S::skarmakar@elogex.com::5d020034-ff2c-4e7e-8d00-e94708d613b2" providerId="AD" clId="Web-{88130D00-2C15-14BF-51BB-A1BA43CCCB7D}" dt="2024-03-28T15:59:00.633" v="13" actId="20577"/>
          <ac:spMkLst>
            <pc:docMk/>
            <pc:sldMk cId="452994539" sldId="2147480130"/>
            <ac:spMk id="23" creationId="{920ABBEB-F283-196D-8086-99FAA1F4F9B3}"/>
          </ac:spMkLst>
        </pc:spChg>
        <pc:picChg chg="mod">
          <ac:chgData name="Karmakar, Sumit" userId="S::skarmakar@elogex.com::5d020034-ff2c-4e7e-8d00-e94708d613b2" providerId="AD" clId="Web-{88130D00-2C15-14BF-51BB-A1BA43CCCB7D}" dt="2024-03-28T15:58:38.679" v="10" actId="14100"/>
          <ac:picMkLst>
            <pc:docMk/>
            <pc:sldMk cId="452994539" sldId="2147480130"/>
            <ac:picMk id="13" creationId="{3C4DD23C-7239-D5D5-AE16-9D77AB671FEF}"/>
          </ac:picMkLst>
        </pc:picChg>
        <pc:picChg chg="mod">
          <ac:chgData name="Karmakar, Sumit" userId="S::skarmakar@elogex.com::5d020034-ff2c-4e7e-8d00-e94708d613b2" providerId="AD" clId="Web-{88130D00-2C15-14BF-51BB-A1BA43CCCB7D}" dt="2024-03-28T15:58:38.679" v="9" actId="14100"/>
          <ac:picMkLst>
            <pc:docMk/>
            <pc:sldMk cId="452994539" sldId="2147480130"/>
            <ac:picMk id="15" creationId="{E69098DF-9CDE-7326-7E61-F70F19AAEC39}"/>
          </ac:picMkLst>
        </pc:picChg>
        <pc:picChg chg="mod">
          <ac:chgData name="Karmakar, Sumit" userId="S::skarmakar@elogex.com::5d020034-ff2c-4e7e-8d00-e94708d613b2" providerId="AD" clId="Web-{88130D00-2C15-14BF-51BB-A1BA43CCCB7D}" dt="2024-03-28T15:58:38.679" v="7" actId="14100"/>
          <ac:picMkLst>
            <pc:docMk/>
            <pc:sldMk cId="452994539" sldId="2147480130"/>
            <ac:picMk id="16" creationId="{CB4E0F4B-5787-C6AD-7D3D-81664273F9FF}"/>
          </ac:picMkLst>
        </pc:picChg>
        <pc:picChg chg="mod">
          <ac:chgData name="Karmakar, Sumit" userId="S::skarmakar@elogex.com::5d020034-ff2c-4e7e-8d00-e94708d613b2" providerId="AD" clId="Web-{88130D00-2C15-14BF-51BB-A1BA43CCCB7D}" dt="2024-03-28T15:58:38.679" v="8" actId="14100"/>
          <ac:picMkLst>
            <pc:docMk/>
            <pc:sldMk cId="452994539" sldId="2147480130"/>
            <ac:picMk id="17" creationId="{B4574D46-489B-0FD9-51E0-9E7C8C591B9A}"/>
          </ac:picMkLst>
        </pc:picChg>
        <pc:picChg chg="mod">
          <ac:chgData name="Karmakar, Sumit" userId="S::skarmakar@elogex.com::5d020034-ff2c-4e7e-8d00-e94708d613b2" providerId="AD" clId="Web-{88130D00-2C15-14BF-51BB-A1BA43CCCB7D}" dt="2024-03-28T15:58:38.679" v="12" actId="14100"/>
          <ac:picMkLst>
            <pc:docMk/>
            <pc:sldMk cId="452994539" sldId="2147480130"/>
            <ac:picMk id="33" creationId="{CCCEEF42-824C-91BC-C8FA-A3CE14B23C9E}"/>
          </ac:picMkLst>
        </pc:picChg>
        <pc:picChg chg="mod">
          <ac:chgData name="Karmakar, Sumit" userId="S::skarmakar@elogex.com::5d020034-ff2c-4e7e-8d00-e94708d613b2" providerId="AD" clId="Web-{88130D00-2C15-14BF-51BB-A1BA43CCCB7D}" dt="2024-03-28T15:58:38.679" v="11" actId="14100"/>
          <ac:picMkLst>
            <pc:docMk/>
            <pc:sldMk cId="452994539" sldId="2147480130"/>
            <ac:picMk id="35" creationId="{28C7CD9C-4A8F-0BB2-A3EA-F5634170334B}"/>
          </ac:picMkLst>
        </pc:picChg>
      </pc:sldChg>
      <pc:sldChg chg="ord">
        <pc:chgData name="Karmakar, Sumit" userId="S::skarmakar@elogex.com::5d020034-ff2c-4e7e-8d00-e94708d613b2" providerId="AD" clId="Web-{88130D00-2C15-14BF-51BB-A1BA43CCCB7D}" dt="2024-03-28T16:29:31.656" v="290"/>
        <pc:sldMkLst>
          <pc:docMk/>
          <pc:sldMk cId="2638490646" sldId="2147480135"/>
        </pc:sldMkLst>
      </pc:sldChg>
      <pc:sldChg chg="modSp">
        <pc:chgData name="Karmakar, Sumit" userId="S::skarmakar@elogex.com::5d020034-ff2c-4e7e-8d00-e94708d613b2" providerId="AD" clId="Web-{88130D00-2C15-14BF-51BB-A1BA43CCCB7D}" dt="2024-03-28T16:06:28.115" v="29"/>
        <pc:sldMkLst>
          <pc:docMk/>
          <pc:sldMk cId="3435256583" sldId="2147480136"/>
        </pc:sldMkLst>
        <pc:spChg chg="mod">
          <ac:chgData name="Karmakar, Sumit" userId="S::skarmakar@elogex.com::5d020034-ff2c-4e7e-8d00-e94708d613b2" providerId="AD" clId="Web-{88130D00-2C15-14BF-51BB-A1BA43CCCB7D}" dt="2024-03-28T16:06:23.490" v="26"/>
          <ac:spMkLst>
            <pc:docMk/>
            <pc:sldMk cId="3435256583" sldId="2147480136"/>
            <ac:spMk id="10" creationId="{F92F939B-C20B-4A8E-E564-8C217501FDE6}"/>
          </ac:spMkLst>
        </pc:spChg>
        <pc:spChg chg="mod">
          <ac:chgData name="Karmakar, Sumit" userId="S::skarmakar@elogex.com::5d020034-ff2c-4e7e-8d00-e94708d613b2" providerId="AD" clId="Web-{88130D00-2C15-14BF-51BB-A1BA43CCCB7D}" dt="2024-03-28T16:06:23.490" v="27"/>
          <ac:spMkLst>
            <pc:docMk/>
            <pc:sldMk cId="3435256583" sldId="2147480136"/>
            <ac:spMk id="17" creationId="{C3C6F43B-B1BB-4E4B-CAD6-47182928EFA1}"/>
          </ac:spMkLst>
        </pc:spChg>
        <pc:spChg chg="mod">
          <ac:chgData name="Karmakar, Sumit" userId="S::skarmakar@elogex.com::5d020034-ff2c-4e7e-8d00-e94708d613b2" providerId="AD" clId="Web-{88130D00-2C15-14BF-51BB-A1BA43CCCB7D}" dt="2024-03-28T16:06:23.537" v="28"/>
          <ac:spMkLst>
            <pc:docMk/>
            <pc:sldMk cId="3435256583" sldId="2147480136"/>
            <ac:spMk id="24" creationId="{0F61432C-43A8-42BE-9844-B84CD563C8E9}"/>
          </ac:spMkLst>
        </pc:spChg>
        <pc:spChg chg="mod">
          <ac:chgData name="Karmakar, Sumit" userId="S::skarmakar@elogex.com::5d020034-ff2c-4e7e-8d00-e94708d613b2" providerId="AD" clId="Web-{88130D00-2C15-14BF-51BB-A1BA43CCCB7D}" dt="2024-03-28T16:06:28.115" v="29"/>
          <ac:spMkLst>
            <pc:docMk/>
            <pc:sldMk cId="3435256583" sldId="2147480136"/>
            <ac:spMk id="29" creationId="{99273230-CFF6-2B00-D148-2D8F804B2242}"/>
          </ac:spMkLst>
        </pc:spChg>
        <pc:spChg chg="mod">
          <ac:chgData name="Karmakar, Sumit" userId="S::skarmakar@elogex.com::5d020034-ff2c-4e7e-8d00-e94708d613b2" providerId="AD" clId="Web-{88130D00-2C15-14BF-51BB-A1BA43CCCB7D}" dt="2024-03-28T16:01:08.105" v="18"/>
          <ac:spMkLst>
            <pc:docMk/>
            <pc:sldMk cId="3435256583" sldId="2147480136"/>
            <ac:spMk id="33" creationId="{F2EBCCCB-FBBB-FDF3-89AA-441DA2F052CE}"/>
          </ac:spMkLst>
        </pc:spChg>
        <pc:spChg chg="mod">
          <ac:chgData name="Karmakar, Sumit" userId="S::skarmakar@elogex.com::5d020034-ff2c-4e7e-8d00-e94708d613b2" providerId="AD" clId="Web-{88130D00-2C15-14BF-51BB-A1BA43CCCB7D}" dt="2024-03-28T16:01:08.121" v="19"/>
          <ac:spMkLst>
            <pc:docMk/>
            <pc:sldMk cId="3435256583" sldId="2147480136"/>
            <ac:spMk id="34" creationId="{0B5AD9D8-5663-029F-C86C-7C6C24D4D422}"/>
          </ac:spMkLst>
        </pc:spChg>
        <pc:spChg chg="mod">
          <ac:chgData name="Karmakar, Sumit" userId="S::skarmakar@elogex.com::5d020034-ff2c-4e7e-8d00-e94708d613b2" providerId="AD" clId="Web-{88130D00-2C15-14BF-51BB-A1BA43CCCB7D}" dt="2024-03-28T16:01:08.293" v="20"/>
          <ac:spMkLst>
            <pc:docMk/>
            <pc:sldMk cId="3435256583" sldId="2147480136"/>
            <ac:spMk id="36" creationId="{2BA3E102-C4C4-2E5A-2A8F-C27332B44E90}"/>
          </ac:spMkLst>
        </pc:spChg>
        <pc:spChg chg="mod">
          <ac:chgData name="Karmakar, Sumit" userId="S::skarmakar@elogex.com::5d020034-ff2c-4e7e-8d00-e94708d613b2" providerId="AD" clId="Web-{88130D00-2C15-14BF-51BB-A1BA43CCCB7D}" dt="2024-03-28T16:01:55.310" v="24"/>
          <ac:spMkLst>
            <pc:docMk/>
            <pc:sldMk cId="3435256583" sldId="2147480136"/>
            <ac:spMk id="37" creationId="{6C95D344-9027-FC67-8426-6DC52A1D927C}"/>
          </ac:spMkLst>
        </pc:spChg>
        <pc:spChg chg="mod">
          <ac:chgData name="Karmakar, Sumit" userId="S::skarmakar@elogex.com::5d020034-ff2c-4e7e-8d00-e94708d613b2" providerId="AD" clId="Web-{88130D00-2C15-14BF-51BB-A1BA43CCCB7D}" dt="2024-03-28T16:02:20.826" v="25"/>
          <ac:spMkLst>
            <pc:docMk/>
            <pc:sldMk cId="3435256583" sldId="2147480136"/>
            <ac:spMk id="39" creationId="{F9C36BCB-B447-EB12-7954-F0C508AED988}"/>
          </ac:spMkLst>
        </pc:spChg>
        <pc:cxnChg chg="mod">
          <ac:chgData name="Karmakar, Sumit" userId="S::skarmakar@elogex.com::5d020034-ff2c-4e7e-8d00-e94708d613b2" providerId="AD" clId="Web-{88130D00-2C15-14BF-51BB-A1BA43CCCB7D}" dt="2024-03-28T16:01:40.919" v="21"/>
          <ac:cxnSpMkLst>
            <pc:docMk/>
            <pc:sldMk cId="3435256583" sldId="2147480136"/>
            <ac:cxnSpMk id="31" creationId="{A462942D-5FD4-3A3E-B597-A4A8F28375D4}"/>
          </ac:cxnSpMkLst>
        </pc:cxnChg>
        <pc:cxnChg chg="mod">
          <ac:chgData name="Karmakar, Sumit" userId="S::skarmakar@elogex.com::5d020034-ff2c-4e7e-8d00-e94708d613b2" providerId="AD" clId="Web-{88130D00-2C15-14BF-51BB-A1BA43CCCB7D}" dt="2024-03-28T16:01:40.919" v="22"/>
          <ac:cxnSpMkLst>
            <pc:docMk/>
            <pc:sldMk cId="3435256583" sldId="2147480136"/>
            <ac:cxnSpMk id="32" creationId="{A98C778D-FF2F-30FD-72BE-2BDF53964B1F}"/>
          </ac:cxnSpMkLst>
        </pc:cxnChg>
        <pc:cxnChg chg="mod">
          <ac:chgData name="Karmakar, Sumit" userId="S::skarmakar@elogex.com::5d020034-ff2c-4e7e-8d00-e94708d613b2" providerId="AD" clId="Web-{88130D00-2C15-14BF-51BB-A1BA43CCCB7D}" dt="2024-03-28T16:01:41.075" v="23"/>
          <ac:cxnSpMkLst>
            <pc:docMk/>
            <pc:sldMk cId="3435256583" sldId="2147480136"/>
            <ac:cxnSpMk id="35" creationId="{9EF3EF7E-96F1-894E-85AF-59C22AF2044E}"/>
          </ac:cxnSpMkLst>
        </pc:cxnChg>
      </pc:sldChg>
      <pc:sldChg chg="modSp add del replId">
        <pc:chgData name="Karmakar, Sumit" userId="S::skarmakar@elogex.com::5d020034-ff2c-4e7e-8d00-e94708d613b2" providerId="AD" clId="Web-{88130D00-2C15-14BF-51BB-A1BA43CCCB7D}" dt="2024-03-28T16:11:18.842" v="36"/>
        <pc:sldMkLst>
          <pc:docMk/>
          <pc:sldMk cId="1406626289" sldId="2147480140"/>
        </pc:sldMkLst>
        <pc:graphicFrameChg chg="modGraphic">
          <ac:chgData name="Karmakar, Sumit" userId="S::skarmakar@elogex.com::5d020034-ff2c-4e7e-8d00-e94708d613b2" providerId="AD" clId="Web-{88130D00-2C15-14BF-51BB-A1BA43CCCB7D}" dt="2024-03-28T16:11:16.702" v="35" actId="20577"/>
          <ac:graphicFrameMkLst>
            <pc:docMk/>
            <pc:sldMk cId="1406626289" sldId="2147480140"/>
            <ac:graphicFrameMk id="9" creationId="{1D77DC48-5028-B020-472E-05C3A4A8B91D}"/>
          </ac:graphicFrameMkLst>
        </pc:graphicFrameChg>
      </pc:sldChg>
      <pc:sldChg chg="addSp delSp modSp new">
        <pc:chgData name="Karmakar, Sumit" userId="S::skarmakar@elogex.com::5d020034-ff2c-4e7e-8d00-e94708d613b2" providerId="AD" clId="Web-{88130D00-2C15-14BF-51BB-A1BA43CCCB7D}" dt="2024-03-28T16:29:19.625" v="289" actId="20577"/>
        <pc:sldMkLst>
          <pc:docMk/>
          <pc:sldMk cId="2255318336" sldId="2147480140"/>
        </pc:sldMkLst>
        <pc:spChg chg="mod">
          <ac:chgData name="Karmakar, Sumit" userId="S::skarmakar@elogex.com::5d020034-ff2c-4e7e-8d00-e94708d613b2" providerId="AD" clId="Web-{88130D00-2C15-14BF-51BB-A1BA43CCCB7D}" dt="2024-03-28T16:29:19.625" v="289" actId="20577"/>
          <ac:spMkLst>
            <pc:docMk/>
            <pc:sldMk cId="2255318336" sldId="2147480140"/>
            <ac:spMk id="2" creationId="{3B6E379F-5E81-9D32-11A8-4FD9A12E99D9}"/>
          </ac:spMkLst>
        </pc:spChg>
        <pc:spChg chg="del">
          <ac:chgData name="Karmakar, Sumit" userId="S::skarmakar@elogex.com::5d020034-ff2c-4e7e-8d00-e94708d613b2" providerId="AD" clId="Web-{88130D00-2C15-14BF-51BB-A1BA43CCCB7D}" dt="2024-03-28T16:11:53.093" v="38"/>
          <ac:spMkLst>
            <pc:docMk/>
            <pc:sldMk cId="2255318336" sldId="2147480140"/>
            <ac:spMk id="3" creationId="{4F3671E8-E0CF-A9C2-62F9-5F569EC5FD8E}"/>
          </ac:spMkLst>
        </pc:spChg>
        <pc:spChg chg="del">
          <ac:chgData name="Karmakar, Sumit" userId="S::skarmakar@elogex.com::5d020034-ff2c-4e7e-8d00-e94708d613b2" providerId="AD" clId="Web-{88130D00-2C15-14BF-51BB-A1BA43CCCB7D}" dt="2024-03-28T16:11:54.390" v="39"/>
          <ac:spMkLst>
            <pc:docMk/>
            <pc:sldMk cId="2255318336" sldId="2147480140"/>
            <ac:spMk id="4" creationId="{47731CBF-073D-5FCB-C3A3-9FB98469A4E1}"/>
          </ac:spMkLst>
        </pc:spChg>
        <pc:spChg chg="del">
          <ac:chgData name="Karmakar, Sumit" userId="S::skarmakar@elogex.com::5d020034-ff2c-4e7e-8d00-e94708d613b2" providerId="AD" clId="Web-{88130D00-2C15-14BF-51BB-A1BA43CCCB7D}" dt="2024-03-28T16:11:56.312" v="40"/>
          <ac:spMkLst>
            <pc:docMk/>
            <pc:sldMk cId="2255318336" sldId="2147480140"/>
            <ac:spMk id="5" creationId="{5822876F-74A1-4FC6-7D5D-B9F140959165}"/>
          </ac:spMkLst>
        </pc:spChg>
        <pc:spChg chg="add mod">
          <ac:chgData name="Karmakar, Sumit" userId="S::skarmakar@elogex.com::5d020034-ff2c-4e7e-8d00-e94708d613b2" providerId="AD" clId="Web-{88130D00-2C15-14BF-51BB-A1BA43CCCB7D}" dt="2024-03-28T16:28:24.576" v="286" actId="20577"/>
          <ac:spMkLst>
            <pc:docMk/>
            <pc:sldMk cId="2255318336" sldId="2147480140"/>
            <ac:spMk id="6" creationId="{77F90AA6-5BD5-192A-BC25-2DA3B69A9A8A}"/>
          </ac:spMkLst>
        </pc:spChg>
        <pc:spChg chg="add mod">
          <ac:chgData name="Karmakar, Sumit" userId="S::skarmakar@elogex.com::5d020034-ff2c-4e7e-8d00-e94708d613b2" providerId="AD" clId="Web-{88130D00-2C15-14BF-51BB-A1BA43CCCB7D}" dt="2024-03-28T16:25:58.509" v="253" actId="14100"/>
          <ac:spMkLst>
            <pc:docMk/>
            <pc:sldMk cId="2255318336" sldId="2147480140"/>
            <ac:spMk id="7" creationId="{CD6E0D46-19A2-FFA9-2CA0-6B2E557E87DC}"/>
          </ac:spMkLst>
        </pc:spChg>
        <pc:spChg chg="add mod">
          <ac:chgData name="Karmakar, Sumit" userId="S::skarmakar@elogex.com::5d020034-ff2c-4e7e-8d00-e94708d613b2" providerId="AD" clId="Web-{88130D00-2C15-14BF-51BB-A1BA43CCCB7D}" dt="2024-03-28T16:27:46.216" v="281" actId="20577"/>
          <ac:spMkLst>
            <pc:docMk/>
            <pc:sldMk cId="2255318336" sldId="2147480140"/>
            <ac:spMk id="8" creationId="{E4BB2CD4-472B-38F1-C19F-283B0D569D6E}"/>
          </ac:spMkLst>
        </pc:spChg>
        <pc:spChg chg="add del mod">
          <ac:chgData name="Karmakar, Sumit" userId="S::skarmakar@elogex.com::5d020034-ff2c-4e7e-8d00-e94708d613b2" providerId="AD" clId="Web-{88130D00-2C15-14BF-51BB-A1BA43CCCB7D}" dt="2024-03-28T16:25:58.619" v="254" actId="14100"/>
          <ac:spMkLst>
            <pc:docMk/>
            <pc:sldMk cId="2255318336" sldId="2147480140"/>
            <ac:spMk id="9" creationId="{E205C897-39A6-1767-5D56-94C4DFCC4B9B}"/>
          </ac:spMkLst>
        </pc:spChg>
        <pc:spChg chg="add mod">
          <ac:chgData name="Karmakar, Sumit" userId="S::skarmakar@elogex.com::5d020034-ff2c-4e7e-8d00-e94708d613b2" providerId="AD" clId="Web-{88130D00-2C15-14BF-51BB-A1BA43CCCB7D}" dt="2024-03-28T16:27:52.247" v="282" actId="20577"/>
          <ac:spMkLst>
            <pc:docMk/>
            <pc:sldMk cId="2255318336" sldId="2147480140"/>
            <ac:spMk id="10" creationId="{D4D0E01C-EF66-034A-FC0B-042CA17C47B8}"/>
          </ac:spMkLst>
        </pc:spChg>
        <pc:spChg chg="add mod">
          <ac:chgData name="Karmakar, Sumit" userId="S::skarmakar@elogex.com::5d020034-ff2c-4e7e-8d00-e94708d613b2" providerId="AD" clId="Web-{88130D00-2C15-14BF-51BB-A1BA43CCCB7D}" dt="2024-03-28T16:25:58.728" v="255" actId="14100"/>
          <ac:spMkLst>
            <pc:docMk/>
            <pc:sldMk cId="2255318336" sldId="2147480140"/>
            <ac:spMk id="11" creationId="{84BBF525-75EE-46B6-4EE7-A85C4457C8EA}"/>
          </ac:spMkLst>
        </pc:spChg>
        <pc:spChg chg="add mod">
          <ac:chgData name="Karmakar, Sumit" userId="S::skarmakar@elogex.com::5d020034-ff2c-4e7e-8d00-e94708d613b2" providerId="AD" clId="Web-{88130D00-2C15-14BF-51BB-A1BA43CCCB7D}" dt="2024-03-28T16:27:59.154" v="283" actId="20577"/>
          <ac:spMkLst>
            <pc:docMk/>
            <pc:sldMk cId="2255318336" sldId="2147480140"/>
            <ac:spMk id="12" creationId="{25A33E6D-23A8-2D98-33C0-F3D766638373}"/>
          </ac:spMkLst>
        </pc:spChg>
        <pc:spChg chg="add mod">
          <ac:chgData name="Karmakar, Sumit" userId="S::skarmakar@elogex.com::5d020034-ff2c-4e7e-8d00-e94708d613b2" providerId="AD" clId="Web-{88130D00-2C15-14BF-51BB-A1BA43CCCB7D}" dt="2024-03-28T16:25:58.853" v="256" actId="14100"/>
          <ac:spMkLst>
            <pc:docMk/>
            <pc:sldMk cId="2255318336" sldId="2147480140"/>
            <ac:spMk id="13" creationId="{327F98CB-2D92-23DF-C456-A7586820069C}"/>
          </ac:spMkLst>
        </pc:spChg>
        <pc:spChg chg="add mod">
          <ac:chgData name="Karmakar, Sumit" userId="S::skarmakar@elogex.com::5d020034-ff2c-4e7e-8d00-e94708d613b2" providerId="AD" clId="Web-{88130D00-2C15-14BF-51BB-A1BA43CCCB7D}" dt="2024-03-28T16:28:07.591" v="284" actId="20577"/>
          <ac:spMkLst>
            <pc:docMk/>
            <pc:sldMk cId="2255318336" sldId="2147480140"/>
            <ac:spMk id="14" creationId="{B1D13690-8A68-C19F-03D2-C3062B6D7F8C}"/>
          </ac:spMkLst>
        </pc:spChg>
        <pc:spChg chg="add mod">
          <ac:chgData name="Karmakar, Sumit" userId="S::skarmakar@elogex.com::5d020034-ff2c-4e7e-8d00-e94708d613b2" providerId="AD" clId="Web-{88130D00-2C15-14BF-51BB-A1BA43CCCB7D}" dt="2024-03-28T16:25:58.978" v="257" actId="14100"/>
          <ac:spMkLst>
            <pc:docMk/>
            <pc:sldMk cId="2255318336" sldId="2147480140"/>
            <ac:spMk id="15" creationId="{C71BE2CE-50E3-679D-9169-474210866D77}"/>
          </ac:spMkLst>
        </pc:spChg>
      </pc:sldChg>
    </pc:docChg>
  </pc:docChgLst>
  <pc:docChgLst>
    <pc:chgData name="Karmakar, Sumit" userId="S::skarmakar@elogex.com::5d020034-ff2c-4e7e-8d00-e94708d613b2" providerId="AD" clId="Web-{81F2743F-857D-6FAF-C324-E436919C7BE3}"/>
    <pc:docChg chg="addSld modSld sldOrd modSection">
      <pc:chgData name="Karmakar, Sumit" userId="S::skarmakar@elogex.com::5d020034-ff2c-4e7e-8d00-e94708d613b2" providerId="AD" clId="Web-{81F2743F-857D-6FAF-C324-E436919C7BE3}" dt="2024-03-25T17:30:15.570" v="64" actId="20577"/>
      <pc:docMkLst>
        <pc:docMk/>
      </pc:docMkLst>
      <pc:sldChg chg="delSp modSp">
        <pc:chgData name="Karmakar, Sumit" userId="S::skarmakar@elogex.com::5d020034-ff2c-4e7e-8d00-e94708d613b2" providerId="AD" clId="Web-{81F2743F-857D-6FAF-C324-E436919C7BE3}" dt="2024-03-25T17:26:58.721" v="52" actId="1076"/>
        <pc:sldMkLst>
          <pc:docMk/>
          <pc:sldMk cId="565861938" sldId="2147480095"/>
        </pc:sldMkLst>
        <pc:spChg chg="mod">
          <ac:chgData name="Karmakar, Sumit" userId="S::skarmakar@elogex.com::5d020034-ff2c-4e7e-8d00-e94708d613b2" providerId="AD" clId="Web-{81F2743F-857D-6FAF-C324-E436919C7BE3}" dt="2024-03-25T17:26:58.675" v="49" actId="1076"/>
          <ac:spMkLst>
            <pc:docMk/>
            <pc:sldMk cId="565861938" sldId="2147480095"/>
            <ac:spMk id="3" creationId="{F3DA6107-33E1-9438-D065-7B23A77E442B}"/>
          </ac:spMkLst>
        </pc:spChg>
        <pc:spChg chg="mod">
          <ac:chgData name="Karmakar, Sumit" userId="S::skarmakar@elogex.com::5d020034-ff2c-4e7e-8d00-e94708d613b2" providerId="AD" clId="Web-{81F2743F-857D-6FAF-C324-E436919C7BE3}" dt="2024-03-25T17:26:58.690" v="50" actId="1076"/>
          <ac:spMkLst>
            <pc:docMk/>
            <pc:sldMk cId="565861938" sldId="2147480095"/>
            <ac:spMk id="4" creationId="{CC4D759E-91DC-1EF6-3378-6D0AA70590B9}"/>
          </ac:spMkLst>
        </pc:spChg>
        <pc:spChg chg="mod">
          <ac:chgData name="Karmakar, Sumit" userId="S::skarmakar@elogex.com::5d020034-ff2c-4e7e-8d00-e94708d613b2" providerId="AD" clId="Web-{81F2743F-857D-6FAF-C324-E436919C7BE3}" dt="2024-03-25T17:26:58.706" v="51" actId="1076"/>
          <ac:spMkLst>
            <pc:docMk/>
            <pc:sldMk cId="565861938" sldId="2147480095"/>
            <ac:spMk id="5" creationId="{9EC53D68-A263-06FE-93B4-B648803621B0}"/>
          </ac:spMkLst>
        </pc:spChg>
        <pc:spChg chg="mod">
          <ac:chgData name="Karmakar, Sumit" userId="S::skarmakar@elogex.com::5d020034-ff2c-4e7e-8d00-e94708d613b2" providerId="AD" clId="Web-{81F2743F-857D-6FAF-C324-E436919C7BE3}" dt="2024-03-25T17:26:58.612" v="45" actId="1076"/>
          <ac:spMkLst>
            <pc:docMk/>
            <pc:sldMk cId="565861938" sldId="2147480095"/>
            <ac:spMk id="13" creationId="{C1D28996-B9E7-8C64-127C-378031DDAC5B}"/>
          </ac:spMkLst>
        </pc:spChg>
        <pc:spChg chg="mod">
          <ac:chgData name="Karmakar, Sumit" userId="S::skarmakar@elogex.com::5d020034-ff2c-4e7e-8d00-e94708d613b2" providerId="AD" clId="Web-{81F2743F-857D-6FAF-C324-E436919C7BE3}" dt="2024-03-25T17:26:58.643" v="47" actId="1076"/>
          <ac:spMkLst>
            <pc:docMk/>
            <pc:sldMk cId="565861938" sldId="2147480095"/>
            <ac:spMk id="19" creationId="{4D995FCE-2224-CDDB-DDEA-4F6A2FB80C72}"/>
          </ac:spMkLst>
        </pc:spChg>
        <pc:spChg chg="mod">
          <ac:chgData name="Karmakar, Sumit" userId="S::skarmakar@elogex.com::5d020034-ff2c-4e7e-8d00-e94708d613b2" providerId="AD" clId="Web-{81F2743F-857D-6FAF-C324-E436919C7BE3}" dt="2024-03-25T17:26:58.643" v="48" actId="1076"/>
          <ac:spMkLst>
            <pc:docMk/>
            <pc:sldMk cId="565861938" sldId="2147480095"/>
            <ac:spMk id="25" creationId="{0E961777-BCE0-B3C3-9228-16DF9679EB1C}"/>
          </ac:spMkLst>
        </pc:spChg>
        <pc:picChg chg="mod">
          <ac:chgData name="Karmakar, Sumit" userId="S::skarmakar@elogex.com::5d020034-ff2c-4e7e-8d00-e94708d613b2" providerId="AD" clId="Web-{81F2743F-857D-6FAF-C324-E436919C7BE3}" dt="2024-03-25T17:26:58.596" v="44" actId="1076"/>
          <ac:picMkLst>
            <pc:docMk/>
            <pc:sldMk cId="565861938" sldId="2147480095"/>
            <ac:picMk id="6" creationId="{564F8508-1A4F-8581-325B-7D5F8C677BDF}"/>
          </ac:picMkLst>
        </pc:picChg>
        <pc:picChg chg="mod">
          <ac:chgData name="Karmakar, Sumit" userId="S::skarmakar@elogex.com::5d020034-ff2c-4e7e-8d00-e94708d613b2" providerId="AD" clId="Web-{81F2743F-857D-6FAF-C324-E436919C7BE3}" dt="2024-03-25T17:26:58.721" v="52" actId="1076"/>
          <ac:picMkLst>
            <pc:docMk/>
            <pc:sldMk cId="565861938" sldId="2147480095"/>
            <ac:picMk id="7" creationId="{AF11AF0C-C878-7741-2649-FB09F74C4FC4}"/>
          </ac:picMkLst>
        </pc:picChg>
        <pc:picChg chg="del">
          <ac:chgData name="Karmakar, Sumit" userId="S::skarmakar@elogex.com::5d020034-ff2c-4e7e-8d00-e94708d613b2" providerId="AD" clId="Web-{81F2743F-857D-6FAF-C324-E436919C7BE3}" dt="2024-03-25T17:26:46.143" v="43"/>
          <ac:picMkLst>
            <pc:docMk/>
            <pc:sldMk cId="565861938" sldId="2147480095"/>
            <ac:picMk id="8" creationId="{1781B0B7-43CD-DBB4-66E6-BB6A6CA4A975}"/>
          </ac:picMkLst>
        </pc:picChg>
        <pc:picChg chg="mod">
          <ac:chgData name="Karmakar, Sumit" userId="S::skarmakar@elogex.com::5d020034-ff2c-4e7e-8d00-e94708d613b2" providerId="AD" clId="Web-{81F2743F-857D-6FAF-C324-E436919C7BE3}" dt="2024-03-25T17:26:58.628" v="46" actId="1076"/>
          <ac:picMkLst>
            <pc:docMk/>
            <pc:sldMk cId="565861938" sldId="2147480095"/>
            <ac:picMk id="15" creationId="{8A5CF876-DC73-2936-0A37-5DC57B6D5068}"/>
          </ac:picMkLst>
        </pc:picChg>
      </pc:sldChg>
      <pc:sldChg chg="modSp">
        <pc:chgData name="Karmakar, Sumit" userId="S::skarmakar@elogex.com::5d020034-ff2c-4e7e-8d00-e94708d613b2" providerId="AD" clId="Web-{81F2743F-857D-6FAF-C324-E436919C7BE3}" dt="2024-03-25T17:30:15.570" v="64" actId="20577"/>
        <pc:sldMkLst>
          <pc:docMk/>
          <pc:sldMk cId="480133652" sldId="2147480109"/>
        </pc:sldMkLst>
        <pc:spChg chg="mod">
          <ac:chgData name="Karmakar, Sumit" userId="S::skarmakar@elogex.com::5d020034-ff2c-4e7e-8d00-e94708d613b2" providerId="AD" clId="Web-{81F2743F-857D-6FAF-C324-E436919C7BE3}" dt="2024-03-25T17:30:15.570" v="64" actId="20577"/>
          <ac:spMkLst>
            <pc:docMk/>
            <pc:sldMk cId="480133652" sldId="2147480109"/>
            <ac:spMk id="4" creationId="{0316E24A-36E5-F9DC-64A3-504BD87305DA}"/>
          </ac:spMkLst>
        </pc:spChg>
      </pc:sldChg>
      <pc:sldChg chg="ord">
        <pc:chgData name="Karmakar, Sumit" userId="S::skarmakar@elogex.com::5d020034-ff2c-4e7e-8d00-e94708d613b2" providerId="AD" clId="Web-{81F2743F-857D-6FAF-C324-E436919C7BE3}" dt="2024-03-25T17:07:19.143" v="5"/>
        <pc:sldMkLst>
          <pc:docMk/>
          <pc:sldMk cId="2185285943" sldId="2147480118"/>
        </pc:sldMkLst>
      </pc:sldChg>
      <pc:sldChg chg="add">
        <pc:chgData name="Karmakar, Sumit" userId="S::skarmakar@elogex.com::5d020034-ff2c-4e7e-8d00-e94708d613b2" providerId="AD" clId="Web-{81F2743F-857D-6FAF-C324-E436919C7BE3}" dt="2024-03-25T17:06:22.548" v="1"/>
        <pc:sldMkLst>
          <pc:docMk/>
          <pc:sldMk cId="3429014890" sldId="2147480119"/>
        </pc:sldMkLst>
      </pc:sldChg>
      <pc:sldChg chg="add">
        <pc:chgData name="Karmakar, Sumit" userId="S::skarmakar@elogex.com::5d020034-ff2c-4e7e-8d00-e94708d613b2" providerId="AD" clId="Web-{81F2743F-857D-6FAF-C324-E436919C7BE3}" dt="2024-03-25T17:06:22.001" v="0"/>
        <pc:sldMkLst>
          <pc:docMk/>
          <pc:sldMk cId="2930427818" sldId="2147480123"/>
        </pc:sldMkLst>
      </pc:sldChg>
    </pc:docChg>
  </pc:docChgLst>
  <pc:docChgLst>
    <pc:chgData name="Karmakar, Sumit" userId="S::skarmakar@elogex.com::5d020034-ff2c-4e7e-8d00-e94708d613b2" providerId="AD" clId="Web-{C2D74154-6DFF-F410-784A-397F5B84E24D}"/>
    <pc:docChg chg="addSld delSld modSld sldOrd modSection">
      <pc:chgData name="Karmakar, Sumit" userId="S::skarmakar@elogex.com::5d020034-ff2c-4e7e-8d00-e94708d613b2" providerId="AD" clId="Web-{C2D74154-6DFF-F410-784A-397F5B84E24D}" dt="2024-03-14T16:41:40.516" v="309" actId="20577"/>
      <pc:docMkLst>
        <pc:docMk/>
      </pc:docMkLst>
      <pc:sldChg chg="del">
        <pc:chgData name="Karmakar, Sumit" userId="S::skarmakar@elogex.com::5d020034-ff2c-4e7e-8d00-e94708d613b2" providerId="AD" clId="Web-{C2D74154-6DFF-F410-784A-397F5B84E24D}" dt="2024-03-14T13:07:05.442" v="10"/>
        <pc:sldMkLst>
          <pc:docMk/>
          <pc:sldMk cId="1177527238" sldId="2147479775"/>
        </pc:sldMkLst>
      </pc:sldChg>
      <pc:sldChg chg="del">
        <pc:chgData name="Karmakar, Sumit" userId="S::skarmakar@elogex.com::5d020034-ff2c-4e7e-8d00-e94708d613b2" providerId="AD" clId="Web-{C2D74154-6DFF-F410-784A-397F5B84E24D}" dt="2024-03-14T13:07:22.818" v="12"/>
        <pc:sldMkLst>
          <pc:docMk/>
          <pc:sldMk cId="2513481065" sldId="2147480055"/>
        </pc:sldMkLst>
      </pc:sldChg>
      <pc:sldChg chg="modSp">
        <pc:chgData name="Karmakar, Sumit" userId="S::skarmakar@elogex.com::5d020034-ff2c-4e7e-8d00-e94708d613b2" providerId="AD" clId="Web-{C2D74154-6DFF-F410-784A-397F5B84E24D}" dt="2024-03-14T16:41:40.516" v="309" actId="20577"/>
        <pc:sldMkLst>
          <pc:docMk/>
          <pc:sldMk cId="1693912635" sldId="2147480094"/>
        </pc:sldMkLst>
        <pc:spChg chg="mod">
          <ac:chgData name="Karmakar, Sumit" userId="S::skarmakar@elogex.com::5d020034-ff2c-4e7e-8d00-e94708d613b2" providerId="AD" clId="Web-{C2D74154-6DFF-F410-784A-397F5B84E24D}" dt="2024-03-14T16:41:40.516" v="309" actId="20577"/>
          <ac:spMkLst>
            <pc:docMk/>
            <pc:sldMk cId="1693912635" sldId="2147480094"/>
            <ac:spMk id="9" creationId="{7FBA4B87-97CE-C427-F2E6-4E29EF3AAD3C}"/>
          </ac:spMkLst>
        </pc:spChg>
        <pc:picChg chg="mod">
          <ac:chgData name="Karmakar, Sumit" userId="S::skarmakar@elogex.com::5d020034-ff2c-4e7e-8d00-e94708d613b2" providerId="AD" clId="Web-{C2D74154-6DFF-F410-784A-397F5B84E24D}" dt="2024-03-14T13:08:49.586" v="30" actId="1076"/>
          <ac:picMkLst>
            <pc:docMk/>
            <pc:sldMk cId="1693912635" sldId="2147480094"/>
            <ac:picMk id="2" creationId="{97B19883-D4EA-F2CF-0C88-55759E5E565A}"/>
          </ac:picMkLst>
        </pc:picChg>
        <pc:picChg chg="mod">
          <ac:chgData name="Karmakar, Sumit" userId="S::skarmakar@elogex.com::5d020034-ff2c-4e7e-8d00-e94708d613b2" providerId="AD" clId="Web-{C2D74154-6DFF-F410-784A-397F5B84E24D}" dt="2024-03-14T13:08:53.929" v="31" actId="1076"/>
          <ac:picMkLst>
            <pc:docMk/>
            <pc:sldMk cId="1693912635" sldId="2147480094"/>
            <ac:picMk id="3" creationId="{1A6788CD-242D-2BC3-E152-E2ADF986F054}"/>
          </ac:picMkLst>
        </pc:picChg>
      </pc:sldChg>
      <pc:sldChg chg="modSp">
        <pc:chgData name="Karmakar, Sumit" userId="S::skarmakar@elogex.com::5d020034-ff2c-4e7e-8d00-e94708d613b2" providerId="AD" clId="Web-{C2D74154-6DFF-F410-784A-397F5B84E24D}" dt="2024-03-14T16:41:15.109" v="295" actId="20577"/>
        <pc:sldMkLst>
          <pc:docMk/>
          <pc:sldMk cId="212255833" sldId="2147480098"/>
        </pc:sldMkLst>
        <pc:spChg chg="mod">
          <ac:chgData name="Karmakar, Sumit" userId="S::skarmakar@elogex.com::5d020034-ff2c-4e7e-8d00-e94708d613b2" providerId="AD" clId="Web-{C2D74154-6DFF-F410-784A-397F5B84E24D}" dt="2024-03-14T16:41:15.109" v="295" actId="20577"/>
          <ac:spMkLst>
            <pc:docMk/>
            <pc:sldMk cId="212255833" sldId="2147480098"/>
            <ac:spMk id="2" creationId="{0329E297-E798-08B1-A1CC-65371311D18E}"/>
          </ac:spMkLst>
        </pc:spChg>
      </pc:sldChg>
      <pc:sldChg chg="modSp">
        <pc:chgData name="Karmakar, Sumit" userId="S::skarmakar@elogex.com::5d020034-ff2c-4e7e-8d00-e94708d613b2" providerId="AD" clId="Web-{C2D74154-6DFF-F410-784A-397F5B84E24D}" dt="2024-03-14T16:41:26.953" v="307" actId="20577"/>
        <pc:sldMkLst>
          <pc:docMk/>
          <pc:sldMk cId="3119129675" sldId="2147480103"/>
        </pc:sldMkLst>
        <pc:spChg chg="mod">
          <ac:chgData name="Karmakar, Sumit" userId="S::skarmakar@elogex.com::5d020034-ff2c-4e7e-8d00-e94708d613b2" providerId="AD" clId="Web-{C2D74154-6DFF-F410-784A-397F5B84E24D}" dt="2024-03-14T16:41:26.953" v="307" actId="20577"/>
          <ac:spMkLst>
            <pc:docMk/>
            <pc:sldMk cId="3119129675" sldId="2147480103"/>
            <ac:spMk id="2" creationId="{0329E297-E798-08B1-A1CC-65371311D18E}"/>
          </ac:spMkLst>
        </pc:spChg>
        <pc:graphicFrameChg chg="mod modGraphic">
          <ac:chgData name="Karmakar, Sumit" userId="S::skarmakar@elogex.com::5d020034-ff2c-4e7e-8d00-e94708d613b2" providerId="AD" clId="Web-{C2D74154-6DFF-F410-784A-397F5B84E24D}" dt="2024-03-14T14:09:16.910" v="277" actId="1076"/>
          <ac:graphicFrameMkLst>
            <pc:docMk/>
            <pc:sldMk cId="3119129675" sldId="2147480103"/>
            <ac:graphicFrameMk id="9" creationId="{082F007F-02ED-83FB-40DE-67CA78B27101}"/>
          </ac:graphicFrameMkLst>
        </pc:graphicFrameChg>
      </pc:sldChg>
      <pc:sldChg chg="del">
        <pc:chgData name="Karmakar, Sumit" userId="S::skarmakar@elogex.com::5d020034-ff2c-4e7e-8d00-e94708d613b2" providerId="AD" clId="Web-{C2D74154-6DFF-F410-784A-397F5B84E24D}" dt="2024-03-14T13:51:38.565" v="143"/>
        <pc:sldMkLst>
          <pc:docMk/>
          <pc:sldMk cId="1506352616" sldId="2147480106"/>
        </pc:sldMkLst>
      </pc:sldChg>
      <pc:sldChg chg="addSp delSp modSp">
        <pc:chgData name="Karmakar, Sumit" userId="S::skarmakar@elogex.com::5d020034-ff2c-4e7e-8d00-e94708d613b2" providerId="AD" clId="Web-{C2D74154-6DFF-F410-784A-397F5B84E24D}" dt="2024-03-14T15:13:48.929" v="281" actId="20577"/>
        <pc:sldMkLst>
          <pc:docMk/>
          <pc:sldMk cId="3370766724" sldId="2147480108"/>
        </pc:sldMkLst>
        <pc:spChg chg="mod">
          <ac:chgData name="Karmakar, Sumit" userId="S::skarmakar@elogex.com::5d020034-ff2c-4e7e-8d00-e94708d613b2" providerId="AD" clId="Web-{C2D74154-6DFF-F410-784A-397F5B84E24D}" dt="2024-03-14T15:13:48.929" v="281" actId="20577"/>
          <ac:spMkLst>
            <pc:docMk/>
            <pc:sldMk cId="3370766724" sldId="2147480108"/>
            <ac:spMk id="2" creationId="{0329E297-E798-08B1-A1CC-65371311D18E}"/>
          </ac:spMkLst>
        </pc:spChg>
        <pc:spChg chg="add del">
          <ac:chgData name="Karmakar, Sumit" userId="S::skarmakar@elogex.com::5d020034-ff2c-4e7e-8d00-e94708d613b2" providerId="AD" clId="Web-{C2D74154-6DFF-F410-784A-397F5B84E24D}" dt="2024-03-14T13:48:21.588" v="112"/>
          <ac:spMkLst>
            <pc:docMk/>
            <pc:sldMk cId="3370766724" sldId="2147480108"/>
            <ac:spMk id="7" creationId="{2AF1768E-031C-DB93-EC23-2BF90B7BCB74}"/>
          </ac:spMkLst>
        </pc:spChg>
        <pc:spChg chg="add del">
          <ac:chgData name="Karmakar, Sumit" userId="S::skarmakar@elogex.com::5d020034-ff2c-4e7e-8d00-e94708d613b2" providerId="AD" clId="Web-{C2D74154-6DFF-F410-784A-397F5B84E24D}" dt="2024-03-14T13:48:21.588" v="122"/>
          <ac:spMkLst>
            <pc:docMk/>
            <pc:sldMk cId="3370766724" sldId="2147480108"/>
            <ac:spMk id="35" creationId="{CB5BB574-C366-4E39-6E02-0FE46725EF8B}"/>
          </ac:spMkLst>
        </pc:spChg>
        <pc:spChg chg="add del">
          <ac:chgData name="Karmakar, Sumit" userId="S::skarmakar@elogex.com::5d020034-ff2c-4e7e-8d00-e94708d613b2" providerId="AD" clId="Web-{C2D74154-6DFF-F410-784A-397F5B84E24D}" dt="2024-03-14T13:48:21.588" v="118"/>
          <ac:spMkLst>
            <pc:docMk/>
            <pc:sldMk cId="3370766724" sldId="2147480108"/>
            <ac:spMk id="57" creationId="{B40A93B2-47CB-DFF4-4C3F-55737EAC8DF5}"/>
          </ac:spMkLst>
        </pc:spChg>
        <pc:grpChg chg="add del">
          <ac:chgData name="Karmakar, Sumit" userId="S::skarmakar@elogex.com::5d020034-ff2c-4e7e-8d00-e94708d613b2" providerId="AD" clId="Web-{C2D74154-6DFF-F410-784A-397F5B84E24D}" dt="2024-03-14T13:48:21.588" v="115"/>
          <ac:grpSpMkLst>
            <pc:docMk/>
            <pc:sldMk cId="3370766724" sldId="2147480108"/>
            <ac:grpSpMk id="36" creationId="{44D5F5C6-61AC-5590-CC69-F6BB6295AD86}"/>
          </ac:grpSpMkLst>
        </pc:grpChg>
        <pc:grpChg chg="add del">
          <ac:chgData name="Karmakar, Sumit" userId="S::skarmakar@elogex.com::5d020034-ff2c-4e7e-8d00-e94708d613b2" providerId="AD" clId="Web-{C2D74154-6DFF-F410-784A-397F5B84E24D}" dt="2024-03-14T13:48:21.588" v="114"/>
          <ac:grpSpMkLst>
            <pc:docMk/>
            <pc:sldMk cId="3370766724" sldId="2147480108"/>
            <ac:grpSpMk id="39" creationId="{E12F2192-08A9-C6D2-59BF-6C5AEC85C4F1}"/>
          </ac:grpSpMkLst>
        </pc:grpChg>
        <pc:grpChg chg="add del">
          <ac:chgData name="Karmakar, Sumit" userId="S::skarmakar@elogex.com::5d020034-ff2c-4e7e-8d00-e94708d613b2" providerId="AD" clId="Web-{C2D74154-6DFF-F410-784A-397F5B84E24D}" dt="2024-03-14T13:48:21.588" v="121"/>
          <ac:grpSpMkLst>
            <pc:docMk/>
            <pc:sldMk cId="3370766724" sldId="2147480108"/>
            <ac:grpSpMk id="42" creationId="{483CF175-83D8-3410-18BF-BCA554231BAC}"/>
          </ac:grpSpMkLst>
        </pc:grpChg>
        <pc:grpChg chg="add del">
          <ac:chgData name="Karmakar, Sumit" userId="S::skarmakar@elogex.com::5d020034-ff2c-4e7e-8d00-e94708d613b2" providerId="AD" clId="Web-{C2D74154-6DFF-F410-784A-397F5B84E24D}" dt="2024-03-14T13:48:21.588" v="120"/>
          <ac:grpSpMkLst>
            <pc:docMk/>
            <pc:sldMk cId="3370766724" sldId="2147480108"/>
            <ac:grpSpMk id="45" creationId="{DA040813-9FA3-E824-4AF6-677E903C8431}"/>
          </ac:grpSpMkLst>
        </pc:grpChg>
        <pc:graphicFrameChg chg="add del">
          <ac:chgData name="Karmakar, Sumit" userId="S::skarmakar@elogex.com::5d020034-ff2c-4e7e-8d00-e94708d613b2" providerId="AD" clId="Web-{C2D74154-6DFF-F410-784A-397F5B84E24D}" dt="2024-03-14T13:48:21.588" v="116"/>
          <ac:graphicFrameMkLst>
            <pc:docMk/>
            <pc:sldMk cId="3370766724" sldId="2147480108"/>
            <ac:graphicFrameMk id="4" creationId="{79080CB7-06B6-82CA-BE0D-A898B4E465A2}"/>
          </ac:graphicFrameMkLst>
        </pc:graphicFrameChg>
        <pc:graphicFrameChg chg="add del">
          <ac:chgData name="Karmakar, Sumit" userId="S::skarmakar@elogex.com::5d020034-ff2c-4e7e-8d00-e94708d613b2" providerId="AD" clId="Web-{C2D74154-6DFF-F410-784A-397F5B84E24D}" dt="2024-03-14T13:48:21.588" v="113"/>
          <ac:graphicFrameMkLst>
            <pc:docMk/>
            <pc:sldMk cId="3370766724" sldId="2147480108"/>
            <ac:graphicFrameMk id="5" creationId="{37D500AB-85CD-ED69-A9E6-496AA1F5A14A}"/>
          </ac:graphicFrameMkLst>
        </pc:graphicFrameChg>
        <pc:graphicFrameChg chg="add del">
          <ac:chgData name="Karmakar, Sumit" userId="S::skarmakar@elogex.com::5d020034-ff2c-4e7e-8d00-e94708d613b2" providerId="AD" clId="Web-{C2D74154-6DFF-F410-784A-397F5B84E24D}" dt="2024-03-14T13:48:21.588" v="124"/>
          <ac:graphicFrameMkLst>
            <pc:docMk/>
            <pc:sldMk cId="3370766724" sldId="2147480108"/>
            <ac:graphicFrameMk id="16" creationId="{9386FEDC-8876-077B-3622-ADD1D6A880A4}"/>
          </ac:graphicFrameMkLst>
        </pc:graphicFrameChg>
        <pc:graphicFrameChg chg="add del">
          <ac:chgData name="Karmakar, Sumit" userId="S::skarmakar@elogex.com::5d020034-ff2c-4e7e-8d00-e94708d613b2" providerId="AD" clId="Web-{C2D74154-6DFF-F410-784A-397F5B84E24D}" dt="2024-03-14T13:48:21.588" v="123"/>
          <ac:graphicFrameMkLst>
            <pc:docMk/>
            <pc:sldMk cId="3370766724" sldId="2147480108"/>
            <ac:graphicFrameMk id="17" creationId="{E2282912-6E7A-93E6-E11A-CAB7D61222A7}"/>
          </ac:graphicFrameMkLst>
        </pc:graphicFrameChg>
        <pc:graphicFrameChg chg="add del">
          <ac:chgData name="Karmakar, Sumit" userId="S::skarmakar@elogex.com::5d020034-ff2c-4e7e-8d00-e94708d613b2" providerId="AD" clId="Web-{C2D74154-6DFF-F410-784A-397F5B84E24D}" dt="2024-03-14T13:48:21.588" v="119"/>
          <ac:graphicFrameMkLst>
            <pc:docMk/>
            <pc:sldMk cId="3370766724" sldId="2147480108"/>
            <ac:graphicFrameMk id="55" creationId="{0DDB4D8A-FD51-7EB2-74C6-3BD441A69E42}"/>
          </ac:graphicFrameMkLst>
        </pc:graphicFrameChg>
        <pc:graphicFrameChg chg="add del">
          <ac:chgData name="Karmakar, Sumit" userId="S::skarmakar@elogex.com::5d020034-ff2c-4e7e-8d00-e94708d613b2" providerId="AD" clId="Web-{C2D74154-6DFF-F410-784A-397F5B84E24D}" dt="2024-03-14T13:48:21.588" v="117"/>
          <ac:graphicFrameMkLst>
            <pc:docMk/>
            <pc:sldMk cId="3370766724" sldId="2147480108"/>
            <ac:graphicFrameMk id="58" creationId="{A4A3B5F2-2F53-FC1C-71F0-90917952E577}"/>
          </ac:graphicFrameMkLst>
        </pc:graphicFrameChg>
      </pc:sldChg>
      <pc:sldChg chg="delSp modSp add ord replId">
        <pc:chgData name="Karmakar, Sumit" userId="S::skarmakar@elogex.com::5d020034-ff2c-4e7e-8d00-e94708d613b2" providerId="AD" clId="Web-{C2D74154-6DFF-F410-784A-397F5B84E24D}" dt="2024-03-14T13:08:14.366" v="27" actId="20577"/>
        <pc:sldMkLst>
          <pc:docMk/>
          <pc:sldMk cId="2511647518" sldId="2147480110"/>
        </pc:sldMkLst>
        <pc:spChg chg="mod">
          <ac:chgData name="Karmakar, Sumit" userId="S::skarmakar@elogex.com::5d020034-ff2c-4e7e-8d00-e94708d613b2" providerId="AD" clId="Web-{C2D74154-6DFF-F410-784A-397F5B84E24D}" dt="2024-03-14T13:08:14.366" v="27" actId="20577"/>
          <ac:spMkLst>
            <pc:docMk/>
            <pc:sldMk cId="2511647518" sldId="2147480110"/>
            <ac:spMk id="9" creationId="{7FBA4B87-97CE-C427-F2E6-4E29EF3AAD3C}"/>
          </ac:spMkLst>
        </pc:spChg>
        <pc:spChg chg="del">
          <ac:chgData name="Karmakar, Sumit" userId="S::skarmakar@elogex.com::5d020034-ff2c-4e7e-8d00-e94708d613b2" providerId="AD" clId="Web-{C2D74154-6DFF-F410-784A-397F5B84E24D}" dt="2024-03-14T13:06:39.676" v="3"/>
          <ac:spMkLst>
            <pc:docMk/>
            <pc:sldMk cId="2511647518" sldId="2147480110"/>
            <ac:spMk id="36" creationId="{4F3FA2A9-9386-4CA6-8C37-40B2EE3659D8}"/>
          </ac:spMkLst>
        </pc:spChg>
        <pc:spChg chg="del">
          <ac:chgData name="Karmakar, Sumit" userId="S::skarmakar@elogex.com::5d020034-ff2c-4e7e-8d00-e94708d613b2" providerId="AD" clId="Web-{C2D74154-6DFF-F410-784A-397F5B84E24D}" dt="2024-03-14T13:06:39.676" v="2"/>
          <ac:spMkLst>
            <pc:docMk/>
            <pc:sldMk cId="2511647518" sldId="2147480110"/>
            <ac:spMk id="38" creationId="{9B4FEC95-A79C-9E20-2BCB-542D6E45C3DF}"/>
          </ac:spMkLst>
        </pc:spChg>
        <pc:graphicFrameChg chg="del">
          <ac:chgData name="Karmakar, Sumit" userId="S::skarmakar@elogex.com::5d020034-ff2c-4e7e-8d00-e94708d613b2" providerId="AD" clId="Web-{C2D74154-6DFF-F410-784A-397F5B84E24D}" dt="2024-03-14T13:06:39.676" v="4"/>
          <ac:graphicFrameMkLst>
            <pc:docMk/>
            <pc:sldMk cId="2511647518" sldId="2147480110"/>
            <ac:graphicFrameMk id="3" creationId="{A0C264A5-87A4-39BA-F813-F8DBD0595773}"/>
          </ac:graphicFrameMkLst>
        </pc:graphicFrameChg>
      </pc:sldChg>
      <pc:sldChg chg="addSp delSp modSp add replId">
        <pc:chgData name="Karmakar, Sumit" userId="S::skarmakar@elogex.com::5d020034-ff2c-4e7e-8d00-e94708d613b2" providerId="AD" clId="Web-{C2D74154-6DFF-F410-784A-397F5B84E24D}" dt="2024-03-14T13:08:23.866" v="28" actId="20577"/>
        <pc:sldMkLst>
          <pc:docMk/>
          <pc:sldMk cId="4003192555" sldId="2147480111"/>
        </pc:sldMkLst>
        <pc:spChg chg="add del">
          <ac:chgData name="Karmakar, Sumit" userId="S::skarmakar@elogex.com::5d020034-ff2c-4e7e-8d00-e94708d613b2" providerId="AD" clId="Web-{C2D74154-6DFF-F410-784A-397F5B84E24D}" dt="2024-03-14T13:07:57.928" v="24"/>
          <ac:spMkLst>
            <pc:docMk/>
            <pc:sldMk cId="4003192555" sldId="2147480111"/>
            <ac:spMk id="3" creationId="{C869053D-0AEC-0351-C4AA-853B6F8E47FC}"/>
          </ac:spMkLst>
        </pc:spChg>
        <pc:spChg chg="mod">
          <ac:chgData name="Karmakar, Sumit" userId="S::skarmakar@elogex.com::5d020034-ff2c-4e7e-8d00-e94708d613b2" providerId="AD" clId="Web-{C2D74154-6DFF-F410-784A-397F5B84E24D}" dt="2024-03-14T13:08:23.866" v="28" actId="20577"/>
          <ac:spMkLst>
            <pc:docMk/>
            <pc:sldMk cId="4003192555" sldId="2147480111"/>
            <ac:spMk id="9" creationId="{7FBA4B87-97CE-C427-F2E6-4E29EF3AAD3C}"/>
          </ac:spMkLst>
        </pc:spChg>
      </pc:sldChg>
      <pc:sldChg chg="modSp add replId">
        <pc:chgData name="Karmakar, Sumit" userId="S::skarmakar@elogex.com::5d020034-ff2c-4e7e-8d00-e94708d613b2" providerId="AD" clId="Web-{C2D74154-6DFF-F410-784A-397F5B84E24D}" dt="2024-03-14T15:14:00.336" v="291" actId="20577"/>
        <pc:sldMkLst>
          <pc:docMk/>
          <pc:sldMk cId="1920257705" sldId="2147480112"/>
        </pc:sldMkLst>
        <pc:spChg chg="mod">
          <ac:chgData name="Karmakar, Sumit" userId="S::skarmakar@elogex.com::5d020034-ff2c-4e7e-8d00-e94708d613b2" providerId="AD" clId="Web-{C2D74154-6DFF-F410-784A-397F5B84E24D}" dt="2024-03-14T15:14:00.336" v="291" actId="20577"/>
          <ac:spMkLst>
            <pc:docMk/>
            <pc:sldMk cId="1920257705" sldId="2147480112"/>
            <ac:spMk id="2" creationId="{0329E297-E798-08B1-A1CC-65371311D18E}"/>
          </ac:spMkLst>
        </pc:spChg>
      </pc:sldChg>
    </pc:docChg>
  </pc:docChgLst>
  <pc:docChgLst>
    <pc:chgData name="Karmakar, Sumit" userId="S::skarmakar@elogex.com::5d020034-ff2c-4e7e-8d00-e94708d613b2" providerId="AD" clId="Web-{8A630DDC-8FE4-62EB-2C26-9AEFB80122E2}"/>
    <pc:docChg chg="modSld">
      <pc:chgData name="Karmakar, Sumit" userId="S::skarmakar@elogex.com::5d020034-ff2c-4e7e-8d00-e94708d613b2" providerId="AD" clId="Web-{8A630DDC-8FE4-62EB-2C26-9AEFB80122E2}" dt="2024-03-28T14:50:16.073" v="21" actId="20577"/>
      <pc:docMkLst>
        <pc:docMk/>
      </pc:docMkLst>
      <pc:sldChg chg="modSp">
        <pc:chgData name="Karmakar, Sumit" userId="S::skarmakar@elogex.com::5d020034-ff2c-4e7e-8d00-e94708d613b2" providerId="AD" clId="Web-{8A630DDC-8FE4-62EB-2C26-9AEFB80122E2}" dt="2024-03-28T14:50:16.073" v="21" actId="20577"/>
        <pc:sldMkLst>
          <pc:docMk/>
          <pc:sldMk cId="3118094164" sldId="2147480101"/>
        </pc:sldMkLst>
        <pc:graphicFrameChg chg="modGraphic">
          <ac:chgData name="Karmakar, Sumit" userId="S::skarmakar@elogex.com::5d020034-ff2c-4e7e-8d00-e94708d613b2" providerId="AD" clId="Web-{8A630DDC-8FE4-62EB-2C26-9AEFB80122E2}" dt="2024-03-28T14:50:16.073" v="21" actId="20577"/>
          <ac:graphicFrameMkLst>
            <pc:docMk/>
            <pc:sldMk cId="3118094164" sldId="2147480101"/>
            <ac:graphicFrameMk id="3" creationId="{A0C264A5-87A4-39BA-F813-F8DBD0595773}"/>
          </ac:graphicFrameMkLst>
        </pc:graphicFrameChg>
      </pc:sldChg>
    </pc:docChg>
  </pc:docChgLst>
  <pc:docChgLst>
    <pc:chgData name="Howell, Alexandra" userId="S::ahowell@elogex.com::b24ac530-baea-4066-a1a8-5a645cdd3eb4" providerId="AD" clId="Web-{280BA552-8CFF-9A79-4513-17346F446FD5}"/>
    <pc:docChg chg="modSld">
      <pc:chgData name="Howell, Alexandra" userId="S::ahowell@elogex.com::b24ac530-baea-4066-a1a8-5a645cdd3eb4" providerId="AD" clId="Web-{280BA552-8CFF-9A79-4513-17346F446FD5}" dt="2024-03-12T18:01:10.020" v="2" actId="20577"/>
      <pc:docMkLst>
        <pc:docMk/>
      </pc:docMkLst>
      <pc:sldChg chg="modSp">
        <pc:chgData name="Howell, Alexandra" userId="S::ahowell@elogex.com::b24ac530-baea-4066-a1a8-5a645cdd3eb4" providerId="AD" clId="Web-{280BA552-8CFF-9A79-4513-17346F446FD5}" dt="2024-03-12T18:01:10.020" v="2" actId="20577"/>
        <pc:sldMkLst>
          <pc:docMk/>
          <pc:sldMk cId="281351634" sldId="2147375232"/>
        </pc:sldMkLst>
        <pc:spChg chg="mod">
          <ac:chgData name="Howell, Alexandra" userId="S::ahowell@elogex.com::b24ac530-baea-4066-a1a8-5a645cdd3eb4" providerId="AD" clId="Web-{280BA552-8CFF-9A79-4513-17346F446FD5}" dt="2024-03-12T18:01:10.020" v="2" actId="20577"/>
          <ac:spMkLst>
            <pc:docMk/>
            <pc:sldMk cId="281351634" sldId="2147375232"/>
            <ac:spMk id="6" creationId="{417C87F0-9007-7AF1-73B7-E68FB34B1F7C}"/>
          </ac:spMkLst>
        </pc:spChg>
      </pc:sldChg>
    </pc:docChg>
  </pc:docChgLst>
  <pc:docChgLst>
    <pc:chgData name="Karmakar, Sumit" userId="S::skarmakar@elogex.com::5d020034-ff2c-4e7e-8d00-e94708d613b2" providerId="AD" clId="Web-{88C548DF-1DD2-6060-3EBC-DA8970E6CBE1}"/>
    <pc:docChg chg="addSld delSld modSld modSection">
      <pc:chgData name="Karmakar, Sumit" userId="S::skarmakar@elogex.com::5d020034-ff2c-4e7e-8d00-e94708d613b2" providerId="AD" clId="Web-{88C548DF-1DD2-6060-3EBC-DA8970E6CBE1}" dt="2024-03-20T15:05:36.465" v="512"/>
      <pc:docMkLst>
        <pc:docMk/>
      </pc:docMkLst>
      <pc:sldChg chg="modSp">
        <pc:chgData name="Karmakar, Sumit" userId="S::skarmakar@elogex.com::5d020034-ff2c-4e7e-8d00-e94708d613b2" providerId="AD" clId="Web-{88C548DF-1DD2-6060-3EBC-DA8970E6CBE1}" dt="2024-03-20T03:05:46.274" v="1" actId="1076"/>
        <pc:sldMkLst>
          <pc:docMk/>
          <pc:sldMk cId="3043437281" sldId="2147471639"/>
        </pc:sldMkLst>
        <pc:spChg chg="mod">
          <ac:chgData name="Karmakar, Sumit" userId="S::skarmakar@elogex.com::5d020034-ff2c-4e7e-8d00-e94708d613b2" providerId="AD" clId="Web-{88C548DF-1DD2-6060-3EBC-DA8970E6CBE1}" dt="2024-03-20T03:05:46.274" v="1" actId="1076"/>
          <ac:spMkLst>
            <pc:docMk/>
            <pc:sldMk cId="3043437281" sldId="2147471639"/>
            <ac:spMk id="4" creationId="{7818288B-FB17-A849-848D-0E4B238F1C8C}"/>
          </ac:spMkLst>
        </pc:spChg>
      </pc:sldChg>
      <pc:sldChg chg="addSp delSp modSp del">
        <pc:chgData name="Karmakar, Sumit" userId="S::skarmakar@elogex.com::5d020034-ff2c-4e7e-8d00-e94708d613b2" providerId="AD" clId="Web-{88C548DF-1DD2-6060-3EBC-DA8970E6CBE1}" dt="2024-03-20T14:58:50.314" v="235"/>
        <pc:sldMkLst>
          <pc:docMk/>
          <pc:sldMk cId="1887349041" sldId="2147480082"/>
        </pc:sldMkLst>
        <pc:spChg chg="mod">
          <ac:chgData name="Karmakar, Sumit" userId="S::skarmakar@elogex.com::5d020034-ff2c-4e7e-8d00-e94708d613b2" providerId="AD" clId="Web-{88C548DF-1DD2-6060-3EBC-DA8970E6CBE1}" dt="2024-03-20T13:18:54.761" v="133" actId="1076"/>
          <ac:spMkLst>
            <pc:docMk/>
            <pc:sldMk cId="1887349041" sldId="2147480082"/>
            <ac:spMk id="9" creationId="{949BEE9F-10BB-65A3-5EBA-E673BA3F0839}"/>
          </ac:spMkLst>
        </pc:spChg>
        <pc:grpChg chg="mod">
          <ac:chgData name="Karmakar, Sumit" userId="S::skarmakar@elogex.com::5d020034-ff2c-4e7e-8d00-e94708d613b2" providerId="AD" clId="Web-{88C548DF-1DD2-6060-3EBC-DA8970E6CBE1}" dt="2024-03-20T13:18:47.136" v="132" actId="1076"/>
          <ac:grpSpMkLst>
            <pc:docMk/>
            <pc:sldMk cId="1887349041" sldId="2147480082"/>
            <ac:grpSpMk id="3" creationId="{560023AF-258F-14F7-0C9C-2D24CB9B3DAB}"/>
          </ac:grpSpMkLst>
        </pc:grpChg>
        <pc:grpChg chg="del mod">
          <ac:chgData name="Karmakar, Sumit" userId="S::skarmakar@elogex.com::5d020034-ff2c-4e7e-8d00-e94708d613b2" providerId="AD" clId="Web-{88C548DF-1DD2-6060-3EBC-DA8970E6CBE1}" dt="2024-03-20T13:19:02.980" v="135"/>
          <ac:grpSpMkLst>
            <pc:docMk/>
            <pc:sldMk cId="1887349041" sldId="2147480082"/>
            <ac:grpSpMk id="7" creationId="{C77DA14E-65E5-9D04-5DDE-D46278F2F241}"/>
          </ac:grpSpMkLst>
        </pc:grpChg>
        <pc:grpChg chg="mod">
          <ac:chgData name="Karmakar, Sumit" userId="S::skarmakar@elogex.com::5d020034-ff2c-4e7e-8d00-e94708d613b2" providerId="AD" clId="Web-{88C548DF-1DD2-6060-3EBC-DA8970E6CBE1}" dt="2024-03-20T13:20:00.091" v="140" actId="1076"/>
          <ac:grpSpMkLst>
            <pc:docMk/>
            <pc:sldMk cId="1887349041" sldId="2147480082"/>
            <ac:grpSpMk id="10" creationId="{D761714A-E346-2E23-13A0-02DED4B6F810}"/>
          </ac:grpSpMkLst>
        </pc:grpChg>
        <pc:grpChg chg="mod">
          <ac:chgData name="Karmakar, Sumit" userId="S::skarmakar@elogex.com::5d020034-ff2c-4e7e-8d00-e94708d613b2" providerId="AD" clId="Web-{88C548DF-1DD2-6060-3EBC-DA8970E6CBE1}" dt="2024-03-20T13:20:00.153" v="143" actId="1076"/>
          <ac:grpSpMkLst>
            <pc:docMk/>
            <pc:sldMk cId="1887349041" sldId="2147480082"/>
            <ac:grpSpMk id="11" creationId="{71CF4D55-473D-0586-8939-F56AB222A90C}"/>
          </ac:grpSpMkLst>
        </pc:grpChg>
        <pc:grpChg chg="mod">
          <ac:chgData name="Karmakar, Sumit" userId="S::skarmakar@elogex.com::5d020034-ff2c-4e7e-8d00-e94708d613b2" providerId="AD" clId="Web-{88C548DF-1DD2-6060-3EBC-DA8970E6CBE1}" dt="2024-03-20T13:18:29.339" v="128" actId="1076"/>
          <ac:grpSpMkLst>
            <pc:docMk/>
            <pc:sldMk cId="1887349041" sldId="2147480082"/>
            <ac:grpSpMk id="15" creationId="{740A0D65-D585-3D4C-B805-92FF328B4590}"/>
          </ac:grpSpMkLst>
        </pc:grpChg>
        <pc:grpChg chg="mod">
          <ac:chgData name="Karmakar, Sumit" userId="S::skarmakar@elogex.com::5d020034-ff2c-4e7e-8d00-e94708d613b2" providerId="AD" clId="Web-{88C548DF-1DD2-6060-3EBC-DA8970E6CBE1}" dt="2024-03-20T13:20:00.122" v="141" actId="1076"/>
          <ac:grpSpMkLst>
            <pc:docMk/>
            <pc:sldMk cId="1887349041" sldId="2147480082"/>
            <ac:grpSpMk id="19" creationId="{04795E89-C3B0-D5F5-E0AC-331BA786FFCE}"/>
          </ac:grpSpMkLst>
        </pc:grpChg>
        <pc:grpChg chg="mod">
          <ac:chgData name="Karmakar, Sumit" userId="S::skarmakar@elogex.com::5d020034-ff2c-4e7e-8d00-e94708d613b2" providerId="AD" clId="Web-{88C548DF-1DD2-6060-3EBC-DA8970E6CBE1}" dt="2024-03-20T13:18:15.604" v="121" actId="1076"/>
          <ac:grpSpMkLst>
            <pc:docMk/>
            <pc:sldMk cId="1887349041" sldId="2147480082"/>
            <ac:grpSpMk id="22" creationId="{8620B849-FE44-194F-BF71-1E5A71FB3AE9}"/>
          </ac:grpSpMkLst>
        </pc:grpChg>
        <pc:grpChg chg="mod">
          <ac:chgData name="Karmakar, Sumit" userId="S::skarmakar@elogex.com::5d020034-ff2c-4e7e-8d00-e94708d613b2" providerId="AD" clId="Web-{88C548DF-1DD2-6060-3EBC-DA8970E6CBE1}" dt="2024-03-20T13:18:15.635" v="122" actId="1076"/>
          <ac:grpSpMkLst>
            <pc:docMk/>
            <pc:sldMk cId="1887349041" sldId="2147480082"/>
            <ac:grpSpMk id="25" creationId="{40D9AA27-26A4-B141-9C19-52D5E65C9200}"/>
          </ac:grpSpMkLst>
        </pc:grpChg>
        <pc:grpChg chg="mod">
          <ac:chgData name="Karmakar, Sumit" userId="S::skarmakar@elogex.com::5d020034-ff2c-4e7e-8d00-e94708d613b2" providerId="AD" clId="Web-{88C548DF-1DD2-6060-3EBC-DA8970E6CBE1}" dt="2024-03-20T13:18:29.354" v="129" actId="1076"/>
          <ac:grpSpMkLst>
            <pc:docMk/>
            <pc:sldMk cId="1887349041" sldId="2147480082"/>
            <ac:grpSpMk id="28" creationId="{373114D0-456B-324D-89AD-32B398D78BA9}"/>
          </ac:grpSpMkLst>
        </pc:grpChg>
        <pc:grpChg chg="mod">
          <ac:chgData name="Karmakar, Sumit" userId="S::skarmakar@elogex.com::5d020034-ff2c-4e7e-8d00-e94708d613b2" providerId="AD" clId="Web-{88C548DF-1DD2-6060-3EBC-DA8970E6CBE1}" dt="2024-03-20T13:18:47.105" v="131" actId="1076"/>
          <ac:grpSpMkLst>
            <pc:docMk/>
            <pc:sldMk cId="1887349041" sldId="2147480082"/>
            <ac:grpSpMk id="31" creationId="{6FB56CF5-4E56-0246-BAD2-318203169C29}"/>
          </ac:grpSpMkLst>
        </pc:grpChg>
        <pc:grpChg chg="add mod">
          <ac:chgData name="Karmakar, Sumit" userId="S::skarmakar@elogex.com::5d020034-ff2c-4e7e-8d00-e94708d613b2" providerId="AD" clId="Web-{88C548DF-1DD2-6060-3EBC-DA8970E6CBE1}" dt="2024-03-20T13:19:11.605" v="137" actId="1076"/>
          <ac:grpSpMkLst>
            <pc:docMk/>
            <pc:sldMk cId="1887349041" sldId="2147480082"/>
            <ac:grpSpMk id="34" creationId="{ADEEAE66-7EB0-B1E7-EDA9-3A2777D205E2}"/>
          </ac:grpSpMkLst>
        </pc:grpChg>
        <pc:grpChg chg="add mod">
          <ac:chgData name="Karmakar, Sumit" userId="S::skarmakar@elogex.com::5d020034-ff2c-4e7e-8d00-e94708d613b2" providerId="AD" clId="Web-{88C548DF-1DD2-6060-3EBC-DA8970E6CBE1}" dt="2024-03-20T13:23:04.939" v="185" actId="1076"/>
          <ac:grpSpMkLst>
            <pc:docMk/>
            <pc:sldMk cId="1887349041" sldId="2147480082"/>
            <ac:grpSpMk id="40" creationId="{403CB965-FAFB-2729-2A60-CDD49D617963}"/>
          </ac:grpSpMkLst>
        </pc:grpChg>
        <pc:grpChg chg="mod">
          <ac:chgData name="Karmakar, Sumit" userId="S::skarmakar@elogex.com::5d020034-ff2c-4e7e-8d00-e94708d613b2" providerId="AD" clId="Web-{88C548DF-1DD2-6060-3EBC-DA8970E6CBE1}" dt="2024-03-20T13:20:00.138" v="142" actId="1076"/>
          <ac:grpSpMkLst>
            <pc:docMk/>
            <pc:sldMk cId="1887349041" sldId="2147480082"/>
            <ac:grpSpMk id="52" creationId="{096E8D10-4603-C702-DAB1-5EAEFF4317B5}"/>
          </ac:grpSpMkLst>
        </pc:grpChg>
        <pc:grpChg chg="del">
          <ac:chgData name="Karmakar, Sumit" userId="S::skarmakar@elogex.com::5d020034-ff2c-4e7e-8d00-e94708d613b2" providerId="AD" clId="Web-{88C548DF-1DD2-6060-3EBC-DA8970E6CBE1}" dt="2024-03-20T13:16:36.274" v="113"/>
          <ac:grpSpMkLst>
            <pc:docMk/>
            <pc:sldMk cId="1887349041" sldId="2147480082"/>
            <ac:grpSpMk id="61" creationId="{9EF25119-B697-5156-5A9C-B818208B7999}"/>
          </ac:grpSpMkLst>
        </pc:grpChg>
        <pc:grpChg chg="del">
          <ac:chgData name="Karmakar, Sumit" userId="S::skarmakar@elogex.com::5d020034-ff2c-4e7e-8d00-e94708d613b2" providerId="AD" clId="Web-{88C548DF-1DD2-6060-3EBC-DA8970E6CBE1}" dt="2024-03-20T13:16:43.664" v="115"/>
          <ac:grpSpMkLst>
            <pc:docMk/>
            <pc:sldMk cId="1887349041" sldId="2147480082"/>
            <ac:grpSpMk id="64" creationId="{FABE248F-6FE3-F886-8454-62E805CE5A39}"/>
          </ac:grpSpMkLst>
        </pc:grpChg>
        <pc:grpChg chg="del">
          <ac:chgData name="Karmakar, Sumit" userId="S::skarmakar@elogex.com::5d020034-ff2c-4e7e-8d00-e94708d613b2" providerId="AD" clId="Web-{88C548DF-1DD2-6060-3EBC-DA8970E6CBE1}" dt="2024-03-20T13:16:43.664" v="114"/>
          <ac:grpSpMkLst>
            <pc:docMk/>
            <pc:sldMk cId="1887349041" sldId="2147480082"/>
            <ac:grpSpMk id="67" creationId="{D6E26279-01D2-FF85-DD8F-8AE23E7D8DAA}"/>
          </ac:grpSpMkLst>
        </pc:grpChg>
        <pc:grpChg chg="del">
          <ac:chgData name="Karmakar, Sumit" userId="S::skarmakar@elogex.com::5d020034-ff2c-4e7e-8d00-e94708d613b2" providerId="AD" clId="Web-{88C548DF-1DD2-6060-3EBC-DA8970E6CBE1}" dt="2024-03-20T13:16:36.274" v="112"/>
          <ac:grpSpMkLst>
            <pc:docMk/>
            <pc:sldMk cId="1887349041" sldId="2147480082"/>
            <ac:grpSpMk id="70" creationId="{97F984DD-164D-F1D0-08EB-FF3C11CC3716}"/>
          </ac:grpSpMkLst>
        </pc:grpChg>
        <pc:grpChg chg="mod">
          <ac:chgData name="Karmakar, Sumit" userId="S::skarmakar@elogex.com::5d020034-ff2c-4e7e-8d00-e94708d613b2" providerId="AD" clId="Web-{88C548DF-1DD2-6060-3EBC-DA8970E6CBE1}" dt="2024-03-20T13:19:21.137" v="138" actId="1076"/>
          <ac:grpSpMkLst>
            <pc:docMk/>
            <pc:sldMk cId="1887349041" sldId="2147480082"/>
            <ac:grpSpMk id="84" creationId="{A215399C-5E63-AC8A-63DC-2226048CB382}"/>
          </ac:grpSpMkLst>
        </pc:grpChg>
        <pc:grpChg chg="del">
          <ac:chgData name="Karmakar, Sumit" userId="S::skarmakar@elogex.com::5d020034-ff2c-4e7e-8d00-e94708d613b2" providerId="AD" clId="Web-{88C548DF-1DD2-6060-3EBC-DA8970E6CBE1}" dt="2024-03-20T13:16:36.274" v="111"/>
          <ac:grpSpMkLst>
            <pc:docMk/>
            <pc:sldMk cId="1887349041" sldId="2147480082"/>
            <ac:grpSpMk id="87" creationId="{3BBBA297-3264-A8E0-A6CC-A5315026FCBF}"/>
          </ac:grpSpMkLst>
        </pc:grpChg>
        <pc:grpChg chg="del">
          <ac:chgData name="Karmakar, Sumit" userId="S::skarmakar@elogex.com::5d020034-ff2c-4e7e-8d00-e94708d613b2" providerId="AD" clId="Web-{88C548DF-1DD2-6060-3EBC-DA8970E6CBE1}" dt="2024-03-20T13:16:36.274" v="110"/>
          <ac:grpSpMkLst>
            <pc:docMk/>
            <pc:sldMk cId="1887349041" sldId="2147480082"/>
            <ac:grpSpMk id="90" creationId="{C4342F55-1772-23AF-B95E-F369FA1A757B}"/>
          </ac:grpSpMkLst>
        </pc:grpChg>
        <pc:grpChg chg="del">
          <ac:chgData name="Karmakar, Sumit" userId="S::skarmakar@elogex.com::5d020034-ff2c-4e7e-8d00-e94708d613b2" providerId="AD" clId="Web-{88C548DF-1DD2-6060-3EBC-DA8970E6CBE1}" dt="2024-03-20T13:16:36.274" v="109"/>
          <ac:grpSpMkLst>
            <pc:docMk/>
            <pc:sldMk cId="1887349041" sldId="2147480082"/>
            <ac:grpSpMk id="97" creationId="{F4CCCA3C-6C62-F92D-65EE-5FE42092E137}"/>
          </ac:grpSpMkLst>
        </pc:grpChg>
        <pc:grpChg chg="del">
          <ac:chgData name="Karmakar, Sumit" userId="S::skarmakar@elogex.com::5d020034-ff2c-4e7e-8d00-e94708d613b2" providerId="AD" clId="Web-{88C548DF-1DD2-6060-3EBC-DA8970E6CBE1}" dt="2024-03-20T13:16:36.274" v="108"/>
          <ac:grpSpMkLst>
            <pc:docMk/>
            <pc:sldMk cId="1887349041" sldId="2147480082"/>
            <ac:grpSpMk id="100" creationId="{144414BD-AA9A-7252-267A-80CD2576E68E}"/>
          </ac:grpSpMkLst>
        </pc:grpChg>
        <pc:graphicFrameChg chg="mod modGraphic">
          <ac:chgData name="Karmakar, Sumit" userId="S::skarmakar@elogex.com::5d020034-ff2c-4e7e-8d00-e94708d613b2" providerId="AD" clId="Web-{88C548DF-1DD2-6060-3EBC-DA8970E6CBE1}" dt="2024-03-20T13:24:40.457" v="203"/>
          <ac:graphicFrameMkLst>
            <pc:docMk/>
            <pc:sldMk cId="1887349041" sldId="2147480082"/>
            <ac:graphicFrameMk id="5" creationId="{CDC76AFD-66C6-FB43-9737-6535F0D1285D}"/>
          </ac:graphicFrameMkLst>
        </pc:graphicFrameChg>
      </pc:sldChg>
      <pc:sldChg chg="modSp">
        <pc:chgData name="Karmakar, Sumit" userId="S::skarmakar@elogex.com::5d020034-ff2c-4e7e-8d00-e94708d613b2" providerId="AD" clId="Web-{88C548DF-1DD2-6060-3EBC-DA8970E6CBE1}" dt="2024-03-20T03:09:23.421" v="38" actId="20577"/>
        <pc:sldMkLst>
          <pc:docMk/>
          <pc:sldMk cId="480133652" sldId="2147480109"/>
        </pc:sldMkLst>
        <pc:spChg chg="mod">
          <ac:chgData name="Karmakar, Sumit" userId="S::skarmakar@elogex.com::5d020034-ff2c-4e7e-8d00-e94708d613b2" providerId="AD" clId="Web-{88C548DF-1DD2-6060-3EBC-DA8970E6CBE1}" dt="2024-03-20T03:09:23.421" v="38" actId="20577"/>
          <ac:spMkLst>
            <pc:docMk/>
            <pc:sldMk cId="480133652" sldId="2147480109"/>
            <ac:spMk id="4" creationId="{0316E24A-36E5-F9DC-64A3-504BD87305DA}"/>
          </ac:spMkLst>
        </pc:spChg>
      </pc:sldChg>
      <pc:sldChg chg="modSp">
        <pc:chgData name="Karmakar, Sumit" userId="S::skarmakar@elogex.com::5d020034-ff2c-4e7e-8d00-e94708d613b2" providerId="AD" clId="Web-{88C548DF-1DD2-6060-3EBC-DA8970E6CBE1}" dt="2024-03-20T03:09:16.843" v="37" actId="20577"/>
        <pc:sldMkLst>
          <pc:docMk/>
          <pc:sldMk cId="2511647518" sldId="2147480110"/>
        </pc:sldMkLst>
        <pc:spChg chg="mod">
          <ac:chgData name="Karmakar, Sumit" userId="S::skarmakar@elogex.com::5d020034-ff2c-4e7e-8d00-e94708d613b2" providerId="AD" clId="Web-{88C548DF-1DD2-6060-3EBC-DA8970E6CBE1}" dt="2024-03-20T03:09:16.843" v="37" actId="20577"/>
          <ac:spMkLst>
            <pc:docMk/>
            <pc:sldMk cId="2511647518" sldId="2147480110"/>
            <ac:spMk id="3" creationId="{245AEFFC-310E-725E-C6BB-54C2096FD0BD}"/>
          </ac:spMkLst>
        </pc:spChg>
      </pc:sldChg>
      <pc:sldChg chg="delSp modSp del">
        <pc:chgData name="Karmakar, Sumit" userId="S::skarmakar@elogex.com::5d020034-ff2c-4e7e-8d00-e94708d613b2" providerId="AD" clId="Web-{88C548DF-1DD2-6060-3EBC-DA8970E6CBE1}" dt="2024-03-20T14:59:01.768" v="236"/>
        <pc:sldMkLst>
          <pc:docMk/>
          <pc:sldMk cId="3236129220" sldId="2147480115"/>
        </pc:sldMkLst>
        <pc:grpChg chg="mod">
          <ac:chgData name="Karmakar, Sumit" userId="S::skarmakar@elogex.com::5d020034-ff2c-4e7e-8d00-e94708d613b2" providerId="AD" clId="Web-{88C548DF-1DD2-6060-3EBC-DA8970E6CBE1}" dt="2024-03-20T13:15:19.116" v="73" actId="1076"/>
          <ac:grpSpMkLst>
            <pc:docMk/>
            <pc:sldMk cId="3236129220" sldId="2147480115"/>
            <ac:grpSpMk id="3" creationId="{560023AF-258F-14F7-0C9C-2D24CB9B3DAB}"/>
          </ac:grpSpMkLst>
        </pc:grpChg>
        <pc:grpChg chg="mod">
          <ac:chgData name="Karmakar, Sumit" userId="S::skarmakar@elogex.com::5d020034-ff2c-4e7e-8d00-e94708d613b2" providerId="AD" clId="Web-{88C548DF-1DD2-6060-3EBC-DA8970E6CBE1}" dt="2024-03-20T13:15:40.132" v="74" actId="1076"/>
          <ac:grpSpMkLst>
            <pc:docMk/>
            <pc:sldMk cId="3236129220" sldId="2147480115"/>
            <ac:grpSpMk id="7" creationId="{C0685F9E-346B-E504-A2F9-1A4807297BA8}"/>
          </ac:grpSpMkLst>
        </pc:grpChg>
        <pc:grpChg chg="mod">
          <ac:chgData name="Karmakar, Sumit" userId="S::skarmakar@elogex.com::5d020034-ff2c-4e7e-8d00-e94708d613b2" providerId="AD" clId="Web-{88C548DF-1DD2-6060-3EBC-DA8970E6CBE1}" dt="2024-03-20T13:15:40.165" v="75" actId="1076"/>
          <ac:grpSpMkLst>
            <pc:docMk/>
            <pc:sldMk cId="3236129220" sldId="2147480115"/>
            <ac:grpSpMk id="11" creationId="{3ADDED90-8A62-D4D9-7E13-431BF918685B}"/>
          </ac:grpSpMkLst>
        </pc:grpChg>
        <pc:grpChg chg="mod">
          <ac:chgData name="Karmakar, Sumit" userId="S::skarmakar@elogex.com::5d020034-ff2c-4e7e-8d00-e94708d613b2" providerId="AD" clId="Web-{88C548DF-1DD2-6060-3EBC-DA8970E6CBE1}" dt="2024-03-20T13:15:40.178" v="76" actId="1076"/>
          <ac:grpSpMkLst>
            <pc:docMk/>
            <pc:sldMk cId="3236129220" sldId="2147480115"/>
            <ac:grpSpMk id="35" creationId="{D8FE8296-7EA4-15EF-8EE9-B23B6484BD0C}"/>
          </ac:grpSpMkLst>
        </pc:grpChg>
        <pc:grpChg chg="mod">
          <ac:chgData name="Karmakar, Sumit" userId="S::skarmakar@elogex.com::5d020034-ff2c-4e7e-8d00-e94708d613b2" providerId="AD" clId="Web-{88C548DF-1DD2-6060-3EBC-DA8970E6CBE1}" dt="2024-03-20T13:15:40.210" v="77" actId="1076"/>
          <ac:grpSpMkLst>
            <pc:docMk/>
            <pc:sldMk cId="3236129220" sldId="2147480115"/>
            <ac:grpSpMk id="38" creationId="{E03533BF-7256-83F4-1AC2-3C9E5A3C5E9E}"/>
          </ac:grpSpMkLst>
        </pc:grpChg>
        <pc:grpChg chg="mod">
          <ac:chgData name="Karmakar, Sumit" userId="S::skarmakar@elogex.com::5d020034-ff2c-4e7e-8d00-e94708d613b2" providerId="AD" clId="Web-{88C548DF-1DD2-6060-3EBC-DA8970E6CBE1}" dt="2024-03-20T13:15:40.225" v="78" actId="1076"/>
          <ac:grpSpMkLst>
            <pc:docMk/>
            <pc:sldMk cId="3236129220" sldId="2147480115"/>
            <ac:grpSpMk id="41" creationId="{68DCBFE4-A7B1-69E1-A4C3-5ED946B44F72}"/>
          </ac:grpSpMkLst>
        </pc:grpChg>
        <pc:grpChg chg="mod">
          <ac:chgData name="Karmakar, Sumit" userId="S::skarmakar@elogex.com::5d020034-ff2c-4e7e-8d00-e94708d613b2" providerId="AD" clId="Web-{88C548DF-1DD2-6060-3EBC-DA8970E6CBE1}" dt="2024-03-20T13:15:40.241" v="79" actId="1076"/>
          <ac:grpSpMkLst>
            <pc:docMk/>
            <pc:sldMk cId="3236129220" sldId="2147480115"/>
            <ac:grpSpMk id="45" creationId="{BFDE84B3-54F0-DD41-D786-2D8B44B916B4}"/>
          </ac:grpSpMkLst>
        </pc:grpChg>
        <pc:grpChg chg="mod">
          <ac:chgData name="Karmakar, Sumit" userId="S::skarmakar@elogex.com::5d020034-ff2c-4e7e-8d00-e94708d613b2" providerId="AD" clId="Web-{88C548DF-1DD2-6060-3EBC-DA8970E6CBE1}" dt="2024-03-20T13:16:01.616" v="92" actId="1076"/>
          <ac:grpSpMkLst>
            <pc:docMk/>
            <pc:sldMk cId="3236129220" sldId="2147480115"/>
            <ac:grpSpMk id="48" creationId="{C7943689-2151-FE65-E047-FE468BEDBAA1}"/>
          </ac:grpSpMkLst>
        </pc:grpChg>
        <pc:grpChg chg="mod">
          <ac:chgData name="Karmakar, Sumit" userId="S::skarmakar@elogex.com::5d020034-ff2c-4e7e-8d00-e94708d613b2" providerId="AD" clId="Web-{88C548DF-1DD2-6060-3EBC-DA8970E6CBE1}" dt="2024-03-20T13:16:01.632" v="93" actId="1076"/>
          <ac:grpSpMkLst>
            <pc:docMk/>
            <pc:sldMk cId="3236129220" sldId="2147480115"/>
            <ac:grpSpMk id="51" creationId="{02BFA5D5-A804-BD47-B90E-CD7F94F7F995}"/>
          </ac:grpSpMkLst>
        </pc:grpChg>
        <pc:grpChg chg="mod">
          <ac:chgData name="Karmakar, Sumit" userId="S::skarmakar@elogex.com::5d020034-ff2c-4e7e-8d00-e94708d613b2" providerId="AD" clId="Web-{88C548DF-1DD2-6060-3EBC-DA8970E6CBE1}" dt="2024-03-20T13:16:01.663" v="94" actId="1076"/>
          <ac:grpSpMkLst>
            <pc:docMk/>
            <pc:sldMk cId="3236129220" sldId="2147480115"/>
            <ac:grpSpMk id="58" creationId="{DBE0ED4E-7EB0-BA48-37F3-4C3D35343780}"/>
          </ac:grpSpMkLst>
        </pc:grpChg>
        <pc:grpChg chg="mod">
          <ac:chgData name="Karmakar, Sumit" userId="S::skarmakar@elogex.com::5d020034-ff2c-4e7e-8d00-e94708d613b2" providerId="AD" clId="Web-{88C548DF-1DD2-6060-3EBC-DA8970E6CBE1}" dt="2024-03-20T13:16:01.683" v="95" actId="1076"/>
          <ac:grpSpMkLst>
            <pc:docMk/>
            <pc:sldMk cId="3236129220" sldId="2147480115"/>
            <ac:grpSpMk id="73" creationId="{8BAC7535-81EB-F9C6-78E6-56B84208CE53}"/>
          </ac:grpSpMkLst>
        </pc:grpChg>
        <pc:grpChg chg="mod">
          <ac:chgData name="Karmakar, Sumit" userId="S::skarmakar@elogex.com::5d020034-ff2c-4e7e-8d00-e94708d613b2" providerId="AD" clId="Web-{88C548DF-1DD2-6060-3EBC-DA8970E6CBE1}" dt="2024-03-20T13:16:01.710" v="96" actId="1076"/>
          <ac:grpSpMkLst>
            <pc:docMk/>
            <pc:sldMk cId="3236129220" sldId="2147480115"/>
            <ac:grpSpMk id="76" creationId="{35943E22-0C3D-92CB-49DD-BBDA9791953C}"/>
          </ac:grpSpMkLst>
        </pc:grpChg>
        <pc:grpChg chg="mod">
          <ac:chgData name="Karmakar, Sumit" userId="S::skarmakar@elogex.com::5d020034-ff2c-4e7e-8d00-e94708d613b2" providerId="AD" clId="Web-{88C548DF-1DD2-6060-3EBC-DA8970E6CBE1}" dt="2024-03-20T13:16:01.726" v="97" actId="1076"/>
          <ac:grpSpMkLst>
            <pc:docMk/>
            <pc:sldMk cId="3236129220" sldId="2147480115"/>
            <ac:grpSpMk id="93" creationId="{1B734ADF-0C5E-D141-CDA8-838045315CC3}"/>
          </ac:grpSpMkLst>
        </pc:grpChg>
        <pc:grpChg chg="mod">
          <ac:chgData name="Karmakar, Sumit" userId="S::skarmakar@elogex.com::5d020034-ff2c-4e7e-8d00-e94708d613b2" providerId="AD" clId="Web-{88C548DF-1DD2-6060-3EBC-DA8970E6CBE1}" dt="2024-03-20T13:16:01.757" v="98" actId="1076"/>
          <ac:grpSpMkLst>
            <pc:docMk/>
            <pc:sldMk cId="3236129220" sldId="2147480115"/>
            <ac:grpSpMk id="96" creationId="{FD79298C-D429-7820-AED5-DE5BBEDF1167}"/>
          </ac:grpSpMkLst>
        </pc:grpChg>
        <pc:grpChg chg="mod">
          <ac:chgData name="Karmakar, Sumit" userId="S::skarmakar@elogex.com::5d020034-ff2c-4e7e-8d00-e94708d613b2" providerId="AD" clId="Web-{88C548DF-1DD2-6060-3EBC-DA8970E6CBE1}" dt="2024-03-20T13:16:01.773" v="99" actId="1076"/>
          <ac:grpSpMkLst>
            <pc:docMk/>
            <pc:sldMk cId="3236129220" sldId="2147480115"/>
            <ac:grpSpMk id="105" creationId="{77925B39-30D5-B980-C6B1-74F7275166CA}"/>
          </ac:grpSpMkLst>
        </pc:grpChg>
        <pc:grpChg chg="mod">
          <ac:chgData name="Karmakar, Sumit" userId="S::skarmakar@elogex.com::5d020034-ff2c-4e7e-8d00-e94708d613b2" providerId="AD" clId="Web-{88C548DF-1DD2-6060-3EBC-DA8970E6CBE1}" dt="2024-03-20T13:16:01.804" v="100" actId="1076"/>
          <ac:grpSpMkLst>
            <pc:docMk/>
            <pc:sldMk cId="3236129220" sldId="2147480115"/>
            <ac:grpSpMk id="109" creationId="{D7AD6DD3-CBB4-271C-842B-DFA9401FDE9B}"/>
          </ac:grpSpMkLst>
        </pc:grpChg>
        <pc:grpChg chg="del">
          <ac:chgData name="Karmakar, Sumit" userId="S::skarmakar@elogex.com::5d020034-ff2c-4e7e-8d00-e94708d613b2" providerId="AD" clId="Web-{88C548DF-1DD2-6060-3EBC-DA8970E6CBE1}" dt="2024-03-20T13:13:50.910" v="45"/>
          <ac:grpSpMkLst>
            <pc:docMk/>
            <pc:sldMk cId="3236129220" sldId="2147480115"/>
            <ac:grpSpMk id="126" creationId="{CD3E4310-ED3E-F486-F161-1BDDE75ABE41}"/>
          </ac:grpSpMkLst>
        </pc:grpChg>
        <pc:grpChg chg="mod">
          <ac:chgData name="Karmakar, Sumit" userId="S::skarmakar@elogex.com::5d020034-ff2c-4e7e-8d00-e94708d613b2" providerId="AD" clId="Web-{88C548DF-1DD2-6060-3EBC-DA8970E6CBE1}" dt="2024-03-20T13:16:01.820" v="101" actId="1076"/>
          <ac:grpSpMkLst>
            <pc:docMk/>
            <pc:sldMk cId="3236129220" sldId="2147480115"/>
            <ac:grpSpMk id="131" creationId="{B3CE325D-57EF-03AE-2966-50DAD6EBA7BE}"/>
          </ac:grpSpMkLst>
        </pc:grpChg>
        <pc:grpChg chg="mod">
          <ac:chgData name="Karmakar, Sumit" userId="S::skarmakar@elogex.com::5d020034-ff2c-4e7e-8d00-e94708d613b2" providerId="AD" clId="Web-{88C548DF-1DD2-6060-3EBC-DA8970E6CBE1}" dt="2024-03-20T13:16:01.866" v="102" actId="1076"/>
          <ac:grpSpMkLst>
            <pc:docMk/>
            <pc:sldMk cId="3236129220" sldId="2147480115"/>
            <ac:grpSpMk id="134" creationId="{EDE8A4F4-8903-18DE-A655-2213112412C9}"/>
          </ac:grpSpMkLst>
        </pc:grpChg>
        <pc:grpChg chg="mod">
          <ac:chgData name="Karmakar, Sumit" userId="S::skarmakar@elogex.com::5d020034-ff2c-4e7e-8d00-e94708d613b2" providerId="AD" clId="Web-{88C548DF-1DD2-6060-3EBC-DA8970E6CBE1}" dt="2024-03-20T13:16:01.929" v="103" actId="1076"/>
          <ac:grpSpMkLst>
            <pc:docMk/>
            <pc:sldMk cId="3236129220" sldId="2147480115"/>
            <ac:grpSpMk id="137" creationId="{F837F2C7-D2D2-9354-0622-E6E9A2FA4D5B}"/>
          </ac:grpSpMkLst>
        </pc:grpChg>
        <pc:graphicFrameChg chg="mod modGraphic">
          <ac:chgData name="Karmakar, Sumit" userId="S::skarmakar@elogex.com::5d020034-ff2c-4e7e-8d00-e94708d613b2" providerId="AD" clId="Web-{88C548DF-1DD2-6060-3EBC-DA8970E6CBE1}" dt="2024-03-20T13:23:16.080" v="187"/>
          <ac:graphicFrameMkLst>
            <pc:docMk/>
            <pc:sldMk cId="3236129220" sldId="2147480115"/>
            <ac:graphicFrameMk id="5" creationId="{CDC76AFD-66C6-FB43-9737-6535F0D1285D}"/>
          </ac:graphicFrameMkLst>
        </pc:graphicFrameChg>
      </pc:sldChg>
      <pc:sldChg chg="addSp delSp modSp add replId">
        <pc:chgData name="Karmakar, Sumit" userId="S::skarmakar@elogex.com::5d020034-ff2c-4e7e-8d00-e94708d613b2" providerId="AD" clId="Web-{88C548DF-1DD2-6060-3EBC-DA8970E6CBE1}" dt="2024-03-20T15:05:36.465" v="512"/>
        <pc:sldMkLst>
          <pc:docMk/>
          <pc:sldMk cId="2185285943" sldId="2147480118"/>
        </pc:sldMkLst>
        <pc:spChg chg="mod">
          <ac:chgData name="Karmakar, Sumit" userId="S::skarmakar@elogex.com::5d020034-ff2c-4e7e-8d00-e94708d613b2" providerId="AD" clId="Web-{88C548DF-1DD2-6060-3EBC-DA8970E6CBE1}" dt="2024-03-20T15:05:36.465" v="512"/>
          <ac:spMkLst>
            <pc:docMk/>
            <pc:sldMk cId="2185285943" sldId="2147480118"/>
            <ac:spMk id="2" creationId="{0329E297-E798-08B1-A1CC-65371311D18E}"/>
          </ac:spMkLst>
        </pc:spChg>
        <pc:spChg chg="del">
          <ac:chgData name="Karmakar, Sumit" userId="S::skarmakar@elogex.com::5d020034-ff2c-4e7e-8d00-e94708d613b2" providerId="AD" clId="Web-{88C548DF-1DD2-6060-3EBC-DA8970E6CBE1}" dt="2024-03-20T14:52:37.696" v="205"/>
          <ac:spMkLst>
            <pc:docMk/>
            <pc:sldMk cId="2185285943" sldId="2147480118"/>
            <ac:spMk id="7" creationId="{2AF1768E-031C-DB93-EC23-2BF90B7BCB74}"/>
          </ac:spMkLst>
        </pc:spChg>
        <pc:spChg chg="del">
          <ac:chgData name="Karmakar, Sumit" userId="S::skarmakar@elogex.com::5d020034-ff2c-4e7e-8d00-e94708d613b2" providerId="AD" clId="Web-{88C548DF-1DD2-6060-3EBC-DA8970E6CBE1}" dt="2024-03-20T14:52:37.696" v="215"/>
          <ac:spMkLst>
            <pc:docMk/>
            <pc:sldMk cId="2185285943" sldId="2147480118"/>
            <ac:spMk id="35" creationId="{CB5BB574-C366-4E39-6E02-0FE46725EF8B}"/>
          </ac:spMkLst>
        </pc:spChg>
        <pc:spChg chg="del">
          <ac:chgData name="Karmakar, Sumit" userId="S::skarmakar@elogex.com::5d020034-ff2c-4e7e-8d00-e94708d613b2" providerId="AD" clId="Web-{88C548DF-1DD2-6060-3EBC-DA8970E6CBE1}" dt="2024-03-20T14:52:37.696" v="211"/>
          <ac:spMkLst>
            <pc:docMk/>
            <pc:sldMk cId="2185285943" sldId="2147480118"/>
            <ac:spMk id="57" creationId="{B40A93B2-47CB-DFF4-4C3F-55737EAC8DF5}"/>
          </ac:spMkLst>
        </pc:spChg>
        <pc:grpChg chg="del">
          <ac:chgData name="Karmakar, Sumit" userId="S::skarmakar@elogex.com::5d020034-ff2c-4e7e-8d00-e94708d613b2" providerId="AD" clId="Web-{88C548DF-1DD2-6060-3EBC-DA8970E6CBE1}" dt="2024-03-20T14:52:37.696" v="208"/>
          <ac:grpSpMkLst>
            <pc:docMk/>
            <pc:sldMk cId="2185285943" sldId="2147480118"/>
            <ac:grpSpMk id="36" creationId="{44D5F5C6-61AC-5590-CC69-F6BB6295AD86}"/>
          </ac:grpSpMkLst>
        </pc:grpChg>
        <pc:grpChg chg="del">
          <ac:chgData name="Karmakar, Sumit" userId="S::skarmakar@elogex.com::5d020034-ff2c-4e7e-8d00-e94708d613b2" providerId="AD" clId="Web-{88C548DF-1DD2-6060-3EBC-DA8970E6CBE1}" dt="2024-03-20T14:52:37.696" v="207"/>
          <ac:grpSpMkLst>
            <pc:docMk/>
            <pc:sldMk cId="2185285943" sldId="2147480118"/>
            <ac:grpSpMk id="39" creationId="{E12F2192-08A9-C6D2-59BF-6C5AEC85C4F1}"/>
          </ac:grpSpMkLst>
        </pc:grpChg>
        <pc:grpChg chg="del">
          <ac:chgData name="Karmakar, Sumit" userId="S::skarmakar@elogex.com::5d020034-ff2c-4e7e-8d00-e94708d613b2" providerId="AD" clId="Web-{88C548DF-1DD2-6060-3EBC-DA8970E6CBE1}" dt="2024-03-20T14:52:37.696" v="214"/>
          <ac:grpSpMkLst>
            <pc:docMk/>
            <pc:sldMk cId="2185285943" sldId="2147480118"/>
            <ac:grpSpMk id="42" creationId="{483CF175-83D8-3410-18BF-BCA554231BAC}"/>
          </ac:grpSpMkLst>
        </pc:grpChg>
        <pc:grpChg chg="del">
          <ac:chgData name="Karmakar, Sumit" userId="S::skarmakar@elogex.com::5d020034-ff2c-4e7e-8d00-e94708d613b2" providerId="AD" clId="Web-{88C548DF-1DD2-6060-3EBC-DA8970E6CBE1}" dt="2024-03-20T14:52:37.696" v="213"/>
          <ac:grpSpMkLst>
            <pc:docMk/>
            <pc:sldMk cId="2185285943" sldId="2147480118"/>
            <ac:grpSpMk id="45" creationId="{DA040813-9FA3-E824-4AF6-677E903C8431}"/>
          </ac:grpSpMkLst>
        </pc:grpChg>
        <pc:graphicFrameChg chg="del">
          <ac:chgData name="Karmakar, Sumit" userId="S::skarmakar@elogex.com::5d020034-ff2c-4e7e-8d00-e94708d613b2" providerId="AD" clId="Web-{88C548DF-1DD2-6060-3EBC-DA8970E6CBE1}" dt="2024-03-20T14:52:37.696" v="209"/>
          <ac:graphicFrameMkLst>
            <pc:docMk/>
            <pc:sldMk cId="2185285943" sldId="2147480118"/>
            <ac:graphicFrameMk id="4" creationId="{79080CB7-06B6-82CA-BE0D-A898B4E465A2}"/>
          </ac:graphicFrameMkLst>
        </pc:graphicFrameChg>
        <pc:graphicFrameChg chg="del">
          <ac:chgData name="Karmakar, Sumit" userId="S::skarmakar@elogex.com::5d020034-ff2c-4e7e-8d00-e94708d613b2" providerId="AD" clId="Web-{88C548DF-1DD2-6060-3EBC-DA8970E6CBE1}" dt="2024-03-20T14:52:37.696" v="206"/>
          <ac:graphicFrameMkLst>
            <pc:docMk/>
            <pc:sldMk cId="2185285943" sldId="2147480118"/>
            <ac:graphicFrameMk id="5" creationId="{37D500AB-85CD-ED69-A9E6-496AA1F5A14A}"/>
          </ac:graphicFrameMkLst>
        </pc:graphicFrameChg>
        <pc:graphicFrameChg chg="add del mod modGraphic">
          <ac:chgData name="Karmakar, Sumit" userId="S::skarmakar@elogex.com::5d020034-ff2c-4e7e-8d00-e94708d613b2" providerId="AD" clId="Web-{88C548DF-1DD2-6060-3EBC-DA8970E6CBE1}" dt="2024-03-20T14:55:59.044" v="222"/>
          <ac:graphicFrameMkLst>
            <pc:docMk/>
            <pc:sldMk cId="2185285943" sldId="2147480118"/>
            <ac:graphicFrameMk id="6" creationId="{B34F3903-07B8-59FA-6694-22104815C360}"/>
          </ac:graphicFrameMkLst>
        </pc:graphicFrameChg>
        <pc:graphicFrameChg chg="add mod modGraphic">
          <ac:chgData name="Karmakar, Sumit" userId="S::skarmakar@elogex.com::5d020034-ff2c-4e7e-8d00-e94708d613b2" providerId="AD" clId="Web-{88C548DF-1DD2-6060-3EBC-DA8970E6CBE1}" dt="2024-03-20T15:04:56.605" v="509"/>
          <ac:graphicFrameMkLst>
            <pc:docMk/>
            <pc:sldMk cId="2185285943" sldId="2147480118"/>
            <ac:graphicFrameMk id="9" creationId="{ABCCD26C-D41C-FBFD-74F1-5B8CE2E23819}"/>
          </ac:graphicFrameMkLst>
        </pc:graphicFrameChg>
        <pc:graphicFrameChg chg="del">
          <ac:chgData name="Karmakar, Sumit" userId="S::skarmakar@elogex.com::5d020034-ff2c-4e7e-8d00-e94708d613b2" providerId="AD" clId="Web-{88C548DF-1DD2-6060-3EBC-DA8970E6CBE1}" dt="2024-03-20T14:52:37.696" v="217"/>
          <ac:graphicFrameMkLst>
            <pc:docMk/>
            <pc:sldMk cId="2185285943" sldId="2147480118"/>
            <ac:graphicFrameMk id="16" creationId="{9386FEDC-8876-077B-3622-ADD1D6A880A4}"/>
          </ac:graphicFrameMkLst>
        </pc:graphicFrameChg>
        <pc:graphicFrameChg chg="del">
          <ac:chgData name="Karmakar, Sumit" userId="S::skarmakar@elogex.com::5d020034-ff2c-4e7e-8d00-e94708d613b2" providerId="AD" clId="Web-{88C548DF-1DD2-6060-3EBC-DA8970E6CBE1}" dt="2024-03-20T14:52:37.696" v="216"/>
          <ac:graphicFrameMkLst>
            <pc:docMk/>
            <pc:sldMk cId="2185285943" sldId="2147480118"/>
            <ac:graphicFrameMk id="17" creationId="{E2282912-6E7A-93E6-E11A-CAB7D61222A7}"/>
          </ac:graphicFrameMkLst>
        </pc:graphicFrameChg>
        <pc:graphicFrameChg chg="del">
          <ac:chgData name="Karmakar, Sumit" userId="S::skarmakar@elogex.com::5d020034-ff2c-4e7e-8d00-e94708d613b2" providerId="AD" clId="Web-{88C548DF-1DD2-6060-3EBC-DA8970E6CBE1}" dt="2024-03-20T14:52:37.696" v="212"/>
          <ac:graphicFrameMkLst>
            <pc:docMk/>
            <pc:sldMk cId="2185285943" sldId="2147480118"/>
            <ac:graphicFrameMk id="55" creationId="{0DDB4D8A-FD51-7EB2-74C6-3BD441A69E42}"/>
          </ac:graphicFrameMkLst>
        </pc:graphicFrameChg>
        <pc:graphicFrameChg chg="del">
          <ac:chgData name="Karmakar, Sumit" userId="S::skarmakar@elogex.com::5d020034-ff2c-4e7e-8d00-e94708d613b2" providerId="AD" clId="Web-{88C548DF-1DD2-6060-3EBC-DA8970E6CBE1}" dt="2024-03-20T14:52:37.696" v="210"/>
          <ac:graphicFrameMkLst>
            <pc:docMk/>
            <pc:sldMk cId="2185285943" sldId="2147480118"/>
            <ac:graphicFrameMk id="58" creationId="{A4A3B5F2-2F53-FC1C-71F0-90917952E577}"/>
          </ac:graphicFrameMkLst>
        </pc:graphicFrameChg>
      </pc:sldChg>
    </pc:docChg>
  </pc:docChgLst>
  <pc:docChgLst>
    <pc:chgData name="Sharma, Yogesh" userId="aff6c109-e2a5-480c-8761-d4c01a9718bd" providerId="ADAL" clId="{72A99BA4-FA37-4BD9-A12D-8CCD2EDBF678}"/>
    <pc:docChg chg="custSel modSld">
      <pc:chgData name="Sharma, Yogesh" userId="aff6c109-e2a5-480c-8761-d4c01a9718bd" providerId="ADAL" clId="{72A99BA4-FA37-4BD9-A12D-8CCD2EDBF678}" dt="2024-03-25T20:47:43.132" v="1" actId="27636"/>
      <pc:docMkLst>
        <pc:docMk/>
      </pc:docMkLst>
      <pc:sldChg chg="modSp mod">
        <pc:chgData name="Sharma, Yogesh" userId="aff6c109-e2a5-480c-8761-d4c01a9718bd" providerId="ADAL" clId="{72A99BA4-FA37-4BD9-A12D-8CCD2EDBF678}" dt="2024-03-25T20:47:43.132" v="1" actId="27636"/>
        <pc:sldMkLst>
          <pc:docMk/>
          <pc:sldMk cId="3342602019" sldId="2147480117"/>
        </pc:sldMkLst>
        <pc:spChg chg="mod">
          <ac:chgData name="Sharma, Yogesh" userId="aff6c109-e2a5-480c-8761-d4c01a9718bd" providerId="ADAL" clId="{72A99BA4-FA37-4BD9-A12D-8CCD2EDBF678}" dt="2024-03-25T20:47:43.132" v="1" actId="27636"/>
          <ac:spMkLst>
            <pc:docMk/>
            <pc:sldMk cId="3342602019" sldId="2147480117"/>
            <ac:spMk id="172" creationId="{97814DBE-470A-08E8-0A7D-714F7ED216BF}"/>
          </ac:spMkLst>
        </pc:spChg>
        <pc:spChg chg="mod">
          <ac:chgData name="Sharma, Yogesh" userId="aff6c109-e2a5-480c-8761-d4c01a9718bd" providerId="ADAL" clId="{72A99BA4-FA37-4BD9-A12D-8CCD2EDBF678}" dt="2024-03-25T20:47:43.115" v="0" actId="27636"/>
          <ac:spMkLst>
            <pc:docMk/>
            <pc:sldMk cId="3342602019" sldId="2147480117"/>
            <ac:spMk id="182" creationId="{029CC3EE-BEDC-5F4D-37E6-3F4C8AFA026D}"/>
          </ac:spMkLst>
        </pc:spChg>
      </pc:sldChg>
    </pc:docChg>
  </pc:docChgLst>
  <pc:docChgLst>
    <pc:chgData name="LeMons, Daniel" userId="S::dlemons@elogex.com::65097b81-23d4-411d-8a8e-a78030669d81" providerId="AD" clId="Web-{930CCD3F-416B-62CC-3302-56C180EAC079}"/>
    <pc:docChg chg="modSld">
      <pc:chgData name="LeMons, Daniel" userId="S::dlemons@elogex.com::65097b81-23d4-411d-8a8e-a78030669d81" providerId="AD" clId="Web-{930CCD3F-416B-62CC-3302-56C180EAC079}" dt="2024-03-28T13:14:20.463" v="21" actId="14100"/>
      <pc:docMkLst>
        <pc:docMk/>
      </pc:docMkLst>
      <pc:sldChg chg="delSp modSp">
        <pc:chgData name="LeMons, Daniel" userId="S::dlemons@elogex.com::65097b81-23d4-411d-8a8e-a78030669d81" providerId="AD" clId="Web-{930CCD3F-416B-62CC-3302-56C180EAC079}" dt="2024-03-28T13:12:33.834" v="13" actId="14100"/>
        <pc:sldMkLst>
          <pc:docMk/>
          <pc:sldMk cId="1943466375" sldId="2147480132"/>
        </pc:sldMkLst>
        <pc:spChg chg="mod">
          <ac:chgData name="LeMons, Daniel" userId="S::dlemons@elogex.com::65097b81-23d4-411d-8a8e-a78030669d81" providerId="AD" clId="Web-{930CCD3F-416B-62CC-3302-56C180EAC079}" dt="2024-03-28T13:12:33.834" v="13" actId="14100"/>
          <ac:spMkLst>
            <pc:docMk/>
            <pc:sldMk cId="1943466375" sldId="2147480132"/>
            <ac:spMk id="5" creationId="{AD6DA829-B88B-9940-7A69-8B2210CED0EA}"/>
          </ac:spMkLst>
        </pc:spChg>
        <pc:spChg chg="mod">
          <ac:chgData name="LeMons, Daniel" userId="S::dlemons@elogex.com::65097b81-23d4-411d-8a8e-a78030669d81" providerId="AD" clId="Web-{930CCD3F-416B-62CC-3302-56C180EAC079}" dt="2024-03-28T13:12:29.272" v="12" actId="14100"/>
          <ac:spMkLst>
            <pc:docMk/>
            <pc:sldMk cId="1943466375" sldId="2147480132"/>
            <ac:spMk id="6" creationId="{67198E3D-3C9A-5220-0DC7-94E7ACF46720}"/>
          </ac:spMkLst>
        </pc:spChg>
        <pc:spChg chg="del">
          <ac:chgData name="LeMons, Daniel" userId="S::dlemons@elogex.com::65097b81-23d4-411d-8a8e-a78030669d81" providerId="AD" clId="Web-{930CCD3F-416B-62CC-3302-56C180EAC079}" dt="2024-03-28T12:08:15.732" v="3"/>
          <ac:spMkLst>
            <pc:docMk/>
            <pc:sldMk cId="1943466375" sldId="2147480132"/>
            <ac:spMk id="7" creationId="{6B6625C7-C764-022A-AE1D-8A27119DEADF}"/>
          </ac:spMkLst>
        </pc:spChg>
      </pc:sldChg>
      <pc:sldChg chg="modSp">
        <pc:chgData name="LeMons, Daniel" userId="S::dlemons@elogex.com::65097b81-23d4-411d-8a8e-a78030669d81" providerId="AD" clId="Web-{930CCD3F-416B-62CC-3302-56C180EAC079}" dt="2024-03-28T13:14:20.463" v="21" actId="14100"/>
        <pc:sldMkLst>
          <pc:docMk/>
          <pc:sldMk cId="1287349681" sldId="2147480137"/>
        </pc:sldMkLst>
        <pc:spChg chg="mod">
          <ac:chgData name="LeMons, Daniel" userId="S::dlemons@elogex.com::65097b81-23d4-411d-8a8e-a78030669d81" providerId="AD" clId="Web-{930CCD3F-416B-62CC-3302-56C180EAC079}" dt="2024-03-28T13:14:20.463" v="21" actId="14100"/>
          <ac:spMkLst>
            <pc:docMk/>
            <pc:sldMk cId="1287349681" sldId="2147480137"/>
            <ac:spMk id="3" creationId="{27CB820E-ED16-2A8E-E527-F8E89105E1DE}"/>
          </ac:spMkLst>
        </pc:spChg>
      </pc:sldChg>
      <pc:sldChg chg="delSp modSp">
        <pc:chgData name="LeMons, Daniel" userId="S::dlemons@elogex.com::65097b81-23d4-411d-8a8e-a78030669d81" providerId="AD" clId="Web-{930CCD3F-416B-62CC-3302-56C180EAC079}" dt="2024-03-28T12:08:09.904" v="2" actId="1076"/>
        <pc:sldMkLst>
          <pc:docMk/>
          <pc:sldMk cId="954045621" sldId="2147480138"/>
        </pc:sldMkLst>
        <pc:spChg chg="mod">
          <ac:chgData name="LeMons, Daniel" userId="S::dlemons@elogex.com::65097b81-23d4-411d-8a8e-a78030669d81" providerId="AD" clId="Web-{930CCD3F-416B-62CC-3302-56C180EAC079}" dt="2024-03-28T12:08:09.904" v="2" actId="1076"/>
          <ac:spMkLst>
            <pc:docMk/>
            <pc:sldMk cId="954045621" sldId="2147480138"/>
            <ac:spMk id="3" creationId="{95EACCFC-1AB4-E705-39CF-082950901B82}"/>
          </ac:spMkLst>
        </pc:spChg>
        <pc:spChg chg="mod">
          <ac:chgData name="LeMons, Daniel" userId="S::dlemons@elogex.com::65097b81-23d4-411d-8a8e-a78030669d81" providerId="AD" clId="Web-{930CCD3F-416B-62CC-3302-56C180EAC079}" dt="2024-03-28T12:08:09.857" v="1" actId="1076"/>
          <ac:spMkLst>
            <pc:docMk/>
            <pc:sldMk cId="954045621" sldId="2147480138"/>
            <ac:spMk id="4" creationId="{53D61D74-7667-418B-79BA-8B3D88D7D0F6}"/>
          </ac:spMkLst>
        </pc:spChg>
        <pc:spChg chg="del">
          <ac:chgData name="LeMons, Daniel" userId="S::dlemons@elogex.com::65097b81-23d4-411d-8a8e-a78030669d81" providerId="AD" clId="Web-{930CCD3F-416B-62CC-3302-56C180EAC079}" dt="2024-03-28T12:08:09.044" v="0"/>
          <ac:spMkLst>
            <pc:docMk/>
            <pc:sldMk cId="954045621" sldId="2147480138"/>
            <ac:spMk id="7" creationId="{6B6625C7-C764-022A-AE1D-8A27119DEADF}"/>
          </ac:spMkLst>
        </pc:spChg>
      </pc:sldChg>
      <pc:sldChg chg="modSp">
        <pc:chgData name="LeMons, Daniel" userId="S::dlemons@elogex.com::65097b81-23d4-411d-8a8e-a78030669d81" providerId="AD" clId="Web-{930CCD3F-416B-62CC-3302-56C180EAC079}" dt="2024-03-28T13:13:06.179" v="17" actId="1076"/>
        <pc:sldMkLst>
          <pc:docMk/>
          <pc:sldMk cId="2272208059" sldId="2147480139"/>
        </pc:sldMkLst>
        <pc:spChg chg="mod">
          <ac:chgData name="LeMons, Daniel" userId="S::dlemons@elogex.com::65097b81-23d4-411d-8a8e-a78030669d81" providerId="AD" clId="Web-{930CCD3F-416B-62CC-3302-56C180EAC079}" dt="2024-03-28T13:12:43.866" v="15" actId="20577"/>
          <ac:spMkLst>
            <pc:docMk/>
            <pc:sldMk cId="2272208059" sldId="2147480139"/>
            <ac:spMk id="13" creationId="{BE5A1805-2859-1B0F-302C-783A81F85D15}"/>
          </ac:spMkLst>
        </pc:spChg>
        <pc:spChg chg="mod">
          <ac:chgData name="LeMons, Daniel" userId="S::dlemons@elogex.com::65097b81-23d4-411d-8a8e-a78030669d81" providerId="AD" clId="Web-{930CCD3F-416B-62CC-3302-56C180EAC079}" dt="2024-03-28T13:12:54.976" v="16" actId="1076"/>
          <ac:spMkLst>
            <pc:docMk/>
            <pc:sldMk cId="2272208059" sldId="2147480139"/>
            <ac:spMk id="37" creationId="{2BC1BB96-5E69-9E49-FFEF-B8486102AFD0}"/>
          </ac:spMkLst>
        </pc:spChg>
        <pc:picChg chg="mod">
          <ac:chgData name="LeMons, Daniel" userId="S::dlemons@elogex.com::65097b81-23d4-411d-8a8e-a78030669d81" providerId="AD" clId="Web-{930CCD3F-416B-62CC-3302-56C180EAC079}" dt="2024-03-28T13:13:06.179" v="17" actId="1076"/>
          <ac:picMkLst>
            <pc:docMk/>
            <pc:sldMk cId="2272208059" sldId="2147480139"/>
            <ac:picMk id="3" creationId="{DFB4D680-29AC-5B06-93EB-1B8F6C2409C4}"/>
          </ac:picMkLst>
        </pc:picChg>
      </pc:sldChg>
    </pc:docChg>
  </pc:docChgLst>
  <pc:docChgLst>
    <pc:chgData name="Karmakar, Sumit" userId="S::skarmakar@elogex.com::5d020034-ff2c-4e7e-8d00-e94708d613b2" providerId="AD" clId="Web-{B191D0E2-55DB-8537-B5C3-C3C98E754B7A}"/>
    <pc:docChg chg="addSld delSld modSld modSection">
      <pc:chgData name="Karmakar, Sumit" userId="S::skarmakar@elogex.com::5d020034-ff2c-4e7e-8d00-e94708d613b2" providerId="AD" clId="Web-{B191D0E2-55DB-8537-B5C3-C3C98E754B7A}" dt="2024-03-20T15:37:37.253" v="693"/>
      <pc:docMkLst>
        <pc:docMk/>
      </pc:docMkLst>
      <pc:sldChg chg="del">
        <pc:chgData name="Karmakar, Sumit" userId="S::skarmakar@elogex.com::5d020034-ff2c-4e7e-8d00-e94708d613b2" providerId="AD" clId="Web-{B191D0E2-55DB-8537-B5C3-C3C98E754B7A}" dt="2024-03-20T15:15:21.639" v="275"/>
        <pc:sldMkLst>
          <pc:docMk/>
          <pc:sldMk cId="3961352546" sldId="2671"/>
        </pc:sldMkLst>
      </pc:sldChg>
      <pc:sldChg chg="del">
        <pc:chgData name="Karmakar, Sumit" userId="S::skarmakar@elogex.com::5d020034-ff2c-4e7e-8d00-e94708d613b2" providerId="AD" clId="Web-{B191D0E2-55DB-8537-B5C3-C3C98E754B7A}" dt="2024-03-20T15:17:11.253" v="341"/>
        <pc:sldMkLst>
          <pc:docMk/>
          <pc:sldMk cId="4239253529" sldId="4781"/>
        </pc:sldMkLst>
      </pc:sldChg>
      <pc:sldChg chg="modSp del">
        <pc:chgData name="Karmakar, Sumit" userId="S::skarmakar@elogex.com::5d020034-ff2c-4e7e-8d00-e94708d613b2" providerId="AD" clId="Web-{B191D0E2-55DB-8537-B5C3-C3C98E754B7A}" dt="2024-03-20T15:27:48.870" v="546"/>
        <pc:sldMkLst>
          <pc:docMk/>
          <pc:sldMk cId="3043437281" sldId="2147471639"/>
        </pc:sldMkLst>
        <pc:spChg chg="mod">
          <ac:chgData name="Karmakar, Sumit" userId="S::skarmakar@elogex.com::5d020034-ff2c-4e7e-8d00-e94708d613b2" providerId="AD" clId="Web-{B191D0E2-55DB-8537-B5C3-C3C98E754B7A}" dt="2024-03-20T15:18:56.757" v="413"/>
          <ac:spMkLst>
            <pc:docMk/>
            <pc:sldMk cId="3043437281" sldId="2147471639"/>
            <ac:spMk id="4" creationId="{7818288B-FB17-A849-848D-0E4B238F1C8C}"/>
          </ac:spMkLst>
        </pc:spChg>
      </pc:sldChg>
      <pc:sldChg chg="addSp delSp modSp">
        <pc:chgData name="Karmakar, Sumit" userId="S::skarmakar@elogex.com::5d020034-ff2c-4e7e-8d00-e94708d613b2" providerId="AD" clId="Web-{B191D0E2-55DB-8537-B5C3-C3C98E754B7A}" dt="2024-03-20T15:27:28.995" v="545" actId="1076"/>
        <pc:sldMkLst>
          <pc:docMk/>
          <pc:sldMk cId="3342602019" sldId="2147480117"/>
        </pc:sldMkLst>
        <pc:spChg chg="mod">
          <ac:chgData name="Karmakar, Sumit" userId="S::skarmakar@elogex.com::5d020034-ff2c-4e7e-8d00-e94708d613b2" providerId="AD" clId="Web-{B191D0E2-55DB-8537-B5C3-C3C98E754B7A}" dt="2024-03-20T15:18:15.380" v="382" actId="20577"/>
          <ac:spMkLst>
            <pc:docMk/>
            <pc:sldMk cId="3342602019" sldId="2147480117"/>
            <ac:spMk id="2" creationId="{5429BBFA-3801-9631-FFE5-70B7418F24FD}"/>
          </ac:spMkLst>
        </pc:spChg>
        <pc:spChg chg="del">
          <ac:chgData name="Karmakar, Sumit" userId="S::skarmakar@elogex.com::5d020034-ff2c-4e7e-8d00-e94708d613b2" providerId="AD" clId="Web-{B191D0E2-55DB-8537-B5C3-C3C98E754B7A}" dt="2024-03-20T15:13:40.510" v="228"/>
          <ac:spMkLst>
            <pc:docMk/>
            <pc:sldMk cId="3342602019" sldId="2147480117"/>
            <ac:spMk id="4" creationId="{7D4BF2ED-AC5B-0D24-516C-84EE34EF0F26}"/>
          </ac:spMkLst>
        </pc:spChg>
        <pc:spChg chg="add del mod">
          <ac:chgData name="Karmakar, Sumit" userId="S::skarmakar@elogex.com::5d020034-ff2c-4e7e-8d00-e94708d613b2" providerId="AD" clId="Web-{B191D0E2-55DB-8537-B5C3-C3C98E754B7A}" dt="2024-03-20T15:15:35.968" v="286"/>
          <ac:spMkLst>
            <pc:docMk/>
            <pc:sldMk cId="3342602019" sldId="2147480117"/>
            <ac:spMk id="7" creationId="{834424F0-AD57-BFB3-5038-06302414F818}"/>
          </ac:spMkLst>
        </pc:spChg>
        <pc:spChg chg="del">
          <ac:chgData name="Karmakar, Sumit" userId="S::skarmakar@elogex.com::5d020034-ff2c-4e7e-8d00-e94708d613b2" providerId="AD" clId="Web-{B191D0E2-55DB-8537-B5C3-C3C98E754B7A}" dt="2024-03-20T15:13:40.510" v="226"/>
          <ac:spMkLst>
            <pc:docMk/>
            <pc:sldMk cId="3342602019" sldId="2147480117"/>
            <ac:spMk id="8" creationId="{9A8AFD97-6548-3F4A-4D20-68484CE3E0C6}"/>
          </ac:spMkLst>
        </pc:spChg>
        <pc:spChg chg="del">
          <ac:chgData name="Karmakar, Sumit" userId="S::skarmakar@elogex.com::5d020034-ff2c-4e7e-8d00-e94708d613b2" providerId="AD" clId="Web-{B191D0E2-55DB-8537-B5C3-C3C98E754B7A}" dt="2024-03-20T15:13:40.510" v="225"/>
          <ac:spMkLst>
            <pc:docMk/>
            <pc:sldMk cId="3342602019" sldId="2147480117"/>
            <ac:spMk id="9" creationId="{4920E92B-7718-8222-9BFE-94A6716A8881}"/>
          </ac:spMkLst>
        </pc:spChg>
        <pc:spChg chg="del">
          <ac:chgData name="Karmakar, Sumit" userId="S::skarmakar@elogex.com::5d020034-ff2c-4e7e-8d00-e94708d613b2" providerId="AD" clId="Web-{B191D0E2-55DB-8537-B5C3-C3C98E754B7A}" dt="2024-03-20T15:13:40.510" v="224"/>
          <ac:spMkLst>
            <pc:docMk/>
            <pc:sldMk cId="3342602019" sldId="2147480117"/>
            <ac:spMk id="12" creationId="{3C0CEDD4-EBFB-353C-5303-0FB361E05818}"/>
          </ac:spMkLst>
        </pc:spChg>
        <pc:spChg chg="del">
          <ac:chgData name="Karmakar, Sumit" userId="S::skarmakar@elogex.com::5d020034-ff2c-4e7e-8d00-e94708d613b2" providerId="AD" clId="Web-{B191D0E2-55DB-8537-B5C3-C3C98E754B7A}" dt="2024-03-20T15:13:40.510" v="223"/>
          <ac:spMkLst>
            <pc:docMk/>
            <pc:sldMk cId="3342602019" sldId="2147480117"/>
            <ac:spMk id="18" creationId="{91B30D9E-4251-EC41-7D02-76659175E10D}"/>
          </ac:spMkLst>
        </pc:spChg>
        <pc:spChg chg="del">
          <ac:chgData name="Karmakar, Sumit" userId="S::skarmakar@elogex.com::5d020034-ff2c-4e7e-8d00-e94708d613b2" providerId="AD" clId="Web-{B191D0E2-55DB-8537-B5C3-C3C98E754B7A}" dt="2024-03-20T15:13:40.510" v="222"/>
          <ac:spMkLst>
            <pc:docMk/>
            <pc:sldMk cId="3342602019" sldId="2147480117"/>
            <ac:spMk id="19" creationId="{58EE22D9-D66C-2075-3E64-FA6499E1196E}"/>
          </ac:spMkLst>
        </pc:spChg>
        <pc:spChg chg="del">
          <ac:chgData name="Karmakar, Sumit" userId="S::skarmakar@elogex.com::5d020034-ff2c-4e7e-8d00-e94708d613b2" providerId="AD" clId="Web-{B191D0E2-55DB-8537-B5C3-C3C98E754B7A}" dt="2024-03-20T15:13:40.510" v="221"/>
          <ac:spMkLst>
            <pc:docMk/>
            <pc:sldMk cId="3342602019" sldId="2147480117"/>
            <ac:spMk id="20" creationId="{A6CE2B40-6661-D9FD-362E-58C38727DCF2}"/>
          </ac:spMkLst>
        </pc:spChg>
        <pc:spChg chg="del">
          <ac:chgData name="Karmakar, Sumit" userId="S::skarmakar@elogex.com::5d020034-ff2c-4e7e-8d00-e94708d613b2" providerId="AD" clId="Web-{B191D0E2-55DB-8537-B5C3-C3C98E754B7A}" dt="2024-03-20T15:13:40.510" v="220"/>
          <ac:spMkLst>
            <pc:docMk/>
            <pc:sldMk cId="3342602019" sldId="2147480117"/>
            <ac:spMk id="21" creationId="{674277F3-C042-22B9-1C33-4BEEB500FE9D}"/>
          </ac:spMkLst>
        </pc:spChg>
        <pc:spChg chg="del">
          <ac:chgData name="Karmakar, Sumit" userId="S::skarmakar@elogex.com::5d020034-ff2c-4e7e-8d00-e94708d613b2" providerId="AD" clId="Web-{B191D0E2-55DB-8537-B5C3-C3C98E754B7A}" dt="2024-03-20T15:13:40.510" v="219"/>
          <ac:spMkLst>
            <pc:docMk/>
            <pc:sldMk cId="3342602019" sldId="2147480117"/>
            <ac:spMk id="22" creationId="{EE65AA3E-1D2C-06EC-6222-393E1D64B3E0}"/>
          </ac:spMkLst>
        </pc:spChg>
        <pc:spChg chg="del">
          <ac:chgData name="Karmakar, Sumit" userId="S::skarmakar@elogex.com::5d020034-ff2c-4e7e-8d00-e94708d613b2" providerId="AD" clId="Web-{B191D0E2-55DB-8537-B5C3-C3C98E754B7A}" dt="2024-03-20T15:13:40.510" v="218"/>
          <ac:spMkLst>
            <pc:docMk/>
            <pc:sldMk cId="3342602019" sldId="2147480117"/>
            <ac:spMk id="23" creationId="{31CC89F3-EB2C-B655-7F42-FE691354439C}"/>
          </ac:spMkLst>
        </pc:spChg>
        <pc:spChg chg="del">
          <ac:chgData name="Karmakar, Sumit" userId="S::skarmakar@elogex.com::5d020034-ff2c-4e7e-8d00-e94708d613b2" providerId="AD" clId="Web-{B191D0E2-55DB-8537-B5C3-C3C98E754B7A}" dt="2024-03-20T15:13:40.510" v="217"/>
          <ac:spMkLst>
            <pc:docMk/>
            <pc:sldMk cId="3342602019" sldId="2147480117"/>
            <ac:spMk id="24" creationId="{E851DD55-8C84-B0EF-B66C-453A4C2C0326}"/>
          </ac:spMkLst>
        </pc:spChg>
        <pc:spChg chg="del">
          <ac:chgData name="Karmakar, Sumit" userId="S::skarmakar@elogex.com::5d020034-ff2c-4e7e-8d00-e94708d613b2" providerId="AD" clId="Web-{B191D0E2-55DB-8537-B5C3-C3C98E754B7A}" dt="2024-03-20T15:13:40.510" v="212"/>
          <ac:spMkLst>
            <pc:docMk/>
            <pc:sldMk cId="3342602019" sldId="2147480117"/>
            <ac:spMk id="37" creationId="{C5FB6E55-1B8E-6DE2-30C2-9EE8DAED77F3}"/>
          </ac:spMkLst>
        </pc:spChg>
        <pc:spChg chg="del">
          <ac:chgData name="Karmakar, Sumit" userId="S::skarmakar@elogex.com::5d020034-ff2c-4e7e-8d00-e94708d613b2" providerId="AD" clId="Web-{B191D0E2-55DB-8537-B5C3-C3C98E754B7A}" dt="2024-03-20T15:13:40.510" v="211"/>
          <ac:spMkLst>
            <pc:docMk/>
            <pc:sldMk cId="3342602019" sldId="2147480117"/>
            <ac:spMk id="38" creationId="{11D1149B-6BB8-E5C3-36AD-14B387877A62}"/>
          </ac:spMkLst>
        </pc:spChg>
        <pc:spChg chg="del">
          <ac:chgData name="Karmakar, Sumit" userId="S::skarmakar@elogex.com::5d020034-ff2c-4e7e-8d00-e94708d613b2" providerId="AD" clId="Web-{B191D0E2-55DB-8537-B5C3-C3C98E754B7A}" dt="2024-03-20T15:13:40.510" v="208"/>
          <ac:spMkLst>
            <pc:docMk/>
            <pc:sldMk cId="3342602019" sldId="2147480117"/>
            <ac:spMk id="43" creationId="{CEC9A718-A993-FDB7-72C0-2A235CC11330}"/>
          </ac:spMkLst>
        </pc:spChg>
        <pc:spChg chg="del">
          <ac:chgData name="Karmakar, Sumit" userId="S::skarmakar@elogex.com::5d020034-ff2c-4e7e-8d00-e94708d613b2" providerId="AD" clId="Web-{B191D0E2-55DB-8537-B5C3-C3C98E754B7A}" dt="2024-03-20T15:13:40.510" v="207"/>
          <ac:spMkLst>
            <pc:docMk/>
            <pc:sldMk cId="3342602019" sldId="2147480117"/>
            <ac:spMk id="44" creationId="{AC458972-9D28-948A-0351-870DDCBBF36F}"/>
          </ac:spMkLst>
        </pc:spChg>
        <pc:spChg chg="del">
          <ac:chgData name="Karmakar, Sumit" userId="S::skarmakar@elogex.com::5d020034-ff2c-4e7e-8d00-e94708d613b2" providerId="AD" clId="Web-{B191D0E2-55DB-8537-B5C3-C3C98E754B7A}" dt="2024-03-20T15:13:40.510" v="227"/>
          <ac:spMkLst>
            <pc:docMk/>
            <pc:sldMk cId="3342602019" sldId="2147480117"/>
            <ac:spMk id="53" creationId="{21CDA126-CE71-8226-A1C3-4B3F2C86924E}"/>
          </ac:spMkLst>
        </pc:spChg>
        <pc:spChg chg="del">
          <ac:chgData name="Karmakar, Sumit" userId="S::skarmakar@elogex.com::5d020034-ff2c-4e7e-8d00-e94708d613b2" providerId="AD" clId="Web-{B191D0E2-55DB-8537-B5C3-C3C98E754B7A}" dt="2024-03-20T15:13:40.510" v="203"/>
          <ac:spMkLst>
            <pc:docMk/>
            <pc:sldMk cId="3342602019" sldId="2147480117"/>
            <ac:spMk id="61" creationId="{69290EC0-DD63-9CD7-BE84-7E3D85C38158}"/>
          </ac:spMkLst>
        </pc:spChg>
        <pc:spChg chg="del">
          <ac:chgData name="Karmakar, Sumit" userId="S::skarmakar@elogex.com::5d020034-ff2c-4e7e-8d00-e94708d613b2" providerId="AD" clId="Web-{B191D0E2-55DB-8537-B5C3-C3C98E754B7A}" dt="2024-03-20T15:13:40.510" v="202"/>
          <ac:spMkLst>
            <pc:docMk/>
            <pc:sldMk cId="3342602019" sldId="2147480117"/>
            <ac:spMk id="62" creationId="{D0298E2B-0E7B-38AA-DFAA-A6320C4591C2}"/>
          </ac:spMkLst>
        </pc:spChg>
        <pc:spChg chg="del">
          <ac:chgData name="Karmakar, Sumit" userId="S::skarmakar@elogex.com::5d020034-ff2c-4e7e-8d00-e94708d613b2" providerId="AD" clId="Web-{B191D0E2-55DB-8537-B5C3-C3C98E754B7A}" dt="2024-03-20T15:13:40.510" v="201"/>
          <ac:spMkLst>
            <pc:docMk/>
            <pc:sldMk cId="3342602019" sldId="2147480117"/>
            <ac:spMk id="63" creationId="{23D662CA-FC75-AE3B-81F9-620F85D254AD}"/>
          </ac:spMkLst>
        </pc:spChg>
        <pc:spChg chg="del">
          <ac:chgData name="Karmakar, Sumit" userId="S::skarmakar@elogex.com::5d020034-ff2c-4e7e-8d00-e94708d613b2" providerId="AD" clId="Web-{B191D0E2-55DB-8537-B5C3-C3C98E754B7A}" dt="2024-03-20T15:13:40.510" v="197"/>
          <ac:spMkLst>
            <pc:docMk/>
            <pc:sldMk cId="3342602019" sldId="2147480117"/>
            <ac:spMk id="79" creationId="{2EAD56B9-8A7E-BF47-79F2-AB010E670D57}"/>
          </ac:spMkLst>
        </pc:spChg>
        <pc:spChg chg="del">
          <ac:chgData name="Karmakar, Sumit" userId="S::skarmakar@elogex.com::5d020034-ff2c-4e7e-8d00-e94708d613b2" providerId="AD" clId="Web-{B191D0E2-55DB-8537-B5C3-C3C98E754B7A}" dt="2024-03-20T15:13:40.510" v="195"/>
          <ac:spMkLst>
            <pc:docMk/>
            <pc:sldMk cId="3342602019" sldId="2147480117"/>
            <ac:spMk id="87" creationId="{1FB4989B-574E-6579-DCEB-CFAEB695FA67}"/>
          </ac:spMkLst>
        </pc:spChg>
        <pc:spChg chg="del">
          <ac:chgData name="Karmakar, Sumit" userId="S::skarmakar@elogex.com::5d020034-ff2c-4e7e-8d00-e94708d613b2" providerId="AD" clId="Web-{B191D0E2-55DB-8537-B5C3-C3C98E754B7A}" dt="2024-03-20T15:13:40.510" v="194"/>
          <ac:spMkLst>
            <pc:docMk/>
            <pc:sldMk cId="3342602019" sldId="2147480117"/>
            <ac:spMk id="88" creationId="{E512E3A1-739B-2C3B-D1A1-632729E3975A}"/>
          </ac:spMkLst>
        </pc:spChg>
        <pc:spChg chg="del">
          <ac:chgData name="Karmakar, Sumit" userId="S::skarmakar@elogex.com::5d020034-ff2c-4e7e-8d00-e94708d613b2" providerId="AD" clId="Web-{B191D0E2-55DB-8537-B5C3-C3C98E754B7A}" dt="2024-03-20T15:13:40.510" v="191"/>
          <ac:spMkLst>
            <pc:docMk/>
            <pc:sldMk cId="3342602019" sldId="2147480117"/>
            <ac:spMk id="101" creationId="{BB9A562E-288C-E586-8EA9-71A20451A5CA}"/>
          </ac:spMkLst>
        </pc:spChg>
        <pc:spChg chg="del">
          <ac:chgData name="Karmakar, Sumit" userId="S::skarmakar@elogex.com::5d020034-ff2c-4e7e-8d00-e94708d613b2" providerId="AD" clId="Web-{B191D0E2-55DB-8537-B5C3-C3C98E754B7A}" dt="2024-03-20T15:13:40.510" v="190"/>
          <ac:spMkLst>
            <pc:docMk/>
            <pc:sldMk cId="3342602019" sldId="2147480117"/>
            <ac:spMk id="102" creationId="{6CD56641-AAC3-800F-86EB-1C5A6FC80FF4}"/>
          </ac:spMkLst>
        </pc:spChg>
        <pc:spChg chg="del">
          <ac:chgData name="Karmakar, Sumit" userId="S::skarmakar@elogex.com::5d020034-ff2c-4e7e-8d00-e94708d613b2" providerId="AD" clId="Web-{B191D0E2-55DB-8537-B5C3-C3C98E754B7A}" dt="2024-03-20T15:13:40.510" v="189"/>
          <ac:spMkLst>
            <pc:docMk/>
            <pc:sldMk cId="3342602019" sldId="2147480117"/>
            <ac:spMk id="103" creationId="{2736B58A-9EC5-8159-6DCD-C1400851552F}"/>
          </ac:spMkLst>
        </pc:spChg>
        <pc:spChg chg="add del mod">
          <ac:chgData name="Karmakar, Sumit" userId="S::skarmakar@elogex.com::5d020034-ff2c-4e7e-8d00-e94708d613b2" providerId="AD" clId="Web-{B191D0E2-55DB-8537-B5C3-C3C98E754B7A}" dt="2024-03-20T15:15:35.968" v="279"/>
          <ac:spMkLst>
            <pc:docMk/>
            <pc:sldMk cId="3342602019" sldId="2147480117"/>
            <ac:spMk id="104" creationId="{7A6E21CF-E4EB-ABED-0B15-C0250A461190}"/>
          </ac:spMkLst>
        </pc:spChg>
        <pc:spChg chg="del">
          <ac:chgData name="Karmakar, Sumit" userId="S::skarmakar@elogex.com::5d020034-ff2c-4e7e-8d00-e94708d613b2" providerId="AD" clId="Web-{B191D0E2-55DB-8537-B5C3-C3C98E754B7A}" dt="2024-03-20T15:13:40.510" v="188"/>
          <ac:spMkLst>
            <pc:docMk/>
            <pc:sldMk cId="3342602019" sldId="2147480117"/>
            <ac:spMk id="107" creationId="{E74B5A5C-6896-645E-557D-4823CBB26C7A}"/>
          </ac:spMkLst>
        </pc:spChg>
        <pc:spChg chg="del">
          <ac:chgData name="Karmakar, Sumit" userId="S::skarmakar@elogex.com::5d020034-ff2c-4e7e-8d00-e94708d613b2" providerId="AD" clId="Web-{B191D0E2-55DB-8537-B5C3-C3C98E754B7A}" dt="2024-03-20T15:13:40.510" v="187"/>
          <ac:spMkLst>
            <pc:docMk/>
            <pc:sldMk cId="3342602019" sldId="2147480117"/>
            <ac:spMk id="108" creationId="{8273D790-5762-4ECC-8068-40E72BEECADE}"/>
          </ac:spMkLst>
        </pc:spChg>
        <pc:spChg chg="del">
          <ac:chgData name="Karmakar, Sumit" userId="S::skarmakar@elogex.com::5d020034-ff2c-4e7e-8d00-e94708d613b2" providerId="AD" clId="Web-{B191D0E2-55DB-8537-B5C3-C3C98E754B7A}" dt="2024-03-20T15:13:40.510" v="186"/>
          <ac:spMkLst>
            <pc:docMk/>
            <pc:sldMk cId="3342602019" sldId="2147480117"/>
            <ac:spMk id="109" creationId="{0371E441-B796-4E41-3FB1-8A2EDFCEFF78}"/>
          </ac:spMkLst>
        </pc:spChg>
        <pc:spChg chg="del">
          <ac:chgData name="Karmakar, Sumit" userId="S::skarmakar@elogex.com::5d020034-ff2c-4e7e-8d00-e94708d613b2" providerId="AD" clId="Web-{B191D0E2-55DB-8537-B5C3-C3C98E754B7A}" dt="2024-03-20T15:13:40.510" v="185"/>
          <ac:spMkLst>
            <pc:docMk/>
            <pc:sldMk cId="3342602019" sldId="2147480117"/>
            <ac:spMk id="110" creationId="{E368AEDF-6EF1-0A5D-939F-C1948E929006}"/>
          </ac:spMkLst>
        </pc:spChg>
        <pc:spChg chg="del">
          <ac:chgData name="Karmakar, Sumit" userId="S::skarmakar@elogex.com::5d020034-ff2c-4e7e-8d00-e94708d613b2" providerId="AD" clId="Web-{B191D0E2-55DB-8537-B5C3-C3C98E754B7A}" dt="2024-03-20T15:13:40.510" v="184"/>
          <ac:spMkLst>
            <pc:docMk/>
            <pc:sldMk cId="3342602019" sldId="2147480117"/>
            <ac:spMk id="111" creationId="{C452A4ED-7FCE-7BEC-F2DC-6BC9C92512EE}"/>
          </ac:spMkLst>
        </pc:spChg>
        <pc:spChg chg="del">
          <ac:chgData name="Karmakar, Sumit" userId="S::skarmakar@elogex.com::5d020034-ff2c-4e7e-8d00-e94708d613b2" providerId="AD" clId="Web-{B191D0E2-55DB-8537-B5C3-C3C98E754B7A}" dt="2024-03-20T15:13:40.510" v="183"/>
          <ac:spMkLst>
            <pc:docMk/>
            <pc:sldMk cId="3342602019" sldId="2147480117"/>
            <ac:spMk id="112" creationId="{2F1298B4-CB41-4B91-7B66-093629709E8C}"/>
          </ac:spMkLst>
        </pc:spChg>
        <pc:spChg chg="del">
          <ac:chgData name="Karmakar, Sumit" userId="S::skarmakar@elogex.com::5d020034-ff2c-4e7e-8d00-e94708d613b2" providerId="AD" clId="Web-{B191D0E2-55DB-8537-B5C3-C3C98E754B7A}" dt="2024-03-20T15:13:40.510" v="182"/>
          <ac:spMkLst>
            <pc:docMk/>
            <pc:sldMk cId="3342602019" sldId="2147480117"/>
            <ac:spMk id="113" creationId="{568625C4-9098-C4EC-7E3F-984445F4C60F}"/>
          </ac:spMkLst>
        </pc:spChg>
        <pc:spChg chg="add del mod">
          <ac:chgData name="Karmakar, Sumit" userId="S::skarmakar@elogex.com::5d020034-ff2c-4e7e-8d00-e94708d613b2" providerId="AD" clId="Web-{B191D0E2-55DB-8537-B5C3-C3C98E754B7A}" dt="2024-03-20T15:15:35.968" v="277"/>
          <ac:spMkLst>
            <pc:docMk/>
            <pc:sldMk cId="3342602019" sldId="2147480117"/>
            <ac:spMk id="115" creationId="{44807925-08E4-D27D-6F46-77089EB57023}"/>
          </ac:spMkLst>
        </pc:spChg>
        <pc:spChg chg="add del mod">
          <ac:chgData name="Karmakar, Sumit" userId="S::skarmakar@elogex.com::5d020034-ff2c-4e7e-8d00-e94708d613b2" providerId="AD" clId="Web-{B191D0E2-55DB-8537-B5C3-C3C98E754B7A}" dt="2024-03-20T15:17:47.145" v="359"/>
          <ac:spMkLst>
            <pc:docMk/>
            <pc:sldMk cId="3342602019" sldId="2147480117"/>
            <ac:spMk id="117" creationId="{1C070E6F-0312-343B-A729-C8DA57D82536}"/>
          </ac:spMkLst>
        </pc:spChg>
        <pc:spChg chg="add del mod">
          <ac:chgData name="Karmakar, Sumit" userId="S::skarmakar@elogex.com::5d020034-ff2c-4e7e-8d00-e94708d613b2" providerId="AD" clId="Web-{B191D0E2-55DB-8537-B5C3-C3C98E754B7A}" dt="2024-03-20T15:17:47.145" v="358"/>
          <ac:spMkLst>
            <pc:docMk/>
            <pc:sldMk cId="3342602019" sldId="2147480117"/>
            <ac:spMk id="119" creationId="{F6CDCA07-8ADA-8DDA-2EFF-185D1CB2A4C4}"/>
          </ac:spMkLst>
        </pc:spChg>
        <pc:spChg chg="add del mod">
          <ac:chgData name="Karmakar, Sumit" userId="S::skarmakar@elogex.com::5d020034-ff2c-4e7e-8d00-e94708d613b2" providerId="AD" clId="Web-{B191D0E2-55DB-8537-B5C3-C3C98E754B7A}" dt="2024-03-20T15:17:47.145" v="357"/>
          <ac:spMkLst>
            <pc:docMk/>
            <pc:sldMk cId="3342602019" sldId="2147480117"/>
            <ac:spMk id="121" creationId="{7E00FECA-19D4-2D60-8E4C-E5151FA983D4}"/>
          </ac:spMkLst>
        </pc:spChg>
        <pc:spChg chg="add del mod">
          <ac:chgData name="Karmakar, Sumit" userId="S::skarmakar@elogex.com::5d020034-ff2c-4e7e-8d00-e94708d613b2" providerId="AD" clId="Web-{B191D0E2-55DB-8537-B5C3-C3C98E754B7A}" dt="2024-03-20T15:17:47.145" v="354"/>
          <ac:spMkLst>
            <pc:docMk/>
            <pc:sldMk cId="3342602019" sldId="2147480117"/>
            <ac:spMk id="133" creationId="{12FFD584-F2D0-000B-D5E2-CB0F2C033051}"/>
          </ac:spMkLst>
        </pc:spChg>
        <pc:spChg chg="add del mod">
          <ac:chgData name="Karmakar, Sumit" userId="S::skarmakar@elogex.com::5d020034-ff2c-4e7e-8d00-e94708d613b2" providerId="AD" clId="Web-{B191D0E2-55DB-8537-B5C3-C3C98E754B7A}" dt="2024-03-20T15:17:47.145" v="353"/>
          <ac:spMkLst>
            <pc:docMk/>
            <pc:sldMk cId="3342602019" sldId="2147480117"/>
            <ac:spMk id="135" creationId="{F4E371D3-2F89-ED71-7A4D-B6FCB60AA0F3}"/>
          </ac:spMkLst>
        </pc:spChg>
        <pc:spChg chg="add del mod">
          <ac:chgData name="Karmakar, Sumit" userId="S::skarmakar@elogex.com::5d020034-ff2c-4e7e-8d00-e94708d613b2" providerId="AD" clId="Web-{B191D0E2-55DB-8537-B5C3-C3C98E754B7A}" dt="2024-03-20T15:17:47.145" v="346"/>
          <ac:spMkLst>
            <pc:docMk/>
            <pc:sldMk cId="3342602019" sldId="2147480117"/>
            <ac:spMk id="154" creationId="{4AABAC41-76EB-7039-BCC5-9222F588790F}"/>
          </ac:spMkLst>
        </pc:spChg>
        <pc:spChg chg="add del mod">
          <ac:chgData name="Karmakar, Sumit" userId="S::skarmakar@elogex.com::5d020034-ff2c-4e7e-8d00-e94708d613b2" providerId="AD" clId="Web-{B191D0E2-55DB-8537-B5C3-C3C98E754B7A}" dt="2024-03-20T15:17:47.145" v="345"/>
          <ac:spMkLst>
            <pc:docMk/>
            <pc:sldMk cId="3342602019" sldId="2147480117"/>
            <ac:spMk id="156" creationId="{D44F4190-6411-BB55-7D5A-A26ADC207365}"/>
          </ac:spMkLst>
        </pc:spChg>
        <pc:spChg chg="add del mod">
          <ac:chgData name="Karmakar, Sumit" userId="S::skarmakar@elogex.com::5d020034-ff2c-4e7e-8d00-e94708d613b2" providerId="AD" clId="Web-{B191D0E2-55DB-8537-B5C3-C3C98E754B7A}" dt="2024-03-20T15:17:47.145" v="344"/>
          <ac:spMkLst>
            <pc:docMk/>
            <pc:sldMk cId="3342602019" sldId="2147480117"/>
            <ac:spMk id="158" creationId="{16AAFF26-8B20-C14A-C8FD-69BE5830A6A2}"/>
          </ac:spMkLst>
        </pc:spChg>
        <pc:spChg chg="add del mod">
          <ac:chgData name="Karmakar, Sumit" userId="S::skarmakar@elogex.com::5d020034-ff2c-4e7e-8d00-e94708d613b2" providerId="AD" clId="Web-{B191D0E2-55DB-8537-B5C3-C3C98E754B7A}" dt="2024-03-20T15:17:47.145" v="343"/>
          <ac:spMkLst>
            <pc:docMk/>
            <pc:sldMk cId="3342602019" sldId="2147480117"/>
            <ac:spMk id="160" creationId="{1663D3FE-6867-2D18-37EE-647DFF12A9DF}"/>
          </ac:spMkLst>
        </pc:spChg>
        <pc:spChg chg="add mod">
          <ac:chgData name="Karmakar, Sumit" userId="S::skarmakar@elogex.com::5d020034-ff2c-4e7e-8d00-e94708d613b2" providerId="AD" clId="Web-{B191D0E2-55DB-8537-B5C3-C3C98E754B7A}" dt="2024-03-20T15:18:39.850" v="402" actId="1076"/>
          <ac:spMkLst>
            <pc:docMk/>
            <pc:sldMk cId="3342602019" sldId="2147480117"/>
            <ac:spMk id="172" creationId="{97814DBE-470A-08E8-0A7D-714F7ED216BF}"/>
          </ac:spMkLst>
        </pc:spChg>
        <pc:spChg chg="add mod">
          <ac:chgData name="Karmakar, Sumit" userId="S::skarmakar@elogex.com::5d020034-ff2c-4e7e-8d00-e94708d613b2" providerId="AD" clId="Web-{B191D0E2-55DB-8537-B5C3-C3C98E754B7A}" dt="2024-03-20T15:18:39.959" v="405" actId="1076"/>
          <ac:spMkLst>
            <pc:docMk/>
            <pc:sldMk cId="3342602019" sldId="2147480117"/>
            <ac:spMk id="192" creationId="{9589EE12-F05E-9579-9AEB-49502A73AE2D}"/>
          </ac:spMkLst>
        </pc:spChg>
        <pc:spChg chg="add mod">
          <ac:chgData name="Karmakar, Sumit" userId="S::skarmakar@elogex.com::5d020034-ff2c-4e7e-8d00-e94708d613b2" providerId="AD" clId="Web-{B191D0E2-55DB-8537-B5C3-C3C98E754B7A}" dt="2024-03-20T15:18:39.975" v="406" actId="1076"/>
          <ac:spMkLst>
            <pc:docMk/>
            <pc:sldMk cId="3342602019" sldId="2147480117"/>
            <ac:spMk id="194" creationId="{32675491-F6F2-4DF3-FB0B-8FF2174FD4E7}"/>
          </ac:spMkLst>
        </pc:spChg>
        <pc:spChg chg="add mod">
          <ac:chgData name="Karmakar, Sumit" userId="S::skarmakar@elogex.com::5d020034-ff2c-4e7e-8d00-e94708d613b2" providerId="AD" clId="Web-{B191D0E2-55DB-8537-B5C3-C3C98E754B7A}" dt="2024-03-20T15:18:40.006" v="407" actId="1076"/>
          <ac:spMkLst>
            <pc:docMk/>
            <pc:sldMk cId="3342602019" sldId="2147480117"/>
            <ac:spMk id="196" creationId="{1CF626A0-9743-03EE-EC6F-DA69590F0343}"/>
          </ac:spMkLst>
        </pc:spChg>
        <pc:spChg chg="add mod">
          <ac:chgData name="Karmakar, Sumit" userId="S::skarmakar@elogex.com::5d020034-ff2c-4e7e-8d00-e94708d613b2" providerId="AD" clId="Web-{B191D0E2-55DB-8537-B5C3-C3C98E754B7A}" dt="2024-03-20T15:18:40.022" v="408" actId="1076"/>
          <ac:spMkLst>
            <pc:docMk/>
            <pc:sldMk cId="3342602019" sldId="2147480117"/>
            <ac:spMk id="198" creationId="{2C8869DB-C599-5E85-F195-23BF51AB7978}"/>
          </ac:spMkLst>
        </pc:spChg>
        <pc:spChg chg="add mod">
          <ac:chgData name="Karmakar, Sumit" userId="S::skarmakar@elogex.com::5d020034-ff2c-4e7e-8d00-e94708d613b2" providerId="AD" clId="Web-{B191D0E2-55DB-8537-B5C3-C3C98E754B7A}" dt="2024-03-20T15:18:40.037" v="409" actId="1076"/>
          <ac:spMkLst>
            <pc:docMk/>
            <pc:sldMk cId="3342602019" sldId="2147480117"/>
            <ac:spMk id="200" creationId="{539F7D91-3F1E-B413-81C8-8F972243EE13}"/>
          </ac:spMkLst>
        </pc:spChg>
        <pc:spChg chg="add mod">
          <ac:chgData name="Karmakar, Sumit" userId="S::skarmakar@elogex.com::5d020034-ff2c-4e7e-8d00-e94708d613b2" providerId="AD" clId="Web-{B191D0E2-55DB-8537-B5C3-C3C98E754B7A}" dt="2024-03-20T15:18:40.053" v="410" actId="1076"/>
          <ac:spMkLst>
            <pc:docMk/>
            <pc:sldMk cId="3342602019" sldId="2147480117"/>
            <ac:spMk id="202" creationId="{A62690FF-AFD1-B48E-BAAB-36C0BC9E7BF1}"/>
          </ac:spMkLst>
        </pc:spChg>
        <pc:spChg chg="add mod">
          <ac:chgData name="Karmakar, Sumit" userId="S::skarmakar@elogex.com::5d020034-ff2c-4e7e-8d00-e94708d613b2" providerId="AD" clId="Web-{B191D0E2-55DB-8537-B5C3-C3C98E754B7A}" dt="2024-03-20T15:18:40.072" v="411" actId="1076"/>
          <ac:spMkLst>
            <pc:docMk/>
            <pc:sldMk cId="3342602019" sldId="2147480117"/>
            <ac:spMk id="204" creationId="{1A266C0A-FD82-F0B6-5B12-298410897DB4}"/>
          </ac:spMkLst>
        </pc:spChg>
        <pc:spChg chg="add mod">
          <ac:chgData name="Karmakar, Sumit" userId="S::skarmakar@elogex.com::5d020034-ff2c-4e7e-8d00-e94708d613b2" providerId="AD" clId="Web-{B191D0E2-55DB-8537-B5C3-C3C98E754B7A}" dt="2024-03-20T15:18:40.084" v="412" actId="1076"/>
          <ac:spMkLst>
            <pc:docMk/>
            <pc:sldMk cId="3342602019" sldId="2147480117"/>
            <ac:spMk id="206" creationId="{4D0CA5D2-8D65-19B4-81F7-81A6A22B9806}"/>
          </ac:spMkLst>
        </pc:spChg>
        <pc:spChg chg="add mod">
          <ac:chgData name="Karmakar, Sumit" userId="S::skarmakar@elogex.com::5d020034-ff2c-4e7e-8d00-e94708d613b2" providerId="AD" clId="Web-{B191D0E2-55DB-8537-B5C3-C3C98E754B7A}" dt="2024-03-20T15:26:38.712" v="536" actId="1076"/>
          <ac:spMkLst>
            <pc:docMk/>
            <pc:sldMk cId="3342602019" sldId="2147480117"/>
            <ac:spMk id="208" creationId="{8634A1CF-DF20-B7FE-E9BD-7F002D083118}"/>
          </ac:spMkLst>
        </pc:spChg>
        <pc:spChg chg="add mod">
          <ac:chgData name="Karmakar, Sumit" userId="S::skarmakar@elogex.com::5d020034-ff2c-4e7e-8d00-e94708d613b2" providerId="AD" clId="Web-{B191D0E2-55DB-8537-B5C3-C3C98E754B7A}" dt="2024-03-20T15:26:38.743" v="537" actId="1076"/>
          <ac:spMkLst>
            <pc:docMk/>
            <pc:sldMk cId="3342602019" sldId="2147480117"/>
            <ac:spMk id="212" creationId="{2238823C-CE99-D687-180D-9F9656625D20}"/>
          </ac:spMkLst>
        </pc:spChg>
        <pc:spChg chg="add mod">
          <ac:chgData name="Karmakar, Sumit" userId="S::skarmakar@elogex.com::5d020034-ff2c-4e7e-8d00-e94708d613b2" providerId="AD" clId="Web-{B191D0E2-55DB-8537-B5C3-C3C98E754B7A}" dt="2024-03-20T15:25:52.804" v="525" actId="1076"/>
          <ac:spMkLst>
            <pc:docMk/>
            <pc:sldMk cId="3342602019" sldId="2147480117"/>
            <ac:spMk id="222" creationId="{1EEF99CE-F1F9-4236-466B-9C207B242A2F}"/>
          </ac:spMkLst>
        </pc:spChg>
        <pc:spChg chg="add mod">
          <ac:chgData name="Karmakar, Sumit" userId="S::skarmakar@elogex.com::5d020034-ff2c-4e7e-8d00-e94708d613b2" providerId="AD" clId="Web-{B191D0E2-55DB-8537-B5C3-C3C98E754B7A}" dt="2024-03-20T15:26:38.758" v="538" actId="1076"/>
          <ac:spMkLst>
            <pc:docMk/>
            <pc:sldMk cId="3342602019" sldId="2147480117"/>
            <ac:spMk id="224" creationId="{70021BA3-FB93-D483-55BB-0C4523E81856}"/>
          </ac:spMkLst>
        </pc:spChg>
        <pc:spChg chg="add mod">
          <ac:chgData name="Karmakar, Sumit" userId="S::skarmakar@elogex.com::5d020034-ff2c-4e7e-8d00-e94708d613b2" providerId="AD" clId="Web-{B191D0E2-55DB-8537-B5C3-C3C98E754B7A}" dt="2024-03-20T15:26:38.790" v="539" actId="1076"/>
          <ac:spMkLst>
            <pc:docMk/>
            <pc:sldMk cId="3342602019" sldId="2147480117"/>
            <ac:spMk id="226" creationId="{67A92898-7224-E862-FB2B-D460935CB9C8}"/>
          </ac:spMkLst>
        </pc:spChg>
        <pc:spChg chg="add mod">
          <ac:chgData name="Karmakar, Sumit" userId="S::skarmakar@elogex.com::5d020034-ff2c-4e7e-8d00-e94708d613b2" providerId="AD" clId="Web-{B191D0E2-55DB-8537-B5C3-C3C98E754B7A}" dt="2024-03-20T15:26:38.821" v="540" actId="1076"/>
          <ac:spMkLst>
            <pc:docMk/>
            <pc:sldMk cId="3342602019" sldId="2147480117"/>
            <ac:spMk id="230" creationId="{A1FF1624-6559-BC7C-CBA4-BEF6F5071EBD}"/>
          </ac:spMkLst>
        </pc:spChg>
        <pc:spChg chg="add mod">
          <ac:chgData name="Karmakar, Sumit" userId="S::skarmakar@elogex.com::5d020034-ff2c-4e7e-8d00-e94708d613b2" providerId="AD" clId="Web-{B191D0E2-55DB-8537-B5C3-C3C98E754B7A}" dt="2024-03-20T15:27:28.995" v="545" actId="1076"/>
          <ac:spMkLst>
            <pc:docMk/>
            <pc:sldMk cId="3342602019" sldId="2147480117"/>
            <ac:spMk id="232" creationId="{B87CE2CE-E0A0-D47D-7B49-699BBA4EB33B}"/>
          </ac:spMkLst>
        </pc:spChg>
        <pc:grpChg chg="add del mod">
          <ac:chgData name="Karmakar, Sumit" userId="S::skarmakar@elogex.com::5d020034-ff2c-4e7e-8d00-e94708d613b2" providerId="AD" clId="Web-{B191D0E2-55DB-8537-B5C3-C3C98E754B7A}" dt="2024-03-20T15:15:35.968" v="285"/>
          <ac:grpSpMkLst>
            <pc:docMk/>
            <pc:sldMk cId="3342602019" sldId="2147480117"/>
            <ac:grpSpMk id="29" creationId="{D09A6707-55D2-8AA2-D517-6EB3B5DA2B76}"/>
          </ac:grpSpMkLst>
        </pc:grpChg>
        <pc:grpChg chg="add del mod">
          <ac:chgData name="Karmakar, Sumit" userId="S::skarmakar@elogex.com::5d020034-ff2c-4e7e-8d00-e94708d613b2" providerId="AD" clId="Web-{B191D0E2-55DB-8537-B5C3-C3C98E754B7A}" dt="2024-03-20T15:15:35.968" v="284"/>
          <ac:grpSpMkLst>
            <pc:docMk/>
            <pc:sldMk cId="3342602019" sldId="2147480117"/>
            <ac:grpSpMk id="51" creationId="{B59BBCE0-6597-CF9D-6FC4-8F6D18EE45A2}"/>
          </ac:grpSpMkLst>
        </pc:grpChg>
        <pc:grpChg chg="add del mod">
          <ac:chgData name="Karmakar, Sumit" userId="S::skarmakar@elogex.com::5d020034-ff2c-4e7e-8d00-e94708d613b2" providerId="AD" clId="Web-{B191D0E2-55DB-8537-B5C3-C3C98E754B7A}" dt="2024-03-20T15:15:35.968" v="283"/>
          <ac:grpSpMkLst>
            <pc:docMk/>
            <pc:sldMk cId="3342602019" sldId="2147480117"/>
            <ac:grpSpMk id="60" creationId="{6ADF4F8A-C922-593C-35CE-F71B20E69D2E}"/>
          </ac:grpSpMkLst>
        </pc:grpChg>
        <pc:grpChg chg="add del mod">
          <ac:chgData name="Karmakar, Sumit" userId="S::skarmakar@elogex.com::5d020034-ff2c-4e7e-8d00-e94708d613b2" providerId="AD" clId="Web-{B191D0E2-55DB-8537-B5C3-C3C98E754B7A}" dt="2024-03-20T15:15:35.968" v="282"/>
          <ac:grpSpMkLst>
            <pc:docMk/>
            <pc:sldMk cId="3342602019" sldId="2147480117"/>
            <ac:grpSpMk id="84" creationId="{791AB693-AE66-30ED-6B4E-00F45D3EB043}"/>
          </ac:grpSpMkLst>
        </pc:grpChg>
        <pc:grpChg chg="add del mod">
          <ac:chgData name="Karmakar, Sumit" userId="S::skarmakar@elogex.com::5d020034-ff2c-4e7e-8d00-e94708d613b2" providerId="AD" clId="Web-{B191D0E2-55DB-8537-B5C3-C3C98E754B7A}" dt="2024-03-20T15:15:35.968" v="281"/>
          <ac:grpSpMkLst>
            <pc:docMk/>
            <pc:sldMk cId="3342602019" sldId="2147480117"/>
            <ac:grpSpMk id="97" creationId="{9A69DC08-C763-B0AF-9BE5-C45483F08567}"/>
          </ac:grpSpMkLst>
        </pc:grpChg>
        <pc:grpChg chg="add del mod">
          <ac:chgData name="Karmakar, Sumit" userId="S::skarmakar@elogex.com::5d020034-ff2c-4e7e-8d00-e94708d613b2" providerId="AD" clId="Web-{B191D0E2-55DB-8537-B5C3-C3C98E754B7A}" dt="2024-03-20T15:17:47.145" v="356"/>
          <ac:grpSpMkLst>
            <pc:docMk/>
            <pc:sldMk cId="3342602019" sldId="2147480117"/>
            <ac:grpSpMk id="126" creationId="{432C82D6-3C28-A16F-3E85-DCB7B9626E61}"/>
          </ac:grpSpMkLst>
        </pc:grpChg>
        <pc:grpChg chg="add del mod">
          <ac:chgData name="Karmakar, Sumit" userId="S::skarmakar@elogex.com::5d020034-ff2c-4e7e-8d00-e94708d613b2" providerId="AD" clId="Web-{B191D0E2-55DB-8537-B5C3-C3C98E754B7A}" dt="2024-03-20T15:17:47.145" v="355"/>
          <ac:grpSpMkLst>
            <pc:docMk/>
            <pc:sldMk cId="3342602019" sldId="2147480117"/>
            <ac:grpSpMk id="131" creationId="{7AF7A323-EE6B-48B3-7D1E-CBC5C0CDBC2E}"/>
          </ac:grpSpMkLst>
        </pc:grpChg>
        <pc:grpChg chg="add del mod">
          <ac:chgData name="Karmakar, Sumit" userId="S::skarmakar@elogex.com::5d020034-ff2c-4e7e-8d00-e94708d613b2" providerId="AD" clId="Web-{B191D0E2-55DB-8537-B5C3-C3C98E754B7A}" dt="2024-03-20T15:17:47.145" v="352"/>
          <ac:grpSpMkLst>
            <pc:docMk/>
            <pc:sldMk cId="3342602019" sldId="2147480117"/>
            <ac:grpSpMk id="139" creationId="{B44B05E5-21FB-43C3-2E37-2846E8B05FED}"/>
          </ac:grpSpMkLst>
        </pc:grpChg>
        <pc:grpChg chg="add del mod">
          <ac:chgData name="Karmakar, Sumit" userId="S::skarmakar@elogex.com::5d020034-ff2c-4e7e-8d00-e94708d613b2" providerId="AD" clId="Web-{B191D0E2-55DB-8537-B5C3-C3C98E754B7A}" dt="2024-03-20T15:17:47.145" v="351"/>
          <ac:grpSpMkLst>
            <pc:docMk/>
            <pc:sldMk cId="3342602019" sldId="2147480117"/>
            <ac:grpSpMk id="144" creationId="{203C5080-F659-AC8F-ADD5-2F807B818E40}"/>
          </ac:grpSpMkLst>
        </pc:grpChg>
        <pc:grpChg chg="add mod">
          <ac:chgData name="Karmakar, Sumit" userId="S::skarmakar@elogex.com::5d020034-ff2c-4e7e-8d00-e94708d613b2" providerId="AD" clId="Web-{B191D0E2-55DB-8537-B5C3-C3C98E754B7A}" dt="2024-03-20T15:18:39.537" v="398" actId="1076"/>
          <ac:grpSpMkLst>
            <pc:docMk/>
            <pc:sldMk cId="3342602019" sldId="2147480117"/>
            <ac:grpSpMk id="164" creationId="{6814B515-4D56-F8A8-4275-E7CE1BF9BEF9}"/>
          </ac:grpSpMkLst>
        </pc:grpChg>
        <pc:grpChg chg="add mod">
          <ac:chgData name="Karmakar, Sumit" userId="S::skarmakar@elogex.com::5d020034-ff2c-4e7e-8d00-e94708d613b2" providerId="AD" clId="Web-{B191D0E2-55DB-8537-B5C3-C3C98E754B7A}" dt="2024-03-20T15:18:39.944" v="404" actId="1076"/>
          <ac:grpSpMkLst>
            <pc:docMk/>
            <pc:sldMk cId="3342602019" sldId="2147480117"/>
            <ac:grpSpMk id="190" creationId="{0121567B-1820-5A30-ED25-AD0AC63A4AD2}"/>
          </ac:grpSpMkLst>
        </pc:grpChg>
        <pc:picChg chg="add del mod">
          <ac:chgData name="Karmakar, Sumit" userId="S::skarmakar@elogex.com::5d020034-ff2c-4e7e-8d00-e94708d613b2" providerId="AD" clId="Web-{B191D0E2-55DB-8537-B5C3-C3C98E754B7A}" dt="2024-03-20T15:15:35.968" v="287"/>
          <ac:picMkLst>
            <pc:docMk/>
            <pc:sldMk cId="3342602019" sldId="2147480117"/>
            <ac:picMk id="5" creationId="{973C0956-8782-9F06-FF12-0A16BFAF2095}"/>
          </ac:picMkLst>
        </pc:picChg>
        <pc:picChg chg="add del mod">
          <ac:chgData name="Karmakar, Sumit" userId="S::skarmakar@elogex.com::5d020034-ff2c-4e7e-8d00-e94708d613b2" providerId="AD" clId="Web-{B191D0E2-55DB-8537-B5C3-C3C98E754B7A}" dt="2024-03-20T15:15:35.968" v="280"/>
          <ac:picMkLst>
            <pc:docMk/>
            <pc:sldMk cId="3342602019" sldId="2147480117"/>
            <ac:picMk id="99" creationId="{656C596C-2B52-4503-C329-7B60E50126AD}"/>
          </ac:picMkLst>
        </pc:picChg>
        <pc:picChg chg="add del mod">
          <ac:chgData name="Karmakar, Sumit" userId="S::skarmakar@elogex.com::5d020034-ff2c-4e7e-8d00-e94708d613b2" providerId="AD" clId="Web-{B191D0E2-55DB-8537-B5C3-C3C98E754B7A}" dt="2024-03-20T15:15:35.968" v="278"/>
          <ac:picMkLst>
            <pc:docMk/>
            <pc:sldMk cId="3342602019" sldId="2147480117"/>
            <ac:picMk id="106" creationId="{0D8565D4-C45E-4BDA-0B03-E50CFF191DB0}"/>
          </ac:picMkLst>
        </pc:picChg>
        <pc:picChg chg="add del mod">
          <ac:chgData name="Karmakar, Sumit" userId="S::skarmakar@elogex.com::5d020034-ff2c-4e7e-8d00-e94708d613b2" providerId="AD" clId="Web-{B191D0E2-55DB-8537-B5C3-C3C98E754B7A}" dt="2024-03-20T15:17:47.145" v="350"/>
          <ac:picMkLst>
            <pc:docMk/>
            <pc:sldMk cId="3342602019" sldId="2147480117"/>
            <ac:picMk id="146" creationId="{CF5701A7-313A-A278-5717-0D732A4146DC}"/>
          </ac:picMkLst>
        </pc:picChg>
        <pc:picChg chg="add del mod">
          <ac:chgData name="Karmakar, Sumit" userId="S::skarmakar@elogex.com::5d020034-ff2c-4e7e-8d00-e94708d613b2" providerId="AD" clId="Web-{B191D0E2-55DB-8537-B5C3-C3C98E754B7A}" dt="2024-03-20T15:17:47.145" v="347"/>
          <ac:picMkLst>
            <pc:docMk/>
            <pc:sldMk cId="3342602019" sldId="2147480117"/>
            <ac:picMk id="152" creationId="{4EC2595A-AC7A-EE4E-64DA-CCB45F90CD0E}"/>
          </ac:picMkLst>
        </pc:picChg>
        <pc:picChg chg="add mod">
          <ac:chgData name="Karmakar, Sumit" userId="S::skarmakar@elogex.com::5d020034-ff2c-4e7e-8d00-e94708d613b2" providerId="AD" clId="Web-{B191D0E2-55DB-8537-B5C3-C3C98E754B7A}" dt="2024-03-20T15:18:39.803" v="399" actId="1076"/>
          <ac:picMkLst>
            <pc:docMk/>
            <pc:sldMk cId="3342602019" sldId="2147480117"/>
            <ac:picMk id="166" creationId="{AFA1AC4D-024D-9D2F-D194-C2F0B2B8E931}"/>
          </ac:picMkLst>
        </pc:picChg>
        <pc:picChg chg="add mod">
          <ac:chgData name="Karmakar, Sumit" userId="S::skarmakar@elogex.com::5d020034-ff2c-4e7e-8d00-e94708d613b2" providerId="AD" clId="Web-{B191D0E2-55DB-8537-B5C3-C3C98E754B7A}" dt="2024-03-20T15:18:39.819" v="400" actId="1076"/>
          <ac:picMkLst>
            <pc:docMk/>
            <pc:sldMk cId="3342602019" sldId="2147480117"/>
            <ac:picMk id="168" creationId="{A2BD1F21-71B0-3E87-E1C5-637C471DA58D}"/>
          </ac:picMkLst>
        </pc:picChg>
        <pc:picChg chg="add mod">
          <ac:chgData name="Karmakar, Sumit" userId="S::skarmakar@elogex.com::5d020034-ff2c-4e7e-8d00-e94708d613b2" providerId="AD" clId="Web-{B191D0E2-55DB-8537-B5C3-C3C98E754B7A}" dt="2024-03-20T15:18:39.834" v="401" actId="1076"/>
          <ac:picMkLst>
            <pc:docMk/>
            <pc:sldMk cId="3342602019" sldId="2147480117"/>
            <ac:picMk id="170" creationId="{BFEA4074-EED0-BBE9-10E2-607BD39B6D43}"/>
          </ac:picMkLst>
        </pc:picChg>
        <pc:picChg chg="add mod">
          <ac:chgData name="Karmakar, Sumit" userId="S::skarmakar@elogex.com::5d020034-ff2c-4e7e-8d00-e94708d613b2" providerId="AD" clId="Web-{B191D0E2-55DB-8537-B5C3-C3C98E754B7A}" dt="2024-03-20T15:18:39.881" v="403" actId="1076"/>
          <ac:picMkLst>
            <pc:docMk/>
            <pc:sldMk cId="3342602019" sldId="2147480117"/>
            <ac:picMk id="174" creationId="{8CE81083-9076-1C75-CF2C-A3B9FD752321}"/>
          </ac:picMkLst>
        </pc:picChg>
        <pc:picChg chg="add mod">
          <ac:chgData name="Karmakar, Sumit" userId="S::skarmakar@elogex.com::5d020034-ff2c-4e7e-8d00-e94708d613b2" providerId="AD" clId="Web-{B191D0E2-55DB-8537-B5C3-C3C98E754B7A}" dt="2024-03-20T15:25:07.583" v="509" actId="1076"/>
          <ac:picMkLst>
            <pc:docMk/>
            <pc:sldMk cId="3342602019" sldId="2147480117"/>
            <ac:picMk id="210" creationId="{3FF0BD91-DA45-8745-CF72-F45FFF79E157}"/>
          </ac:picMkLst>
        </pc:picChg>
        <pc:picChg chg="add mod">
          <ac:chgData name="Karmakar, Sumit" userId="S::skarmakar@elogex.com::5d020034-ff2c-4e7e-8d00-e94708d613b2" providerId="AD" clId="Web-{B191D0E2-55DB-8537-B5C3-C3C98E754B7A}" dt="2024-03-20T15:26:21.524" v="532" actId="1076"/>
          <ac:picMkLst>
            <pc:docMk/>
            <pc:sldMk cId="3342602019" sldId="2147480117"/>
            <ac:picMk id="214" creationId="{43740D88-68CA-BCB4-AA5A-E9BFE23FDA77}"/>
          </ac:picMkLst>
        </pc:picChg>
        <pc:picChg chg="add mod">
          <ac:chgData name="Karmakar, Sumit" userId="S::skarmakar@elogex.com::5d020034-ff2c-4e7e-8d00-e94708d613b2" providerId="AD" clId="Web-{B191D0E2-55DB-8537-B5C3-C3C98E754B7A}" dt="2024-03-20T15:26:21.539" v="533" actId="1076"/>
          <ac:picMkLst>
            <pc:docMk/>
            <pc:sldMk cId="3342602019" sldId="2147480117"/>
            <ac:picMk id="216" creationId="{676C4B8A-EEDE-8492-11D4-96362E1CA27A}"/>
          </ac:picMkLst>
        </pc:picChg>
        <pc:picChg chg="add mod">
          <ac:chgData name="Karmakar, Sumit" userId="S::skarmakar@elogex.com::5d020034-ff2c-4e7e-8d00-e94708d613b2" providerId="AD" clId="Web-{B191D0E2-55DB-8537-B5C3-C3C98E754B7A}" dt="2024-03-20T15:26:21.555" v="534" actId="1076"/>
          <ac:picMkLst>
            <pc:docMk/>
            <pc:sldMk cId="3342602019" sldId="2147480117"/>
            <ac:picMk id="218" creationId="{3A1EB43D-2A80-827B-101C-E6FDBBDEA7E0}"/>
          </ac:picMkLst>
        </pc:picChg>
        <pc:picChg chg="add mod">
          <ac:chgData name="Karmakar, Sumit" userId="S::skarmakar@elogex.com::5d020034-ff2c-4e7e-8d00-e94708d613b2" providerId="AD" clId="Web-{B191D0E2-55DB-8537-B5C3-C3C98E754B7A}" dt="2024-03-20T15:26:21.586" v="535" actId="1076"/>
          <ac:picMkLst>
            <pc:docMk/>
            <pc:sldMk cId="3342602019" sldId="2147480117"/>
            <ac:picMk id="220" creationId="{0E58D81E-2B6F-523E-2F03-F64001564D75}"/>
          </ac:picMkLst>
        </pc:picChg>
        <pc:picChg chg="add mod">
          <ac:chgData name="Karmakar, Sumit" userId="S::skarmakar@elogex.com::5d020034-ff2c-4e7e-8d00-e94708d613b2" providerId="AD" clId="Web-{B191D0E2-55DB-8537-B5C3-C3C98E754B7A}" dt="2024-03-20T15:26:01.570" v="530" actId="1076"/>
          <ac:picMkLst>
            <pc:docMk/>
            <pc:sldMk cId="3342602019" sldId="2147480117"/>
            <ac:picMk id="228" creationId="{047322F2-06A8-0721-C3C7-DB1C1AD8F763}"/>
          </ac:picMkLst>
        </pc:picChg>
        <pc:cxnChg chg="del mod">
          <ac:chgData name="Karmakar, Sumit" userId="S::skarmakar@elogex.com::5d020034-ff2c-4e7e-8d00-e94708d613b2" providerId="AD" clId="Web-{B191D0E2-55DB-8537-B5C3-C3C98E754B7A}" dt="2024-03-20T15:13:40.510" v="216"/>
          <ac:cxnSpMkLst>
            <pc:docMk/>
            <pc:sldMk cId="3342602019" sldId="2147480117"/>
            <ac:cxnSpMk id="26" creationId="{E5D15895-2EB3-A137-3BCA-EF18D07BDD9D}"/>
          </ac:cxnSpMkLst>
        </pc:cxnChg>
        <pc:cxnChg chg="del mod">
          <ac:chgData name="Karmakar, Sumit" userId="S::skarmakar@elogex.com::5d020034-ff2c-4e7e-8d00-e94708d613b2" providerId="AD" clId="Web-{B191D0E2-55DB-8537-B5C3-C3C98E754B7A}" dt="2024-03-20T15:13:40.510" v="215"/>
          <ac:cxnSpMkLst>
            <pc:docMk/>
            <pc:sldMk cId="3342602019" sldId="2147480117"/>
            <ac:cxnSpMk id="27" creationId="{0BA0F07B-2033-D99C-8546-D403CA00FE1C}"/>
          </ac:cxnSpMkLst>
        </pc:cxnChg>
        <pc:cxnChg chg="del">
          <ac:chgData name="Karmakar, Sumit" userId="S::skarmakar@elogex.com::5d020034-ff2c-4e7e-8d00-e94708d613b2" providerId="AD" clId="Web-{B191D0E2-55DB-8537-B5C3-C3C98E754B7A}" dt="2024-03-20T15:13:40.510" v="214"/>
          <ac:cxnSpMkLst>
            <pc:docMk/>
            <pc:sldMk cId="3342602019" sldId="2147480117"/>
            <ac:cxnSpMk id="30" creationId="{30E0BCF3-E935-B96A-404E-CDE487B4350E}"/>
          </ac:cxnSpMkLst>
        </pc:cxnChg>
        <pc:cxnChg chg="del mod">
          <ac:chgData name="Karmakar, Sumit" userId="S::skarmakar@elogex.com::5d020034-ff2c-4e7e-8d00-e94708d613b2" providerId="AD" clId="Web-{B191D0E2-55DB-8537-B5C3-C3C98E754B7A}" dt="2024-03-20T15:13:40.510" v="213"/>
          <ac:cxnSpMkLst>
            <pc:docMk/>
            <pc:sldMk cId="3342602019" sldId="2147480117"/>
            <ac:cxnSpMk id="34" creationId="{C0036012-5DDB-CDC4-C88D-51F48935827F}"/>
          </ac:cxnSpMkLst>
        </pc:cxnChg>
        <pc:cxnChg chg="del mod">
          <ac:chgData name="Karmakar, Sumit" userId="S::skarmakar@elogex.com::5d020034-ff2c-4e7e-8d00-e94708d613b2" providerId="AD" clId="Web-{B191D0E2-55DB-8537-B5C3-C3C98E754B7A}" dt="2024-03-20T15:13:40.510" v="210"/>
          <ac:cxnSpMkLst>
            <pc:docMk/>
            <pc:sldMk cId="3342602019" sldId="2147480117"/>
            <ac:cxnSpMk id="39" creationId="{6A4AFD20-F302-BB91-3EC4-7A628A938F0C}"/>
          </ac:cxnSpMkLst>
        </pc:cxnChg>
        <pc:cxnChg chg="del mod">
          <ac:chgData name="Karmakar, Sumit" userId="S::skarmakar@elogex.com::5d020034-ff2c-4e7e-8d00-e94708d613b2" providerId="AD" clId="Web-{B191D0E2-55DB-8537-B5C3-C3C98E754B7A}" dt="2024-03-20T15:13:40.510" v="209"/>
          <ac:cxnSpMkLst>
            <pc:docMk/>
            <pc:sldMk cId="3342602019" sldId="2147480117"/>
            <ac:cxnSpMk id="42" creationId="{38EF021E-5BF3-06FF-8386-901D5D663D75}"/>
          </ac:cxnSpMkLst>
        </pc:cxnChg>
        <pc:cxnChg chg="del mod">
          <ac:chgData name="Karmakar, Sumit" userId="S::skarmakar@elogex.com::5d020034-ff2c-4e7e-8d00-e94708d613b2" providerId="AD" clId="Web-{B191D0E2-55DB-8537-B5C3-C3C98E754B7A}" dt="2024-03-20T15:13:40.510" v="206"/>
          <ac:cxnSpMkLst>
            <pc:docMk/>
            <pc:sldMk cId="3342602019" sldId="2147480117"/>
            <ac:cxnSpMk id="47" creationId="{5B9437E2-8384-4D33-6517-44872F062E9A}"/>
          </ac:cxnSpMkLst>
        </pc:cxnChg>
        <pc:cxnChg chg="del mod">
          <ac:chgData name="Karmakar, Sumit" userId="S::skarmakar@elogex.com::5d020034-ff2c-4e7e-8d00-e94708d613b2" providerId="AD" clId="Web-{B191D0E2-55DB-8537-B5C3-C3C98E754B7A}" dt="2024-03-20T15:13:40.510" v="205"/>
          <ac:cxnSpMkLst>
            <pc:docMk/>
            <pc:sldMk cId="3342602019" sldId="2147480117"/>
            <ac:cxnSpMk id="50" creationId="{3A5DFC1D-5241-2A5B-2763-07330303F70D}"/>
          </ac:cxnSpMkLst>
        </pc:cxnChg>
        <pc:cxnChg chg="del">
          <ac:chgData name="Karmakar, Sumit" userId="S::skarmakar@elogex.com::5d020034-ff2c-4e7e-8d00-e94708d613b2" providerId="AD" clId="Web-{B191D0E2-55DB-8537-B5C3-C3C98E754B7A}" dt="2024-03-20T15:13:40.510" v="204"/>
          <ac:cxnSpMkLst>
            <pc:docMk/>
            <pc:sldMk cId="3342602019" sldId="2147480117"/>
            <ac:cxnSpMk id="54" creationId="{C715A097-43BA-78C7-EB85-D60AE8341F32}"/>
          </ac:cxnSpMkLst>
        </pc:cxnChg>
        <pc:cxnChg chg="mod">
          <ac:chgData name="Karmakar, Sumit" userId="S::skarmakar@elogex.com::5d020034-ff2c-4e7e-8d00-e94708d613b2" providerId="AD" clId="Web-{B191D0E2-55DB-8537-B5C3-C3C98E754B7A}" dt="2024-03-20T15:15:35.968" v="283"/>
          <ac:cxnSpMkLst>
            <pc:docMk/>
            <pc:sldMk cId="3342602019" sldId="2147480117"/>
            <ac:cxnSpMk id="58" creationId="{08708B3D-BCAD-EA50-C86A-F591C73C65B2}"/>
          </ac:cxnSpMkLst>
        </pc:cxnChg>
        <pc:cxnChg chg="del mod">
          <ac:chgData name="Karmakar, Sumit" userId="S::skarmakar@elogex.com::5d020034-ff2c-4e7e-8d00-e94708d613b2" providerId="AD" clId="Web-{B191D0E2-55DB-8537-B5C3-C3C98E754B7A}" dt="2024-03-20T15:13:40.510" v="200"/>
          <ac:cxnSpMkLst>
            <pc:docMk/>
            <pc:sldMk cId="3342602019" sldId="2147480117"/>
            <ac:cxnSpMk id="64" creationId="{FB414208-2974-6A2C-EA4A-E3342514DF74}"/>
          </ac:cxnSpMkLst>
        </pc:cxnChg>
        <pc:cxnChg chg="del mod">
          <ac:chgData name="Karmakar, Sumit" userId="S::skarmakar@elogex.com::5d020034-ff2c-4e7e-8d00-e94708d613b2" providerId="AD" clId="Web-{B191D0E2-55DB-8537-B5C3-C3C98E754B7A}" dt="2024-03-20T15:13:40.510" v="199"/>
          <ac:cxnSpMkLst>
            <pc:docMk/>
            <pc:sldMk cId="3342602019" sldId="2147480117"/>
            <ac:cxnSpMk id="67" creationId="{F1C3D8F2-7512-CCFB-3C2C-64562F861106}"/>
          </ac:cxnSpMkLst>
        </pc:cxnChg>
        <pc:cxnChg chg="mod">
          <ac:chgData name="Karmakar, Sumit" userId="S::skarmakar@elogex.com::5d020034-ff2c-4e7e-8d00-e94708d613b2" providerId="AD" clId="Web-{B191D0E2-55DB-8537-B5C3-C3C98E754B7A}" dt="2024-03-20T15:15:35.968" v="282"/>
          <ac:cxnSpMkLst>
            <pc:docMk/>
            <pc:sldMk cId="3342602019" sldId="2147480117"/>
            <ac:cxnSpMk id="69" creationId="{8828A712-CB0C-EF00-FA11-34CCD2043A16}"/>
          </ac:cxnSpMkLst>
        </pc:cxnChg>
        <pc:cxnChg chg="del mod">
          <ac:chgData name="Karmakar, Sumit" userId="S::skarmakar@elogex.com::5d020034-ff2c-4e7e-8d00-e94708d613b2" providerId="AD" clId="Web-{B191D0E2-55DB-8537-B5C3-C3C98E754B7A}" dt="2024-03-20T15:13:40.510" v="198"/>
          <ac:cxnSpMkLst>
            <pc:docMk/>
            <pc:sldMk cId="3342602019" sldId="2147480117"/>
            <ac:cxnSpMk id="73" creationId="{EAFD2E44-CD48-6AD2-93DF-DA8B91E8913C}"/>
          </ac:cxnSpMkLst>
        </pc:cxnChg>
        <pc:cxnChg chg="del mod">
          <ac:chgData name="Karmakar, Sumit" userId="S::skarmakar@elogex.com::5d020034-ff2c-4e7e-8d00-e94708d613b2" providerId="AD" clId="Web-{B191D0E2-55DB-8537-B5C3-C3C98E754B7A}" dt="2024-03-20T15:13:40.510" v="196"/>
          <ac:cxnSpMkLst>
            <pc:docMk/>
            <pc:sldMk cId="3342602019" sldId="2147480117"/>
            <ac:cxnSpMk id="80" creationId="{D4556A28-0806-BC88-34CA-00144D2586E1}"/>
          </ac:cxnSpMkLst>
        </pc:cxnChg>
        <pc:cxnChg chg="del mod">
          <ac:chgData name="Karmakar, Sumit" userId="S::skarmakar@elogex.com::5d020034-ff2c-4e7e-8d00-e94708d613b2" providerId="AD" clId="Web-{B191D0E2-55DB-8537-B5C3-C3C98E754B7A}" dt="2024-03-20T15:13:40.510" v="193"/>
          <ac:cxnSpMkLst>
            <pc:docMk/>
            <pc:sldMk cId="3342602019" sldId="2147480117"/>
            <ac:cxnSpMk id="89" creationId="{7EF07E63-BDB2-02E4-F0B2-4241E4634C01}"/>
          </ac:cxnSpMkLst>
        </pc:cxnChg>
        <pc:cxnChg chg="del mod">
          <ac:chgData name="Karmakar, Sumit" userId="S::skarmakar@elogex.com::5d020034-ff2c-4e7e-8d00-e94708d613b2" providerId="AD" clId="Web-{B191D0E2-55DB-8537-B5C3-C3C98E754B7A}" dt="2024-03-20T15:13:40.510" v="192"/>
          <ac:cxnSpMkLst>
            <pc:docMk/>
            <pc:sldMk cId="3342602019" sldId="2147480117"/>
            <ac:cxnSpMk id="92" creationId="{707960CB-CA74-A428-BFAF-C2F279389F5D}"/>
          </ac:cxnSpMkLst>
        </pc:cxnChg>
        <pc:cxnChg chg="add del mod">
          <ac:chgData name="Karmakar, Sumit" userId="S::skarmakar@elogex.com::5d020034-ff2c-4e7e-8d00-e94708d613b2" providerId="AD" clId="Web-{B191D0E2-55DB-8537-B5C3-C3C98E754B7A}" dt="2024-03-20T15:17:47.145" v="349"/>
          <ac:cxnSpMkLst>
            <pc:docMk/>
            <pc:sldMk cId="3342602019" sldId="2147480117"/>
            <ac:cxnSpMk id="148" creationId="{E1A8778B-096A-7245-DFC7-77E1AE3EA102}"/>
          </ac:cxnSpMkLst>
        </pc:cxnChg>
        <pc:cxnChg chg="add del mod">
          <ac:chgData name="Karmakar, Sumit" userId="S::skarmakar@elogex.com::5d020034-ff2c-4e7e-8d00-e94708d613b2" providerId="AD" clId="Web-{B191D0E2-55DB-8537-B5C3-C3C98E754B7A}" dt="2024-03-20T15:17:47.145" v="348"/>
          <ac:cxnSpMkLst>
            <pc:docMk/>
            <pc:sldMk cId="3342602019" sldId="2147480117"/>
            <ac:cxnSpMk id="150" creationId="{0EC1291D-1EFE-E27D-A7AA-CA6000CA198E}"/>
          </ac:cxnSpMkLst>
        </pc:cxnChg>
      </pc:sldChg>
      <pc:sldChg chg="modSp">
        <pc:chgData name="Karmakar, Sumit" userId="S::skarmakar@elogex.com::5d020034-ff2c-4e7e-8d00-e94708d613b2" providerId="AD" clId="Web-{B191D0E2-55DB-8537-B5C3-C3C98E754B7A}" dt="2024-03-20T15:06:12.353" v="0"/>
        <pc:sldMkLst>
          <pc:docMk/>
          <pc:sldMk cId="2185285943" sldId="2147480118"/>
        </pc:sldMkLst>
        <pc:graphicFrameChg chg="modGraphic">
          <ac:chgData name="Karmakar, Sumit" userId="S::skarmakar@elogex.com::5d020034-ff2c-4e7e-8d00-e94708d613b2" providerId="AD" clId="Web-{B191D0E2-55DB-8537-B5C3-C3C98E754B7A}" dt="2024-03-20T15:06:12.353" v="0"/>
          <ac:graphicFrameMkLst>
            <pc:docMk/>
            <pc:sldMk cId="2185285943" sldId="2147480118"/>
            <ac:graphicFrameMk id="9" creationId="{ABCCD26C-D41C-FBFD-74F1-5B8CE2E23819}"/>
          </ac:graphicFrameMkLst>
        </pc:graphicFrameChg>
      </pc:sldChg>
      <pc:sldChg chg="modSp add replId">
        <pc:chgData name="Karmakar, Sumit" userId="S::skarmakar@elogex.com::5d020034-ff2c-4e7e-8d00-e94708d613b2" providerId="AD" clId="Web-{B191D0E2-55DB-8537-B5C3-C3C98E754B7A}" dt="2024-03-20T15:37:37.253" v="693"/>
        <pc:sldMkLst>
          <pc:docMk/>
          <pc:sldMk cId="508965995" sldId="2147480119"/>
        </pc:sldMkLst>
        <pc:graphicFrameChg chg="mod modGraphic">
          <ac:chgData name="Karmakar, Sumit" userId="S::skarmakar@elogex.com::5d020034-ff2c-4e7e-8d00-e94708d613b2" providerId="AD" clId="Web-{B191D0E2-55DB-8537-B5C3-C3C98E754B7A}" dt="2024-03-20T15:37:37.253" v="693"/>
          <ac:graphicFrameMkLst>
            <pc:docMk/>
            <pc:sldMk cId="508965995" sldId="2147480119"/>
            <ac:graphicFrameMk id="9" creationId="{ABCCD26C-D41C-FBFD-74F1-5B8CE2E23819}"/>
          </ac:graphicFrameMkLst>
        </pc:graphicFrameChg>
      </pc:sldChg>
      <pc:sldChg chg="modSp add replId">
        <pc:chgData name="Karmakar, Sumit" userId="S::skarmakar@elogex.com::5d020034-ff2c-4e7e-8d00-e94708d613b2" providerId="AD" clId="Web-{B191D0E2-55DB-8537-B5C3-C3C98E754B7A}" dt="2024-03-20T15:34:18.494" v="686" actId="1076"/>
        <pc:sldMkLst>
          <pc:docMk/>
          <pc:sldMk cId="2801638841" sldId="2147480120"/>
        </pc:sldMkLst>
        <pc:spChg chg="mod">
          <ac:chgData name="Karmakar, Sumit" userId="S::skarmakar@elogex.com::5d020034-ff2c-4e7e-8d00-e94708d613b2" providerId="AD" clId="Web-{B191D0E2-55DB-8537-B5C3-C3C98E754B7A}" dt="2024-03-20T15:34:14.447" v="640" actId="1076"/>
          <ac:spMkLst>
            <pc:docMk/>
            <pc:sldMk cId="2801638841" sldId="2147480120"/>
            <ac:spMk id="4" creationId="{7D4BF2ED-AC5B-0D24-516C-84EE34EF0F26}"/>
          </ac:spMkLst>
        </pc:spChg>
        <pc:spChg chg="mod">
          <ac:chgData name="Karmakar, Sumit" userId="S::skarmakar@elogex.com::5d020034-ff2c-4e7e-8d00-e94708d613b2" providerId="AD" clId="Web-{B191D0E2-55DB-8537-B5C3-C3C98E754B7A}" dt="2024-03-20T15:34:14.604" v="642" actId="1076"/>
          <ac:spMkLst>
            <pc:docMk/>
            <pc:sldMk cId="2801638841" sldId="2147480120"/>
            <ac:spMk id="8" creationId="{9A8AFD97-6548-3F4A-4D20-68484CE3E0C6}"/>
          </ac:spMkLst>
        </pc:spChg>
        <pc:spChg chg="mod">
          <ac:chgData name="Karmakar, Sumit" userId="S::skarmakar@elogex.com::5d020034-ff2c-4e7e-8d00-e94708d613b2" providerId="AD" clId="Web-{B191D0E2-55DB-8537-B5C3-C3C98E754B7A}" dt="2024-03-20T15:34:14.697" v="643" actId="1076"/>
          <ac:spMkLst>
            <pc:docMk/>
            <pc:sldMk cId="2801638841" sldId="2147480120"/>
            <ac:spMk id="9" creationId="{4920E92B-7718-8222-9BFE-94A6716A8881}"/>
          </ac:spMkLst>
        </pc:spChg>
        <pc:spChg chg="mod">
          <ac:chgData name="Karmakar, Sumit" userId="S::skarmakar@elogex.com::5d020034-ff2c-4e7e-8d00-e94708d613b2" providerId="AD" clId="Web-{B191D0E2-55DB-8537-B5C3-C3C98E754B7A}" dt="2024-03-20T15:34:14.744" v="644" actId="1076"/>
          <ac:spMkLst>
            <pc:docMk/>
            <pc:sldMk cId="2801638841" sldId="2147480120"/>
            <ac:spMk id="12" creationId="{3C0CEDD4-EBFB-353C-5303-0FB361E05818}"/>
          </ac:spMkLst>
        </pc:spChg>
        <pc:spChg chg="mod">
          <ac:chgData name="Karmakar, Sumit" userId="S::skarmakar@elogex.com::5d020034-ff2c-4e7e-8d00-e94708d613b2" providerId="AD" clId="Web-{B191D0E2-55DB-8537-B5C3-C3C98E754B7A}" dt="2024-03-20T15:34:14.869" v="645" actId="1076"/>
          <ac:spMkLst>
            <pc:docMk/>
            <pc:sldMk cId="2801638841" sldId="2147480120"/>
            <ac:spMk id="18" creationId="{91B30D9E-4251-EC41-7D02-76659175E10D}"/>
          </ac:spMkLst>
        </pc:spChg>
        <pc:spChg chg="mod">
          <ac:chgData name="Karmakar, Sumit" userId="S::skarmakar@elogex.com::5d020034-ff2c-4e7e-8d00-e94708d613b2" providerId="AD" clId="Web-{B191D0E2-55DB-8537-B5C3-C3C98E754B7A}" dt="2024-03-20T15:34:14.932" v="646" actId="1076"/>
          <ac:spMkLst>
            <pc:docMk/>
            <pc:sldMk cId="2801638841" sldId="2147480120"/>
            <ac:spMk id="19" creationId="{58EE22D9-D66C-2075-3E64-FA6499E1196E}"/>
          </ac:spMkLst>
        </pc:spChg>
        <pc:spChg chg="mod">
          <ac:chgData name="Karmakar, Sumit" userId="S::skarmakar@elogex.com::5d020034-ff2c-4e7e-8d00-e94708d613b2" providerId="AD" clId="Web-{B191D0E2-55DB-8537-B5C3-C3C98E754B7A}" dt="2024-03-20T15:34:15.104" v="647" actId="1076"/>
          <ac:spMkLst>
            <pc:docMk/>
            <pc:sldMk cId="2801638841" sldId="2147480120"/>
            <ac:spMk id="20" creationId="{A6CE2B40-6661-D9FD-362E-58C38727DCF2}"/>
          </ac:spMkLst>
        </pc:spChg>
        <pc:spChg chg="mod">
          <ac:chgData name="Karmakar, Sumit" userId="S::skarmakar@elogex.com::5d020034-ff2c-4e7e-8d00-e94708d613b2" providerId="AD" clId="Web-{B191D0E2-55DB-8537-B5C3-C3C98E754B7A}" dt="2024-03-20T15:34:15.151" v="648" actId="1076"/>
          <ac:spMkLst>
            <pc:docMk/>
            <pc:sldMk cId="2801638841" sldId="2147480120"/>
            <ac:spMk id="21" creationId="{674277F3-C042-22B9-1C33-4BEEB500FE9D}"/>
          </ac:spMkLst>
        </pc:spChg>
        <pc:spChg chg="mod">
          <ac:chgData name="Karmakar, Sumit" userId="S::skarmakar@elogex.com::5d020034-ff2c-4e7e-8d00-e94708d613b2" providerId="AD" clId="Web-{B191D0E2-55DB-8537-B5C3-C3C98E754B7A}" dt="2024-03-20T15:34:15.197" v="649" actId="1076"/>
          <ac:spMkLst>
            <pc:docMk/>
            <pc:sldMk cId="2801638841" sldId="2147480120"/>
            <ac:spMk id="22" creationId="{EE65AA3E-1D2C-06EC-6222-393E1D64B3E0}"/>
          </ac:spMkLst>
        </pc:spChg>
        <pc:spChg chg="mod">
          <ac:chgData name="Karmakar, Sumit" userId="S::skarmakar@elogex.com::5d020034-ff2c-4e7e-8d00-e94708d613b2" providerId="AD" clId="Web-{B191D0E2-55DB-8537-B5C3-C3C98E754B7A}" dt="2024-03-20T15:34:15.354" v="650" actId="1076"/>
          <ac:spMkLst>
            <pc:docMk/>
            <pc:sldMk cId="2801638841" sldId="2147480120"/>
            <ac:spMk id="23" creationId="{31CC89F3-EB2C-B655-7F42-FE691354439C}"/>
          </ac:spMkLst>
        </pc:spChg>
        <pc:spChg chg="mod">
          <ac:chgData name="Karmakar, Sumit" userId="S::skarmakar@elogex.com::5d020034-ff2c-4e7e-8d00-e94708d613b2" providerId="AD" clId="Web-{B191D0E2-55DB-8537-B5C3-C3C98E754B7A}" dt="2024-03-20T15:34:15.572" v="651" actId="1076"/>
          <ac:spMkLst>
            <pc:docMk/>
            <pc:sldMk cId="2801638841" sldId="2147480120"/>
            <ac:spMk id="24" creationId="{E851DD55-8C84-B0EF-B66C-453A4C2C0326}"/>
          </ac:spMkLst>
        </pc:spChg>
        <pc:spChg chg="mod">
          <ac:chgData name="Karmakar, Sumit" userId="S::skarmakar@elogex.com::5d020034-ff2c-4e7e-8d00-e94708d613b2" providerId="AD" clId="Web-{B191D0E2-55DB-8537-B5C3-C3C98E754B7A}" dt="2024-03-20T15:34:15.916" v="656" actId="1076"/>
          <ac:spMkLst>
            <pc:docMk/>
            <pc:sldMk cId="2801638841" sldId="2147480120"/>
            <ac:spMk id="37" creationId="{C5FB6E55-1B8E-6DE2-30C2-9EE8DAED77F3}"/>
          </ac:spMkLst>
        </pc:spChg>
        <pc:spChg chg="mod">
          <ac:chgData name="Karmakar, Sumit" userId="S::skarmakar@elogex.com::5d020034-ff2c-4e7e-8d00-e94708d613b2" providerId="AD" clId="Web-{B191D0E2-55DB-8537-B5C3-C3C98E754B7A}" dt="2024-03-20T15:34:16.135" v="657" actId="1076"/>
          <ac:spMkLst>
            <pc:docMk/>
            <pc:sldMk cId="2801638841" sldId="2147480120"/>
            <ac:spMk id="38" creationId="{11D1149B-6BB8-E5C3-36AD-14B387877A62}"/>
          </ac:spMkLst>
        </pc:spChg>
        <pc:spChg chg="mod">
          <ac:chgData name="Karmakar, Sumit" userId="S::skarmakar@elogex.com::5d020034-ff2c-4e7e-8d00-e94708d613b2" providerId="AD" clId="Web-{B191D0E2-55DB-8537-B5C3-C3C98E754B7A}" dt="2024-03-20T15:34:16.416" v="660" actId="1076"/>
          <ac:spMkLst>
            <pc:docMk/>
            <pc:sldMk cId="2801638841" sldId="2147480120"/>
            <ac:spMk id="43" creationId="{CEC9A718-A993-FDB7-72C0-2A235CC11330}"/>
          </ac:spMkLst>
        </pc:spChg>
        <pc:spChg chg="mod">
          <ac:chgData name="Karmakar, Sumit" userId="S::skarmakar@elogex.com::5d020034-ff2c-4e7e-8d00-e94708d613b2" providerId="AD" clId="Web-{B191D0E2-55DB-8537-B5C3-C3C98E754B7A}" dt="2024-03-20T15:34:16.526" v="661" actId="1076"/>
          <ac:spMkLst>
            <pc:docMk/>
            <pc:sldMk cId="2801638841" sldId="2147480120"/>
            <ac:spMk id="44" creationId="{AC458972-9D28-948A-0351-870DDCBBF36F}"/>
          </ac:spMkLst>
        </pc:spChg>
        <pc:spChg chg="mod">
          <ac:chgData name="Karmakar, Sumit" userId="S::skarmakar@elogex.com::5d020034-ff2c-4e7e-8d00-e94708d613b2" providerId="AD" clId="Web-{B191D0E2-55DB-8537-B5C3-C3C98E754B7A}" dt="2024-03-20T15:34:14.526" v="641" actId="1076"/>
          <ac:spMkLst>
            <pc:docMk/>
            <pc:sldMk cId="2801638841" sldId="2147480120"/>
            <ac:spMk id="53" creationId="{21CDA126-CE71-8226-A1C3-4B3F2C86924E}"/>
          </ac:spMkLst>
        </pc:spChg>
        <pc:spChg chg="mod">
          <ac:chgData name="Karmakar, Sumit" userId="S::skarmakar@elogex.com::5d020034-ff2c-4e7e-8d00-e94708d613b2" providerId="AD" clId="Web-{B191D0E2-55DB-8537-B5C3-C3C98E754B7A}" dt="2024-03-20T15:34:16.886" v="665" actId="1076"/>
          <ac:spMkLst>
            <pc:docMk/>
            <pc:sldMk cId="2801638841" sldId="2147480120"/>
            <ac:spMk id="61" creationId="{69290EC0-DD63-9CD7-BE84-7E3D85C38158}"/>
          </ac:spMkLst>
        </pc:spChg>
        <pc:spChg chg="mod">
          <ac:chgData name="Karmakar, Sumit" userId="S::skarmakar@elogex.com::5d020034-ff2c-4e7e-8d00-e94708d613b2" providerId="AD" clId="Web-{B191D0E2-55DB-8537-B5C3-C3C98E754B7A}" dt="2024-03-20T15:34:17.026" v="666" actId="1076"/>
          <ac:spMkLst>
            <pc:docMk/>
            <pc:sldMk cId="2801638841" sldId="2147480120"/>
            <ac:spMk id="62" creationId="{D0298E2B-0E7B-38AA-DFAA-A6320C4591C2}"/>
          </ac:spMkLst>
        </pc:spChg>
        <pc:spChg chg="mod">
          <ac:chgData name="Karmakar, Sumit" userId="S::skarmakar@elogex.com::5d020034-ff2c-4e7e-8d00-e94708d613b2" providerId="AD" clId="Web-{B191D0E2-55DB-8537-B5C3-C3C98E754B7A}" dt="2024-03-20T15:34:17.198" v="667" actId="1076"/>
          <ac:spMkLst>
            <pc:docMk/>
            <pc:sldMk cId="2801638841" sldId="2147480120"/>
            <ac:spMk id="63" creationId="{23D662CA-FC75-AE3B-81F9-620F85D254AD}"/>
          </ac:spMkLst>
        </pc:spChg>
        <pc:spChg chg="mod">
          <ac:chgData name="Karmakar, Sumit" userId="S::skarmakar@elogex.com::5d020034-ff2c-4e7e-8d00-e94708d613b2" providerId="AD" clId="Web-{B191D0E2-55DB-8537-B5C3-C3C98E754B7A}" dt="2024-03-20T15:34:17.463" v="671" actId="1076"/>
          <ac:spMkLst>
            <pc:docMk/>
            <pc:sldMk cId="2801638841" sldId="2147480120"/>
            <ac:spMk id="79" creationId="{2EAD56B9-8A7E-BF47-79F2-AB010E670D57}"/>
          </ac:spMkLst>
        </pc:spChg>
        <pc:spChg chg="mod">
          <ac:chgData name="Karmakar, Sumit" userId="S::skarmakar@elogex.com::5d020034-ff2c-4e7e-8d00-e94708d613b2" providerId="AD" clId="Web-{B191D0E2-55DB-8537-B5C3-C3C98E754B7A}" dt="2024-03-20T15:34:17.667" v="673" actId="1076"/>
          <ac:spMkLst>
            <pc:docMk/>
            <pc:sldMk cId="2801638841" sldId="2147480120"/>
            <ac:spMk id="87" creationId="{1FB4989B-574E-6579-DCEB-CFAEB695FA67}"/>
          </ac:spMkLst>
        </pc:spChg>
        <pc:spChg chg="mod">
          <ac:chgData name="Karmakar, Sumit" userId="S::skarmakar@elogex.com::5d020034-ff2c-4e7e-8d00-e94708d613b2" providerId="AD" clId="Web-{B191D0E2-55DB-8537-B5C3-C3C98E754B7A}" dt="2024-03-20T15:34:17.776" v="674" actId="1076"/>
          <ac:spMkLst>
            <pc:docMk/>
            <pc:sldMk cId="2801638841" sldId="2147480120"/>
            <ac:spMk id="88" creationId="{E512E3A1-739B-2C3B-D1A1-632729E3975A}"/>
          </ac:spMkLst>
        </pc:spChg>
        <pc:spChg chg="mod">
          <ac:chgData name="Karmakar, Sumit" userId="S::skarmakar@elogex.com::5d020034-ff2c-4e7e-8d00-e94708d613b2" providerId="AD" clId="Web-{B191D0E2-55DB-8537-B5C3-C3C98E754B7A}" dt="2024-03-20T15:34:17.963" v="677" actId="1076"/>
          <ac:spMkLst>
            <pc:docMk/>
            <pc:sldMk cId="2801638841" sldId="2147480120"/>
            <ac:spMk id="101" creationId="{BB9A562E-288C-E586-8EA9-71A20451A5CA}"/>
          </ac:spMkLst>
        </pc:spChg>
        <pc:spChg chg="mod">
          <ac:chgData name="Karmakar, Sumit" userId="S::skarmakar@elogex.com::5d020034-ff2c-4e7e-8d00-e94708d613b2" providerId="AD" clId="Web-{B191D0E2-55DB-8537-B5C3-C3C98E754B7A}" dt="2024-03-20T15:34:18.026" v="678" actId="1076"/>
          <ac:spMkLst>
            <pc:docMk/>
            <pc:sldMk cId="2801638841" sldId="2147480120"/>
            <ac:spMk id="102" creationId="{6CD56641-AAC3-800F-86EB-1C5A6FC80FF4}"/>
          </ac:spMkLst>
        </pc:spChg>
        <pc:spChg chg="mod">
          <ac:chgData name="Karmakar, Sumit" userId="S::skarmakar@elogex.com::5d020034-ff2c-4e7e-8d00-e94708d613b2" providerId="AD" clId="Web-{B191D0E2-55DB-8537-B5C3-C3C98E754B7A}" dt="2024-03-20T15:34:18.104" v="679" actId="1076"/>
          <ac:spMkLst>
            <pc:docMk/>
            <pc:sldMk cId="2801638841" sldId="2147480120"/>
            <ac:spMk id="103" creationId="{2736B58A-9EC5-8159-6DCD-C1400851552F}"/>
          </ac:spMkLst>
        </pc:spChg>
        <pc:spChg chg="mod">
          <ac:chgData name="Karmakar, Sumit" userId="S::skarmakar@elogex.com::5d020034-ff2c-4e7e-8d00-e94708d613b2" providerId="AD" clId="Web-{B191D0E2-55DB-8537-B5C3-C3C98E754B7A}" dt="2024-03-20T15:34:18.151" v="680" actId="1076"/>
          <ac:spMkLst>
            <pc:docMk/>
            <pc:sldMk cId="2801638841" sldId="2147480120"/>
            <ac:spMk id="107" creationId="{E74B5A5C-6896-645E-557D-4823CBB26C7A}"/>
          </ac:spMkLst>
        </pc:spChg>
        <pc:spChg chg="mod">
          <ac:chgData name="Karmakar, Sumit" userId="S::skarmakar@elogex.com::5d020034-ff2c-4e7e-8d00-e94708d613b2" providerId="AD" clId="Web-{B191D0E2-55DB-8537-B5C3-C3C98E754B7A}" dt="2024-03-20T15:34:18.213" v="681" actId="1076"/>
          <ac:spMkLst>
            <pc:docMk/>
            <pc:sldMk cId="2801638841" sldId="2147480120"/>
            <ac:spMk id="108" creationId="{8273D790-5762-4ECC-8068-40E72BEECADE}"/>
          </ac:spMkLst>
        </pc:spChg>
        <pc:spChg chg="mod">
          <ac:chgData name="Karmakar, Sumit" userId="S::skarmakar@elogex.com::5d020034-ff2c-4e7e-8d00-e94708d613b2" providerId="AD" clId="Web-{B191D0E2-55DB-8537-B5C3-C3C98E754B7A}" dt="2024-03-20T15:34:18.260" v="682" actId="1076"/>
          <ac:spMkLst>
            <pc:docMk/>
            <pc:sldMk cId="2801638841" sldId="2147480120"/>
            <ac:spMk id="109" creationId="{0371E441-B796-4E41-3FB1-8A2EDFCEFF78}"/>
          </ac:spMkLst>
        </pc:spChg>
        <pc:spChg chg="mod">
          <ac:chgData name="Karmakar, Sumit" userId="S::skarmakar@elogex.com::5d020034-ff2c-4e7e-8d00-e94708d613b2" providerId="AD" clId="Web-{B191D0E2-55DB-8537-B5C3-C3C98E754B7A}" dt="2024-03-20T15:34:18.310" v="683" actId="1076"/>
          <ac:spMkLst>
            <pc:docMk/>
            <pc:sldMk cId="2801638841" sldId="2147480120"/>
            <ac:spMk id="110" creationId="{E368AEDF-6EF1-0A5D-939F-C1948E929006}"/>
          </ac:spMkLst>
        </pc:spChg>
        <pc:spChg chg="mod">
          <ac:chgData name="Karmakar, Sumit" userId="S::skarmakar@elogex.com::5d020034-ff2c-4e7e-8d00-e94708d613b2" providerId="AD" clId="Web-{B191D0E2-55DB-8537-B5C3-C3C98E754B7A}" dt="2024-03-20T15:34:18.369" v="684" actId="1076"/>
          <ac:spMkLst>
            <pc:docMk/>
            <pc:sldMk cId="2801638841" sldId="2147480120"/>
            <ac:spMk id="111" creationId="{C452A4ED-7FCE-7BEC-F2DC-6BC9C92512EE}"/>
          </ac:spMkLst>
        </pc:spChg>
        <pc:spChg chg="mod">
          <ac:chgData name="Karmakar, Sumit" userId="S::skarmakar@elogex.com::5d020034-ff2c-4e7e-8d00-e94708d613b2" providerId="AD" clId="Web-{B191D0E2-55DB-8537-B5C3-C3C98E754B7A}" dt="2024-03-20T15:34:18.433" v="685" actId="1076"/>
          <ac:spMkLst>
            <pc:docMk/>
            <pc:sldMk cId="2801638841" sldId="2147480120"/>
            <ac:spMk id="112" creationId="{2F1298B4-CB41-4B91-7B66-093629709E8C}"/>
          </ac:spMkLst>
        </pc:spChg>
        <pc:spChg chg="mod">
          <ac:chgData name="Karmakar, Sumit" userId="S::skarmakar@elogex.com::5d020034-ff2c-4e7e-8d00-e94708d613b2" providerId="AD" clId="Web-{B191D0E2-55DB-8537-B5C3-C3C98E754B7A}" dt="2024-03-20T15:34:18.494" v="686" actId="1076"/>
          <ac:spMkLst>
            <pc:docMk/>
            <pc:sldMk cId="2801638841" sldId="2147480120"/>
            <ac:spMk id="113" creationId="{568625C4-9098-C4EC-7E3F-984445F4C60F}"/>
          </ac:spMkLst>
        </pc:spChg>
        <pc:cxnChg chg="mod">
          <ac:chgData name="Karmakar, Sumit" userId="S::skarmakar@elogex.com::5d020034-ff2c-4e7e-8d00-e94708d613b2" providerId="AD" clId="Web-{B191D0E2-55DB-8537-B5C3-C3C98E754B7A}" dt="2024-03-20T15:34:15.651" v="652" actId="1076"/>
          <ac:cxnSpMkLst>
            <pc:docMk/>
            <pc:sldMk cId="2801638841" sldId="2147480120"/>
            <ac:cxnSpMk id="26" creationId="{E5D15895-2EB3-A137-3BCA-EF18D07BDD9D}"/>
          </ac:cxnSpMkLst>
        </pc:cxnChg>
        <pc:cxnChg chg="mod">
          <ac:chgData name="Karmakar, Sumit" userId="S::skarmakar@elogex.com::5d020034-ff2c-4e7e-8d00-e94708d613b2" providerId="AD" clId="Web-{B191D0E2-55DB-8537-B5C3-C3C98E754B7A}" dt="2024-03-20T15:34:15.729" v="653" actId="1076"/>
          <ac:cxnSpMkLst>
            <pc:docMk/>
            <pc:sldMk cId="2801638841" sldId="2147480120"/>
            <ac:cxnSpMk id="27" creationId="{0BA0F07B-2033-D99C-8546-D403CA00FE1C}"/>
          </ac:cxnSpMkLst>
        </pc:cxnChg>
        <pc:cxnChg chg="mod">
          <ac:chgData name="Karmakar, Sumit" userId="S::skarmakar@elogex.com::5d020034-ff2c-4e7e-8d00-e94708d613b2" providerId="AD" clId="Web-{B191D0E2-55DB-8537-B5C3-C3C98E754B7A}" dt="2024-03-20T15:34:15.791" v="654" actId="1076"/>
          <ac:cxnSpMkLst>
            <pc:docMk/>
            <pc:sldMk cId="2801638841" sldId="2147480120"/>
            <ac:cxnSpMk id="30" creationId="{30E0BCF3-E935-B96A-404E-CDE487B4350E}"/>
          </ac:cxnSpMkLst>
        </pc:cxnChg>
        <pc:cxnChg chg="mod">
          <ac:chgData name="Karmakar, Sumit" userId="S::skarmakar@elogex.com::5d020034-ff2c-4e7e-8d00-e94708d613b2" providerId="AD" clId="Web-{B191D0E2-55DB-8537-B5C3-C3C98E754B7A}" dt="2024-03-20T15:34:15.854" v="655" actId="1076"/>
          <ac:cxnSpMkLst>
            <pc:docMk/>
            <pc:sldMk cId="2801638841" sldId="2147480120"/>
            <ac:cxnSpMk id="34" creationId="{C0036012-5DDB-CDC4-C88D-51F48935827F}"/>
          </ac:cxnSpMkLst>
        </pc:cxnChg>
        <pc:cxnChg chg="mod">
          <ac:chgData name="Karmakar, Sumit" userId="S::skarmakar@elogex.com::5d020034-ff2c-4e7e-8d00-e94708d613b2" providerId="AD" clId="Web-{B191D0E2-55DB-8537-B5C3-C3C98E754B7A}" dt="2024-03-20T15:34:16.213" v="658" actId="1076"/>
          <ac:cxnSpMkLst>
            <pc:docMk/>
            <pc:sldMk cId="2801638841" sldId="2147480120"/>
            <ac:cxnSpMk id="39" creationId="{6A4AFD20-F302-BB91-3EC4-7A628A938F0C}"/>
          </ac:cxnSpMkLst>
        </pc:cxnChg>
        <pc:cxnChg chg="mod">
          <ac:chgData name="Karmakar, Sumit" userId="S::skarmakar@elogex.com::5d020034-ff2c-4e7e-8d00-e94708d613b2" providerId="AD" clId="Web-{B191D0E2-55DB-8537-B5C3-C3C98E754B7A}" dt="2024-03-20T15:34:16.276" v="659" actId="1076"/>
          <ac:cxnSpMkLst>
            <pc:docMk/>
            <pc:sldMk cId="2801638841" sldId="2147480120"/>
            <ac:cxnSpMk id="42" creationId="{38EF021E-5BF3-06FF-8386-901D5D663D75}"/>
          </ac:cxnSpMkLst>
        </pc:cxnChg>
        <pc:cxnChg chg="mod">
          <ac:chgData name="Karmakar, Sumit" userId="S::skarmakar@elogex.com::5d020034-ff2c-4e7e-8d00-e94708d613b2" providerId="AD" clId="Web-{B191D0E2-55DB-8537-B5C3-C3C98E754B7A}" dt="2024-03-20T15:34:16.557" v="662" actId="1076"/>
          <ac:cxnSpMkLst>
            <pc:docMk/>
            <pc:sldMk cId="2801638841" sldId="2147480120"/>
            <ac:cxnSpMk id="47" creationId="{5B9437E2-8384-4D33-6517-44872F062E9A}"/>
          </ac:cxnSpMkLst>
        </pc:cxnChg>
        <pc:cxnChg chg="mod">
          <ac:chgData name="Karmakar, Sumit" userId="S::skarmakar@elogex.com::5d020034-ff2c-4e7e-8d00-e94708d613b2" providerId="AD" clId="Web-{B191D0E2-55DB-8537-B5C3-C3C98E754B7A}" dt="2024-03-20T15:34:16.604" v="663" actId="1076"/>
          <ac:cxnSpMkLst>
            <pc:docMk/>
            <pc:sldMk cId="2801638841" sldId="2147480120"/>
            <ac:cxnSpMk id="50" creationId="{3A5DFC1D-5241-2A5B-2763-07330303F70D}"/>
          </ac:cxnSpMkLst>
        </pc:cxnChg>
        <pc:cxnChg chg="mod">
          <ac:chgData name="Karmakar, Sumit" userId="S::skarmakar@elogex.com::5d020034-ff2c-4e7e-8d00-e94708d613b2" providerId="AD" clId="Web-{B191D0E2-55DB-8537-B5C3-C3C98E754B7A}" dt="2024-03-20T15:34:16.682" v="664" actId="1076"/>
          <ac:cxnSpMkLst>
            <pc:docMk/>
            <pc:sldMk cId="2801638841" sldId="2147480120"/>
            <ac:cxnSpMk id="54" creationId="{C715A097-43BA-78C7-EB85-D60AE8341F32}"/>
          </ac:cxnSpMkLst>
        </pc:cxnChg>
        <pc:cxnChg chg="mod">
          <ac:chgData name="Karmakar, Sumit" userId="S::skarmakar@elogex.com::5d020034-ff2c-4e7e-8d00-e94708d613b2" providerId="AD" clId="Web-{B191D0E2-55DB-8537-B5C3-C3C98E754B7A}" dt="2024-03-20T15:34:17.260" v="668" actId="1076"/>
          <ac:cxnSpMkLst>
            <pc:docMk/>
            <pc:sldMk cId="2801638841" sldId="2147480120"/>
            <ac:cxnSpMk id="64" creationId="{FB414208-2974-6A2C-EA4A-E3342514DF74}"/>
          </ac:cxnSpMkLst>
        </pc:cxnChg>
        <pc:cxnChg chg="mod">
          <ac:chgData name="Karmakar, Sumit" userId="S::skarmakar@elogex.com::5d020034-ff2c-4e7e-8d00-e94708d613b2" providerId="AD" clId="Web-{B191D0E2-55DB-8537-B5C3-C3C98E754B7A}" dt="2024-03-20T15:34:17.307" v="669" actId="1076"/>
          <ac:cxnSpMkLst>
            <pc:docMk/>
            <pc:sldMk cId="2801638841" sldId="2147480120"/>
            <ac:cxnSpMk id="67" creationId="{F1C3D8F2-7512-CCFB-3C2C-64562F861106}"/>
          </ac:cxnSpMkLst>
        </pc:cxnChg>
        <pc:cxnChg chg="mod">
          <ac:chgData name="Karmakar, Sumit" userId="S::skarmakar@elogex.com::5d020034-ff2c-4e7e-8d00-e94708d613b2" providerId="AD" clId="Web-{B191D0E2-55DB-8537-B5C3-C3C98E754B7A}" dt="2024-03-20T15:34:17.354" v="670" actId="1076"/>
          <ac:cxnSpMkLst>
            <pc:docMk/>
            <pc:sldMk cId="2801638841" sldId="2147480120"/>
            <ac:cxnSpMk id="73" creationId="{EAFD2E44-CD48-6AD2-93DF-DA8B91E8913C}"/>
          </ac:cxnSpMkLst>
        </pc:cxnChg>
        <pc:cxnChg chg="mod">
          <ac:chgData name="Karmakar, Sumit" userId="S::skarmakar@elogex.com::5d020034-ff2c-4e7e-8d00-e94708d613b2" providerId="AD" clId="Web-{B191D0E2-55DB-8537-B5C3-C3C98E754B7A}" dt="2024-03-20T15:34:17.526" v="672" actId="1076"/>
          <ac:cxnSpMkLst>
            <pc:docMk/>
            <pc:sldMk cId="2801638841" sldId="2147480120"/>
            <ac:cxnSpMk id="80" creationId="{D4556A28-0806-BC88-34CA-00144D2586E1}"/>
          </ac:cxnSpMkLst>
        </pc:cxnChg>
        <pc:cxnChg chg="mod">
          <ac:chgData name="Karmakar, Sumit" userId="S::skarmakar@elogex.com::5d020034-ff2c-4e7e-8d00-e94708d613b2" providerId="AD" clId="Web-{B191D0E2-55DB-8537-B5C3-C3C98E754B7A}" dt="2024-03-20T15:34:17.838" v="675" actId="1076"/>
          <ac:cxnSpMkLst>
            <pc:docMk/>
            <pc:sldMk cId="2801638841" sldId="2147480120"/>
            <ac:cxnSpMk id="89" creationId="{7EF07E63-BDB2-02E4-F0B2-4241E4634C01}"/>
          </ac:cxnSpMkLst>
        </pc:cxnChg>
        <pc:cxnChg chg="mod">
          <ac:chgData name="Karmakar, Sumit" userId="S::skarmakar@elogex.com::5d020034-ff2c-4e7e-8d00-e94708d613b2" providerId="AD" clId="Web-{B191D0E2-55DB-8537-B5C3-C3C98E754B7A}" dt="2024-03-20T15:34:17.901" v="676" actId="1076"/>
          <ac:cxnSpMkLst>
            <pc:docMk/>
            <pc:sldMk cId="2801638841" sldId="2147480120"/>
            <ac:cxnSpMk id="92" creationId="{707960CB-CA74-A428-BFAF-C2F279389F5D}"/>
          </ac:cxnSpMkLst>
        </pc:cxnChg>
      </pc:sldChg>
      <pc:sldChg chg="add replId">
        <pc:chgData name="Karmakar, Sumit" userId="S::skarmakar@elogex.com::5d020034-ff2c-4e7e-8d00-e94708d613b2" providerId="AD" clId="Web-{B191D0E2-55DB-8537-B5C3-C3C98E754B7A}" dt="2024-03-20T15:15:32.358" v="276"/>
        <pc:sldMkLst>
          <pc:docMk/>
          <pc:sldMk cId="2273137630" sldId="2147480121"/>
        </pc:sldMkLst>
      </pc:sldChg>
      <pc:sldChg chg="add replId">
        <pc:chgData name="Karmakar, Sumit" userId="S::skarmakar@elogex.com::5d020034-ff2c-4e7e-8d00-e94708d613b2" providerId="AD" clId="Web-{B191D0E2-55DB-8537-B5C3-C3C98E754B7A}" dt="2024-03-20T15:17:43.113" v="342"/>
        <pc:sldMkLst>
          <pc:docMk/>
          <pc:sldMk cId="1903693486" sldId="2147480122"/>
        </pc:sldMkLst>
      </pc:sldChg>
    </pc:docChg>
  </pc:docChgLst>
  <pc:docChgLst>
    <pc:chgData name="Karmakar, Sumit" userId="S::skarmakar@elogex.com::5d020034-ff2c-4e7e-8d00-e94708d613b2" providerId="AD" clId="Web-{D7443793-8427-3F3E-653B-7366D7A13822}"/>
    <pc:docChg chg="modSld">
      <pc:chgData name="Karmakar, Sumit" userId="S::skarmakar@elogex.com::5d020034-ff2c-4e7e-8d00-e94708d613b2" providerId="AD" clId="Web-{D7443793-8427-3F3E-653B-7366D7A13822}" dt="2024-03-26T12:50:15.250" v="0"/>
      <pc:docMkLst>
        <pc:docMk/>
      </pc:docMkLst>
      <pc:sldChg chg="delSp">
        <pc:chgData name="Karmakar, Sumit" userId="S::skarmakar@elogex.com::5d020034-ff2c-4e7e-8d00-e94708d613b2" providerId="AD" clId="Web-{D7443793-8427-3F3E-653B-7366D7A13822}" dt="2024-03-26T12:50:15.250" v="0"/>
        <pc:sldMkLst>
          <pc:docMk/>
          <pc:sldMk cId="3006918676" sldId="2147480124"/>
        </pc:sldMkLst>
        <pc:picChg chg="del">
          <ac:chgData name="Karmakar, Sumit" userId="S::skarmakar@elogex.com::5d020034-ff2c-4e7e-8d00-e94708d613b2" providerId="AD" clId="Web-{D7443793-8427-3F3E-653B-7366D7A13822}" dt="2024-03-26T12:50:15.250" v="0"/>
          <ac:picMkLst>
            <pc:docMk/>
            <pc:sldMk cId="3006918676" sldId="2147480124"/>
            <ac:picMk id="5" creationId="{DEB90E75-5841-C927-62E0-C1A8FF2DB906}"/>
          </ac:picMkLst>
        </pc:picChg>
      </pc:sldChg>
    </pc:docChg>
  </pc:docChgLst>
  <pc:docChgLst>
    <pc:chgData name="Karmakar, Sumit" userId="S::skarmakar@elogex.com::5d020034-ff2c-4e7e-8d00-e94708d613b2" providerId="AD" clId="Web-{8EFC3125-F6C5-F0BB-0617-76E504AB0911}"/>
    <pc:docChg chg="modSld">
      <pc:chgData name="Karmakar, Sumit" userId="S::skarmakar@elogex.com::5d020034-ff2c-4e7e-8d00-e94708d613b2" providerId="AD" clId="Web-{8EFC3125-F6C5-F0BB-0617-76E504AB0911}" dt="2024-04-03T14:59:11.216" v="9" actId="14100"/>
      <pc:docMkLst>
        <pc:docMk/>
      </pc:docMkLst>
      <pc:sldChg chg="addSp modSp">
        <pc:chgData name="Karmakar, Sumit" userId="S::skarmakar@elogex.com::5d020034-ff2c-4e7e-8d00-e94708d613b2" providerId="AD" clId="Web-{8EFC3125-F6C5-F0BB-0617-76E504AB0911}" dt="2024-04-03T14:59:11.216" v="9" actId="14100"/>
        <pc:sldMkLst>
          <pc:docMk/>
          <pc:sldMk cId="50788646" sldId="2147480107"/>
        </pc:sldMkLst>
        <pc:spChg chg="mod">
          <ac:chgData name="Karmakar, Sumit" userId="S::skarmakar@elogex.com::5d020034-ff2c-4e7e-8d00-e94708d613b2" providerId="AD" clId="Web-{8EFC3125-F6C5-F0BB-0617-76E504AB0911}" dt="2024-04-03T14:58:49.309" v="7" actId="14100"/>
          <ac:spMkLst>
            <pc:docMk/>
            <pc:sldMk cId="50788646" sldId="2147480107"/>
            <ac:spMk id="15" creationId="{1F7BCB79-682D-216B-E063-16CE18D59036}"/>
          </ac:spMkLst>
        </pc:spChg>
        <pc:picChg chg="add mod">
          <ac:chgData name="Karmakar, Sumit" userId="S::skarmakar@elogex.com::5d020034-ff2c-4e7e-8d00-e94708d613b2" providerId="AD" clId="Web-{8EFC3125-F6C5-F0BB-0617-76E504AB0911}" dt="2024-04-03T14:59:11.216" v="9" actId="14100"/>
          <ac:picMkLst>
            <pc:docMk/>
            <pc:sldMk cId="50788646" sldId="2147480107"/>
            <ac:picMk id="2" creationId="{448AA61F-E68E-202F-9DB9-2C483B4868DA}"/>
          </ac:picMkLst>
        </pc:picChg>
      </pc:sldChg>
    </pc:docChg>
  </pc:docChgLst>
  <pc:docChgLst>
    <pc:chgData name="LeMons, Daniel" userId="S::dlemons@elogex.com::65097b81-23d4-411d-8a8e-a78030669d81" providerId="AD" clId="Web-{4AE49ED7-B3AC-00D0-BD47-3C1876B6DBC5}"/>
    <pc:docChg chg="addSld delSld modSld modSection">
      <pc:chgData name="LeMons, Daniel" userId="S::dlemons@elogex.com::65097b81-23d4-411d-8a8e-a78030669d81" providerId="AD" clId="Web-{4AE49ED7-B3AC-00D0-BD47-3C1876B6DBC5}" dt="2024-04-01T13:31:50.763" v="12"/>
      <pc:docMkLst>
        <pc:docMk/>
      </pc:docMkLst>
      <pc:sldChg chg="addSp delSp modSp del">
        <pc:chgData name="LeMons, Daniel" userId="S::dlemons@elogex.com::65097b81-23d4-411d-8a8e-a78030669d81" providerId="AD" clId="Web-{4AE49ED7-B3AC-00D0-BD47-3C1876B6DBC5}" dt="2024-04-01T13:31:50.763" v="12"/>
        <pc:sldMkLst>
          <pc:docMk/>
          <pc:sldMk cId="452994539" sldId="2147480130"/>
        </pc:sldMkLst>
        <pc:picChg chg="add del mod">
          <ac:chgData name="LeMons, Daniel" userId="S::dlemons@elogex.com::65097b81-23d4-411d-8a8e-a78030669d81" providerId="AD" clId="Web-{4AE49ED7-B3AC-00D0-BD47-3C1876B6DBC5}" dt="2024-04-01T13:24:44.435" v="8"/>
          <ac:picMkLst>
            <pc:docMk/>
            <pc:sldMk cId="452994539" sldId="2147480130"/>
            <ac:picMk id="6" creationId="{754031C7-EF94-C1F5-C2A6-83AB98875ED7}"/>
          </ac:picMkLst>
        </pc:picChg>
        <pc:picChg chg="add del mod">
          <ac:chgData name="LeMons, Daniel" userId="S::dlemons@elogex.com::65097b81-23d4-411d-8a8e-a78030669d81" providerId="AD" clId="Web-{4AE49ED7-B3AC-00D0-BD47-3C1876B6DBC5}" dt="2024-04-01T13:25:07.045" v="10"/>
          <ac:picMkLst>
            <pc:docMk/>
            <pc:sldMk cId="452994539" sldId="2147480130"/>
            <ac:picMk id="12" creationId="{0C0AD391-EEA3-646B-2461-98BC3D1D3563}"/>
          </ac:picMkLst>
        </pc:picChg>
        <pc:picChg chg="mod">
          <ac:chgData name="LeMons, Daniel" userId="S::dlemons@elogex.com::65097b81-23d4-411d-8a8e-a78030669d81" providerId="AD" clId="Web-{4AE49ED7-B3AC-00D0-BD47-3C1876B6DBC5}" dt="2024-04-01T13:24:34.388" v="6" actId="14100"/>
          <ac:picMkLst>
            <pc:docMk/>
            <pc:sldMk cId="452994539" sldId="2147480130"/>
            <ac:picMk id="33" creationId="{CCCEEF42-824C-91BC-C8FA-A3CE14B23C9E}"/>
          </ac:picMkLst>
        </pc:picChg>
      </pc:sldChg>
      <pc:sldChg chg="add">
        <pc:chgData name="LeMons, Daniel" userId="S::dlemons@elogex.com::65097b81-23d4-411d-8a8e-a78030669d81" providerId="AD" clId="Web-{4AE49ED7-B3AC-00D0-BD47-3C1876B6DBC5}" dt="2024-04-01T13:31:42.919" v="11"/>
        <pc:sldMkLst>
          <pc:docMk/>
          <pc:sldMk cId="568719796" sldId="2147480141"/>
        </pc:sldMkLst>
      </pc:sldChg>
    </pc:docChg>
  </pc:docChgLst>
  <pc:docChgLst>
    <pc:chgData name="Howell, Alexandra" userId="S::ahowell@elogex.com::b24ac530-baea-4066-a1a8-5a645cdd3eb4" providerId="AD" clId="Web-{0BB43854-1082-E041-091C-FDEC7BAEBE60}"/>
    <pc:docChg chg="modSld sldOrd">
      <pc:chgData name="Howell, Alexandra" userId="S::ahowell@elogex.com::b24ac530-baea-4066-a1a8-5a645cdd3eb4" providerId="AD" clId="Web-{0BB43854-1082-E041-091C-FDEC7BAEBE60}" dt="2024-03-12T18:10:02.808" v="2"/>
      <pc:docMkLst>
        <pc:docMk/>
      </pc:docMkLst>
      <pc:sldChg chg="addSp modSp ord">
        <pc:chgData name="Howell, Alexandra" userId="S::ahowell@elogex.com::b24ac530-baea-4066-a1a8-5a645cdd3eb4" providerId="AD" clId="Web-{0BB43854-1082-E041-091C-FDEC7BAEBE60}" dt="2024-03-12T18:10:02.808" v="2"/>
        <pc:sldMkLst>
          <pc:docMk/>
          <pc:sldMk cId="295364091" sldId="2147480099"/>
        </pc:sldMkLst>
        <pc:picChg chg="add mod">
          <ac:chgData name="Howell, Alexandra" userId="S::ahowell@elogex.com::b24ac530-baea-4066-a1a8-5a645cdd3eb4" providerId="AD" clId="Web-{0BB43854-1082-E041-091C-FDEC7BAEBE60}" dt="2024-03-12T18:09:47.152" v="0"/>
          <ac:picMkLst>
            <pc:docMk/>
            <pc:sldMk cId="295364091" sldId="2147480099"/>
            <ac:picMk id="4" creationId="{90C673DC-B3AC-7734-5BCA-24B72B637BC9}"/>
          </ac:picMkLst>
        </pc:picChg>
        <pc:picChg chg="add mod">
          <ac:chgData name="Howell, Alexandra" userId="S::ahowell@elogex.com::b24ac530-baea-4066-a1a8-5a645cdd3eb4" providerId="AD" clId="Web-{0BB43854-1082-E041-091C-FDEC7BAEBE60}" dt="2024-03-12T18:10:02.808" v="2"/>
          <ac:picMkLst>
            <pc:docMk/>
            <pc:sldMk cId="295364091" sldId="2147480099"/>
            <ac:picMk id="5" creationId="{4B0F228F-B768-B9F3-BCCC-47071D772C62}"/>
          </ac:picMkLst>
        </pc:picChg>
      </pc:sldChg>
    </pc:docChg>
  </pc:docChgLst>
  <pc:docChgLst>
    <pc:chgData name="LeMons, Daniel" userId="S::dlemons@elogex.com::65097b81-23d4-411d-8a8e-a78030669d81" providerId="AD" clId="Web-{C2C50207-FB2D-067C-54B5-FFE5F6178734}"/>
    <pc:docChg chg="modSld">
      <pc:chgData name="LeMons, Daniel" userId="S::dlemons@elogex.com::65097b81-23d4-411d-8a8e-a78030669d81" providerId="AD" clId="Web-{C2C50207-FB2D-067C-54B5-FFE5F6178734}" dt="2024-03-28T08:28:50.674" v="134" actId="20577"/>
      <pc:docMkLst>
        <pc:docMk/>
      </pc:docMkLst>
      <pc:sldChg chg="modSp">
        <pc:chgData name="LeMons, Daniel" userId="S::dlemons@elogex.com::65097b81-23d4-411d-8a8e-a78030669d81" providerId="AD" clId="Web-{C2C50207-FB2D-067C-54B5-FFE5F6178734}" dt="2024-03-28T08:28:36.736" v="125" actId="20577"/>
        <pc:sldMkLst>
          <pc:docMk/>
          <pc:sldMk cId="3429014890" sldId="2147480119"/>
        </pc:sldMkLst>
        <pc:spChg chg="mod">
          <ac:chgData name="LeMons, Daniel" userId="S::dlemons@elogex.com::65097b81-23d4-411d-8a8e-a78030669d81" providerId="AD" clId="Web-{C2C50207-FB2D-067C-54B5-FFE5F6178734}" dt="2024-03-28T08:28:36.736" v="125" actId="20577"/>
          <ac:spMkLst>
            <pc:docMk/>
            <pc:sldMk cId="3429014890" sldId="2147480119"/>
            <ac:spMk id="2" creationId="{0329E297-E798-08B1-A1CC-65371311D18E}"/>
          </ac:spMkLst>
        </pc:spChg>
        <pc:graphicFrameChg chg="mod modGraphic">
          <ac:chgData name="LeMons, Daniel" userId="S::dlemons@elogex.com::65097b81-23d4-411d-8a8e-a78030669d81" providerId="AD" clId="Web-{C2C50207-FB2D-067C-54B5-FFE5F6178734}" dt="2024-03-28T08:25:02.978" v="59"/>
          <ac:graphicFrameMkLst>
            <pc:docMk/>
            <pc:sldMk cId="3429014890" sldId="2147480119"/>
            <ac:graphicFrameMk id="3" creationId="{1C312072-B092-412E-81AA-32A802D2C4FF}"/>
          </ac:graphicFrameMkLst>
        </pc:graphicFrameChg>
      </pc:sldChg>
      <pc:sldChg chg="delSp modSp">
        <pc:chgData name="LeMons, Daniel" userId="S::dlemons@elogex.com::65097b81-23d4-411d-8a8e-a78030669d81" providerId="AD" clId="Web-{C2C50207-FB2D-067C-54B5-FFE5F6178734}" dt="2024-03-28T08:28:50.674" v="134" actId="20577"/>
        <pc:sldMkLst>
          <pc:docMk/>
          <pc:sldMk cId="2930427818" sldId="2147480123"/>
        </pc:sldMkLst>
        <pc:spChg chg="mod">
          <ac:chgData name="LeMons, Daniel" userId="S::dlemons@elogex.com::65097b81-23d4-411d-8a8e-a78030669d81" providerId="AD" clId="Web-{C2C50207-FB2D-067C-54B5-FFE5F6178734}" dt="2024-03-28T08:28:50.674" v="134" actId="20577"/>
          <ac:spMkLst>
            <pc:docMk/>
            <pc:sldMk cId="2930427818" sldId="2147480123"/>
            <ac:spMk id="2" creationId="{0329E297-E798-08B1-A1CC-65371311D18E}"/>
          </ac:spMkLst>
        </pc:spChg>
        <pc:spChg chg="mod">
          <ac:chgData name="LeMons, Daniel" userId="S::dlemons@elogex.com::65097b81-23d4-411d-8a8e-a78030669d81" providerId="AD" clId="Web-{C2C50207-FB2D-067C-54B5-FFE5F6178734}" dt="2024-03-28T08:26:30.231" v="104" actId="1076"/>
          <ac:spMkLst>
            <pc:docMk/>
            <pc:sldMk cId="2930427818" sldId="2147480123"/>
            <ac:spMk id="76" creationId="{3D9413DA-D657-58DF-E6D2-477A39E1B968}"/>
          </ac:spMkLst>
        </pc:spChg>
        <pc:grpChg chg="del">
          <ac:chgData name="LeMons, Daniel" userId="S::dlemons@elogex.com::65097b81-23d4-411d-8a8e-a78030669d81" providerId="AD" clId="Web-{C2C50207-FB2D-067C-54B5-FFE5F6178734}" dt="2024-03-28T08:27:44.875" v="117"/>
          <ac:grpSpMkLst>
            <pc:docMk/>
            <pc:sldMk cId="2930427818" sldId="2147480123"/>
            <ac:grpSpMk id="47" creationId="{2C818FB3-4AC0-044C-129E-053F4C8702EE}"/>
          </ac:grpSpMkLst>
        </pc:grpChg>
        <pc:grpChg chg="del">
          <ac:chgData name="LeMons, Daniel" userId="S::dlemons@elogex.com::65097b81-23d4-411d-8a8e-a78030669d81" providerId="AD" clId="Web-{C2C50207-FB2D-067C-54B5-FFE5F6178734}" dt="2024-03-28T08:27:46.140" v="118"/>
          <ac:grpSpMkLst>
            <pc:docMk/>
            <pc:sldMk cId="2930427818" sldId="2147480123"/>
            <ac:grpSpMk id="50" creationId="{133413D4-648E-B21B-28B7-EA8A54BCE94C}"/>
          </ac:grpSpMkLst>
        </pc:grpChg>
        <pc:grpChg chg="del">
          <ac:chgData name="LeMons, Daniel" userId="S::dlemons@elogex.com::65097b81-23d4-411d-8a8e-a78030669d81" providerId="AD" clId="Web-{C2C50207-FB2D-067C-54B5-FFE5F6178734}" dt="2024-03-28T08:27:43.437" v="116"/>
          <ac:grpSpMkLst>
            <pc:docMk/>
            <pc:sldMk cId="2930427818" sldId="2147480123"/>
            <ac:grpSpMk id="53" creationId="{00B227EC-23E3-4D90-F459-9E1E4FF40DC1}"/>
          </ac:grpSpMkLst>
        </pc:grpChg>
        <pc:grpChg chg="mod">
          <ac:chgData name="LeMons, Daniel" userId="S::dlemons@elogex.com::65097b81-23d4-411d-8a8e-a78030669d81" providerId="AD" clId="Web-{C2C50207-FB2D-067C-54B5-FFE5F6178734}" dt="2024-03-28T08:26:59.670" v="108" actId="1076"/>
          <ac:grpSpMkLst>
            <pc:docMk/>
            <pc:sldMk cId="2930427818" sldId="2147480123"/>
            <ac:grpSpMk id="56" creationId="{8ACFC7B8-9C98-8A48-9C38-669CB180626E}"/>
          </ac:grpSpMkLst>
        </pc:grpChg>
        <pc:grpChg chg="mod">
          <ac:chgData name="LeMons, Daniel" userId="S::dlemons@elogex.com::65097b81-23d4-411d-8a8e-a78030669d81" providerId="AD" clId="Web-{C2C50207-FB2D-067C-54B5-FFE5F6178734}" dt="2024-03-28T08:27:16.092" v="112" actId="1076"/>
          <ac:grpSpMkLst>
            <pc:docMk/>
            <pc:sldMk cId="2930427818" sldId="2147480123"/>
            <ac:grpSpMk id="59" creationId="{A4407A1B-8971-C4DB-C0EE-8318FCA1F7E4}"/>
          </ac:grpSpMkLst>
        </pc:grpChg>
        <pc:grpChg chg="mod">
          <ac:chgData name="LeMons, Daniel" userId="S::dlemons@elogex.com::65097b81-23d4-411d-8a8e-a78030669d81" providerId="AD" clId="Web-{C2C50207-FB2D-067C-54B5-FFE5F6178734}" dt="2024-03-28T08:26:35.528" v="105" actId="1076"/>
          <ac:grpSpMkLst>
            <pc:docMk/>
            <pc:sldMk cId="2930427818" sldId="2147480123"/>
            <ac:grpSpMk id="62" creationId="{3DD9257A-E522-1C14-1A15-261F883CBF45}"/>
          </ac:grpSpMkLst>
        </pc:grpChg>
        <pc:grpChg chg="mod">
          <ac:chgData name="LeMons, Daniel" userId="S::dlemons@elogex.com::65097b81-23d4-411d-8a8e-a78030669d81" providerId="AD" clId="Web-{C2C50207-FB2D-067C-54B5-FFE5F6178734}" dt="2024-03-28T08:27:02.545" v="109" actId="1076"/>
          <ac:grpSpMkLst>
            <pc:docMk/>
            <pc:sldMk cId="2930427818" sldId="2147480123"/>
            <ac:grpSpMk id="66" creationId="{0B441B7B-90D6-33AE-15D0-3FF5CC72BCC3}"/>
          </ac:grpSpMkLst>
        </pc:grpChg>
        <pc:grpChg chg="mod">
          <ac:chgData name="LeMons, Daniel" userId="S::dlemons@elogex.com::65097b81-23d4-411d-8a8e-a78030669d81" providerId="AD" clId="Web-{C2C50207-FB2D-067C-54B5-FFE5F6178734}" dt="2024-03-28T08:27:23.468" v="113" actId="1076"/>
          <ac:grpSpMkLst>
            <pc:docMk/>
            <pc:sldMk cId="2930427818" sldId="2147480123"/>
            <ac:grpSpMk id="72" creationId="{2C665AB2-34F0-9418-B0C0-7887508D56EC}"/>
          </ac:grpSpMkLst>
        </pc:grpChg>
        <pc:grpChg chg="mod">
          <ac:chgData name="LeMons, Daniel" userId="S::dlemons@elogex.com::65097b81-23d4-411d-8a8e-a78030669d81" providerId="AD" clId="Web-{C2C50207-FB2D-067C-54B5-FFE5F6178734}" dt="2024-03-28T08:26:23.200" v="103" actId="1076"/>
          <ac:grpSpMkLst>
            <pc:docMk/>
            <pc:sldMk cId="2930427818" sldId="2147480123"/>
            <ac:grpSpMk id="75" creationId="{1048DDAE-0C8E-CC14-2CDE-B36101865603}"/>
          </ac:grpSpMkLst>
        </pc:grpChg>
        <pc:grpChg chg="mod">
          <ac:chgData name="LeMons, Daniel" userId="S::dlemons@elogex.com::65097b81-23d4-411d-8a8e-a78030669d81" providerId="AD" clId="Web-{C2C50207-FB2D-067C-54B5-FFE5F6178734}" dt="2024-03-28T08:27:05.404" v="110" actId="1076"/>
          <ac:grpSpMkLst>
            <pc:docMk/>
            <pc:sldMk cId="2930427818" sldId="2147480123"/>
            <ac:grpSpMk id="78" creationId="{5FB67A88-0076-170A-2AC2-81D2E78D6964}"/>
          </ac:grpSpMkLst>
        </pc:grpChg>
        <pc:grpChg chg="mod">
          <ac:chgData name="LeMons, Daniel" userId="S::dlemons@elogex.com::65097b81-23d4-411d-8a8e-a78030669d81" providerId="AD" clId="Web-{C2C50207-FB2D-067C-54B5-FFE5F6178734}" dt="2024-03-28T08:27:32.921" v="114" actId="1076"/>
          <ac:grpSpMkLst>
            <pc:docMk/>
            <pc:sldMk cId="2930427818" sldId="2147480123"/>
            <ac:grpSpMk id="81" creationId="{28C0938E-9EB2-846B-DDEF-41733E1EC7F0}"/>
          </ac:grpSpMkLst>
        </pc:grpChg>
        <pc:grpChg chg="mod">
          <ac:chgData name="LeMons, Daniel" userId="S::dlemons@elogex.com::65097b81-23d4-411d-8a8e-a78030669d81" providerId="AD" clId="Web-{C2C50207-FB2D-067C-54B5-FFE5F6178734}" dt="2024-03-28T08:26:45.232" v="106" actId="1076"/>
          <ac:grpSpMkLst>
            <pc:docMk/>
            <pc:sldMk cId="2930427818" sldId="2147480123"/>
            <ac:grpSpMk id="84" creationId="{38FC5D16-E4CE-6728-FB61-BCBA201A8BFA}"/>
          </ac:grpSpMkLst>
        </pc:grpChg>
        <pc:grpChg chg="mod">
          <ac:chgData name="LeMons, Daniel" userId="S::dlemons@elogex.com::65097b81-23d4-411d-8a8e-a78030669d81" providerId="AD" clId="Web-{C2C50207-FB2D-067C-54B5-FFE5F6178734}" dt="2024-03-28T08:27:12.530" v="111" actId="1076"/>
          <ac:grpSpMkLst>
            <pc:docMk/>
            <pc:sldMk cId="2930427818" sldId="2147480123"/>
            <ac:grpSpMk id="99" creationId="{972AC108-1C77-BAB5-62F2-E7D100C4EDD1}"/>
          </ac:grpSpMkLst>
        </pc:grpChg>
        <pc:grpChg chg="mod">
          <ac:chgData name="LeMons, Daniel" userId="S::dlemons@elogex.com::65097b81-23d4-411d-8a8e-a78030669d81" providerId="AD" clId="Web-{C2C50207-FB2D-067C-54B5-FFE5F6178734}" dt="2024-03-28T08:27:34.796" v="115" actId="1076"/>
          <ac:grpSpMkLst>
            <pc:docMk/>
            <pc:sldMk cId="2930427818" sldId="2147480123"/>
            <ac:grpSpMk id="102" creationId="{6AF7A611-961E-F3C4-5858-9824F983083A}"/>
          </ac:grpSpMkLst>
        </pc:grpChg>
        <pc:grpChg chg="mod">
          <ac:chgData name="LeMons, Daniel" userId="S::dlemons@elogex.com::65097b81-23d4-411d-8a8e-a78030669d81" providerId="AD" clId="Web-{C2C50207-FB2D-067C-54B5-FFE5F6178734}" dt="2024-03-28T08:26:52.170" v="107" actId="1076"/>
          <ac:grpSpMkLst>
            <pc:docMk/>
            <pc:sldMk cId="2930427818" sldId="2147480123"/>
            <ac:grpSpMk id="105" creationId="{89ECC555-219E-C66F-34CE-4CA8B181C6F4}"/>
          </ac:grpSpMkLst>
        </pc:grpChg>
        <pc:graphicFrameChg chg="mod modGraphic">
          <ac:chgData name="LeMons, Daniel" userId="S::dlemons@elogex.com::65097b81-23d4-411d-8a8e-a78030669d81" providerId="AD" clId="Web-{C2C50207-FB2D-067C-54B5-FFE5F6178734}" dt="2024-03-28T08:26:01.699" v="89" actId="1076"/>
          <ac:graphicFrameMkLst>
            <pc:docMk/>
            <pc:sldMk cId="2930427818" sldId="2147480123"/>
            <ac:graphicFrameMk id="9" creationId="{EBC76674-D92C-0398-CE76-269AE286316D}"/>
          </ac:graphicFrameMkLst>
        </pc:graphicFrameChg>
      </pc:sldChg>
      <pc:sldChg chg="modSp">
        <pc:chgData name="LeMons, Daniel" userId="S::dlemons@elogex.com::65097b81-23d4-411d-8a8e-a78030669d81" providerId="AD" clId="Web-{C2C50207-FB2D-067C-54B5-FFE5F6178734}" dt="2024-03-28T08:23:03.034" v="49"/>
        <pc:sldMkLst>
          <pc:docMk/>
          <pc:sldMk cId="1287383114" sldId="2147480126"/>
        </pc:sldMkLst>
        <pc:graphicFrameChg chg="mod modGraphic">
          <ac:chgData name="LeMons, Daniel" userId="S::dlemons@elogex.com::65097b81-23d4-411d-8a8e-a78030669d81" providerId="AD" clId="Web-{C2C50207-FB2D-067C-54B5-FFE5F6178734}" dt="2024-03-28T08:23:03.034" v="49"/>
          <ac:graphicFrameMkLst>
            <pc:docMk/>
            <pc:sldMk cId="1287383114" sldId="2147480126"/>
            <ac:graphicFrameMk id="3" creationId="{CA9C21C4-2AEC-CC4C-240D-B02DAA76F564}"/>
          </ac:graphicFrameMkLst>
        </pc:graphicFrameChg>
      </pc:sldChg>
    </pc:docChg>
  </pc:docChgLst>
  <pc:docChgLst>
    <pc:chgData name="Upreti, Nitin" userId="fe4cf4e8-8f0a-401e-bd63-1ecd572762c2" providerId="ADAL" clId="{E4DB0838-1A93-4933-9287-7600364A6DFA}"/>
    <pc:docChg chg="undo custSel delSld modSld modSection">
      <pc:chgData name="Upreti, Nitin" userId="fe4cf4e8-8f0a-401e-bd63-1ecd572762c2" providerId="ADAL" clId="{E4DB0838-1A93-4933-9287-7600364A6DFA}" dt="2024-03-13T09:51:53.033" v="1861"/>
      <pc:docMkLst>
        <pc:docMk/>
      </pc:docMkLst>
      <pc:sldChg chg="addSp modSp mod">
        <pc:chgData name="Upreti, Nitin" userId="fe4cf4e8-8f0a-401e-bd63-1ecd572762c2" providerId="ADAL" clId="{E4DB0838-1A93-4933-9287-7600364A6DFA}" dt="2024-03-12T09:17:53.926" v="66" actId="6549"/>
        <pc:sldMkLst>
          <pc:docMk/>
          <pc:sldMk cId="295364091" sldId="2147480099"/>
        </pc:sldMkLst>
        <pc:spChg chg="add mod">
          <ac:chgData name="Upreti, Nitin" userId="fe4cf4e8-8f0a-401e-bd63-1ecd572762c2" providerId="ADAL" clId="{E4DB0838-1A93-4933-9287-7600364A6DFA}" dt="2024-03-12T09:17:53.926" v="66" actId="6549"/>
          <ac:spMkLst>
            <pc:docMk/>
            <pc:sldMk cId="295364091" sldId="2147480099"/>
            <ac:spMk id="3" creationId="{DA736210-7ED2-7A43-C730-5E516CC3CA7D}"/>
          </ac:spMkLst>
        </pc:spChg>
      </pc:sldChg>
      <pc:sldChg chg="addSp delSp modSp mod">
        <pc:chgData name="Upreti, Nitin" userId="fe4cf4e8-8f0a-401e-bd63-1ecd572762c2" providerId="ADAL" clId="{E4DB0838-1A93-4933-9287-7600364A6DFA}" dt="2024-03-13T09:51:53.033" v="1861"/>
        <pc:sldMkLst>
          <pc:docMk/>
          <pc:sldMk cId="3119129675" sldId="2147480103"/>
        </pc:sldMkLst>
        <pc:spChg chg="mod">
          <ac:chgData name="Upreti, Nitin" userId="fe4cf4e8-8f0a-401e-bd63-1ecd572762c2" providerId="ADAL" clId="{E4DB0838-1A93-4933-9287-7600364A6DFA}" dt="2024-03-13T09:00:45.995" v="1693" actId="20577"/>
          <ac:spMkLst>
            <pc:docMk/>
            <pc:sldMk cId="3119129675" sldId="2147480103"/>
            <ac:spMk id="2" creationId="{0329E297-E798-08B1-A1CC-65371311D18E}"/>
          </ac:spMkLst>
        </pc:spChg>
        <pc:spChg chg="del">
          <ac:chgData name="Upreti, Nitin" userId="fe4cf4e8-8f0a-401e-bd63-1ecd572762c2" providerId="ADAL" clId="{E4DB0838-1A93-4933-9287-7600364A6DFA}" dt="2024-03-13T08:35:36.282" v="71" actId="478"/>
          <ac:spMkLst>
            <pc:docMk/>
            <pc:sldMk cId="3119129675" sldId="2147480103"/>
            <ac:spMk id="3" creationId="{4C10BBDB-4D37-03E0-0571-0EE1468D6F8F}"/>
          </ac:spMkLst>
        </pc:spChg>
        <pc:spChg chg="del">
          <ac:chgData name="Upreti, Nitin" userId="fe4cf4e8-8f0a-401e-bd63-1ecd572762c2" providerId="ADAL" clId="{E4DB0838-1A93-4933-9287-7600364A6DFA}" dt="2024-03-13T08:35:26.120" v="67" actId="478"/>
          <ac:spMkLst>
            <pc:docMk/>
            <pc:sldMk cId="3119129675" sldId="2147480103"/>
            <ac:spMk id="4" creationId="{B829C4CB-BE02-39C9-2884-46EFBA420D6B}"/>
          </ac:spMkLst>
        </pc:spChg>
        <pc:spChg chg="del">
          <ac:chgData name="Upreti, Nitin" userId="fe4cf4e8-8f0a-401e-bd63-1ecd572762c2" providerId="ADAL" clId="{E4DB0838-1A93-4933-9287-7600364A6DFA}" dt="2024-03-13T08:35:28.517" v="68" actId="478"/>
          <ac:spMkLst>
            <pc:docMk/>
            <pc:sldMk cId="3119129675" sldId="2147480103"/>
            <ac:spMk id="5" creationId="{97AA6137-7738-3421-AC3C-20D6C99FAF1A}"/>
          </ac:spMkLst>
        </pc:spChg>
        <pc:spChg chg="del">
          <ac:chgData name="Upreti, Nitin" userId="fe4cf4e8-8f0a-401e-bd63-1ecd572762c2" providerId="ADAL" clId="{E4DB0838-1A93-4933-9287-7600364A6DFA}" dt="2024-03-13T08:35:30.499" v="69" actId="478"/>
          <ac:spMkLst>
            <pc:docMk/>
            <pc:sldMk cId="3119129675" sldId="2147480103"/>
            <ac:spMk id="6" creationId="{0C545564-0021-626C-2891-C040E5888D24}"/>
          </ac:spMkLst>
        </pc:spChg>
        <pc:spChg chg="del">
          <ac:chgData name="Upreti, Nitin" userId="fe4cf4e8-8f0a-401e-bd63-1ecd572762c2" providerId="ADAL" clId="{E4DB0838-1A93-4933-9287-7600364A6DFA}" dt="2024-03-13T08:35:33.936" v="70" actId="478"/>
          <ac:spMkLst>
            <pc:docMk/>
            <pc:sldMk cId="3119129675" sldId="2147480103"/>
            <ac:spMk id="7" creationId="{561EBFEE-59AA-0D38-9EDF-24CD5970D5A6}"/>
          </ac:spMkLst>
        </pc:spChg>
        <pc:graphicFrameChg chg="add del mod modGraphic">
          <ac:chgData name="Upreti, Nitin" userId="fe4cf4e8-8f0a-401e-bd63-1ecd572762c2" providerId="ADAL" clId="{E4DB0838-1A93-4933-9287-7600364A6DFA}" dt="2024-03-13T08:37:07.767" v="91" actId="3680"/>
          <ac:graphicFrameMkLst>
            <pc:docMk/>
            <pc:sldMk cId="3119129675" sldId="2147480103"/>
            <ac:graphicFrameMk id="8" creationId="{092AECE5-1F99-7774-EA2B-B0942E7DC1D1}"/>
          </ac:graphicFrameMkLst>
        </pc:graphicFrameChg>
        <pc:graphicFrameChg chg="add mod modGraphic">
          <ac:chgData name="Upreti, Nitin" userId="fe4cf4e8-8f0a-401e-bd63-1ecd572762c2" providerId="ADAL" clId="{E4DB0838-1A93-4933-9287-7600364A6DFA}" dt="2024-03-13T09:51:53.033" v="1861"/>
          <ac:graphicFrameMkLst>
            <pc:docMk/>
            <pc:sldMk cId="3119129675" sldId="2147480103"/>
            <ac:graphicFrameMk id="9" creationId="{082F007F-02ED-83FB-40DE-67CA78B27101}"/>
          </ac:graphicFrameMkLst>
        </pc:graphicFrameChg>
      </pc:sldChg>
      <pc:sldChg chg="del">
        <pc:chgData name="Upreti, Nitin" userId="fe4cf4e8-8f0a-401e-bd63-1ecd572762c2" providerId="ADAL" clId="{E4DB0838-1A93-4933-9287-7600364A6DFA}" dt="2024-03-13T08:47:02.963" v="873" actId="47"/>
        <pc:sldMkLst>
          <pc:docMk/>
          <pc:sldMk cId="2143152165" sldId="2147480104"/>
        </pc:sldMkLst>
      </pc:sldChg>
    </pc:docChg>
  </pc:docChgLst>
  <pc:docChgLst>
    <pc:chgData name="Karmakar, Sumit" userId="S::skarmakar@elogex.com::5d020034-ff2c-4e7e-8d00-e94708d613b2" providerId="AD" clId="Web-{0CC72022-AAEC-9ED1-A1D6-08DCD354DE3D}"/>
    <pc:docChg chg="modSld sldOrd modSection">
      <pc:chgData name="Karmakar, Sumit" userId="S::skarmakar@elogex.com::5d020034-ff2c-4e7e-8d00-e94708d613b2" providerId="AD" clId="Web-{0CC72022-AAEC-9ED1-A1D6-08DCD354DE3D}" dt="2024-03-25T21:01:21.145" v="3"/>
      <pc:docMkLst>
        <pc:docMk/>
      </pc:docMkLst>
      <pc:sldChg chg="modSp">
        <pc:chgData name="Karmakar, Sumit" userId="S::skarmakar@elogex.com::5d020034-ff2c-4e7e-8d00-e94708d613b2" providerId="AD" clId="Web-{0CC72022-AAEC-9ED1-A1D6-08DCD354DE3D}" dt="2024-03-25T21:01:13.941" v="2" actId="20577"/>
        <pc:sldMkLst>
          <pc:docMk/>
          <pc:sldMk cId="50788646" sldId="2147480107"/>
        </pc:sldMkLst>
        <pc:spChg chg="mod">
          <ac:chgData name="Karmakar, Sumit" userId="S::skarmakar@elogex.com::5d020034-ff2c-4e7e-8d00-e94708d613b2" providerId="AD" clId="Web-{0CC72022-AAEC-9ED1-A1D6-08DCD354DE3D}" dt="2024-03-25T21:01:13.941" v="2" actId="20577"/>
          <ac:spMkLst>
            <pc:docMk/>
            <pc:sldMk cId="50788646" sldId="2147480107"/>
            <ac:spMk id="9" creationId="{7FBA4B87-97CE-C427-F2E6-4E29EF3AAD3C}"/>
          </ac:spMkLst>
        </pc:spChg>
      </pc:sldChg>
      <pc:sldChg chg="ord">
        <pc:chgData name="Karmakar, Sumit" userId="S::skarmakar@elogex.com::5d020034-ff2c-4e7e-8d00-e94708d613b2" providerId="AD" clId="Web-{0CC72022-AAEC-9ED1-A1D6-08DCD354DE3D}" dt="2024-03-25T21:01:21.145" v="3"/>
        <pc:sldMkLst>
          <pc:docMk/>
          <pc:sldMk cId="2185285943" sldId="2147480118"/>
        </pc:sldMkLst>
      </pc:sldChg>
    </pc:docChg>
  </pc:docChgLst>
  <pc:docChgLst>
    <pc:chgData name="Karmakar, Sumit" userId="S::skarmakar@elogex.com::5d020034-ff2c-4e7e-8d00-e94708d613b2" providerId="AD" clId="Web-{2FEDFBBC-9EE4-37FD-FF27-809CDCD8D11F}"/>
    <pc:docChg chg="delSld modSld modSection">
      <pc:chgData name="Karmakar, Sumit" userId="S::skarmakar@elogex.com::5d020034-ff2c-4e7e-8d00-e94708d613b2" providerId="AD" clId="Web-{2FEDFBBC-9EE4-37FD-FF27-809CDCD8D11F}" dt="2024-03-15T21:04:09.218" v="7"/>
      <pc:docMkLst>
        <pc:docMk/>
      </pc:docMkLst>
      <pc:sldChg chg="del">
        <pc:chgData name="Karmakar, Sumit" userId="S::skarmakar@elogex.com::5d020034-ff2c-4e7e-8d00-e94708d613b2" providerId="AD" clId="Web-{2FEDFBBC-9EE4-37FD-FF27-809CDCD8D11F}" dt="2024-03-15T21:04:09.218" v="7"/>
        <pc:sldMkLst>
          <pc:docMk/>
          <pc:sldMk cId="2332197372" sldId="2147479982"/>
        </pc:sldMkLst>
      </pc:sldChg>
      <pc:sldChg chg="modSp">
        <pc:chgData name="Karmakar, Sumit" userId="S::skarmakar@elogex.com::5d020034-ff2c-4e7e-8d00-e94708d613b2" providerId="AD" clId="Web-{2FEDFBBC-9EE4-37FD-FF27-809CDCD8D11F}" dt="2024-03-15T21:03:56.218" v="6" actId="20577"/>
        <pc:sldMkLst>
          <pc:docMk/>
          <pc:sldMk cId="212255833" sldId="2147480098"/>
        </pc:sldMkLst>
        <pc:spChg chg="mod">
          <ac:chgData name="Karmakar, Sumit" userId="S::skarmakar@elogex.com::5d020034-ff2c-4e7e-8d00-e94708d613b2" providerId="AD" clId="Web-{2FEDFBBC-9EE4-37FD-FF27-809CDCD8D11F}" dt="2024-03-15T21:03:56.218" v="6" actId="20577"/>
          <ac:spMkLst>
            <pc:docMk/>
            <pc:sldMk cId="212255833" sldId="2147480098"/>
            <ac:spMk id="2" creationId="{0329E297-E798-08B1-A1CC-65371311D18E}"/>
          </ac:spMkLst>
        </pc:spChg>
      </pc:sldChg>
    </pc:docChg>
  </pc:docChgLst>
  <pc:docChgLst>
    <pc:chgData name="Karmakar, Sumit" userId="S::skarmakar@elogex.com::5d020034-ff2c-4e7e-8d00-e94708d613b2" providerId="AD" clId="Web-{7812BD10-F24D-FFF8-CCF4-431C27D5FD75}"/>
    <pc:docChg chg="addSld delSld modSld sldOrd modSection">
      <pc:chgData name="Karmakar, Sumit" userId="S::skarmakar@elogex.com::5d020034-ff2c-4e7e-8d00-e94708d613b2" providerId="AD" clId="Web-{7812BD10-F24D-FFF8-CCF4-431C27D5FD75}" dt="2024-03-14T12:42:35.700" v="108"/>
      <pc:docMkLst>
        <pc:docMk/>
      </pc:docMkLst>
      <pc:sldChg chg="addSp delSp modSp add">
        <pc:chgData name="Karmakar, Sumit" userId="S::skarmakar@elogex.com::5d020034-ff2c-4e7e-8d00-e94708d613b2" providerId="AD" clId="Web-{7812BD10-F24D-FFF8-CCF4-431C27D5FD75}" dt="2024-03-14T12:42:35.700" v="108"/>
        <pc:sldMkLst>
          <pc:docMk/>
          <pc:sldMk cId="1434049183" sldId="2126986164"/>
        </pc:sldMkLst>
        <pc:spChg chg="add mod">
          <ac:chgData name="Karmakar, Sumit" userId="S::skarmakar@elogex.com::5d020034-ff2c-4e7e-8d00-e94708d613b2" providerId="AD" clId="Web-{7812BD10-F24D-FFF8-CCF4-431C27D5FD75}" dt="2024-03-14T12:39:32.915" v="20" actId="20577"/>
          <ac:spMkLst>
            <pc:docMk/>
            <pc:sldMk cId="1434049183" sldId="2126986164"/>
            <ac:spMk id="3" creationId="{94FB46C5-B2D8-F91B-A412-DE98DA8F897A}"/>
          </ac:spMkLst>
        </pc:spChg>
        <pc:spChg chg="add mod">
          <ac:chgData name="Karmakar, Sumit" userId="S::skarmakar@elogex.com::5d020034-ff2c-4e7e-8d00-e94708d613b2" providerId="AD" clId="Web-{7812BD10-F24D-FFF8-CCF4-431C27D5FD75}" dt="2024-03-14T12:39:02.274" v="10"/>
          <ac:spMkLst>
            <pc:docMk/>
            <pc:sldMk cId="1434049183" sldId="2126986164"/>
            <ac:spMk id="5" creationId="{68B40D5D-5711-E36B-CAA0-22CD09BD77D2}"/>
          </ac:spMkLst>
        </pc:spChg>
        <pc:spChg chg="add del mod">
          <ac:chgData name="Karmakar, Sumit" userId="S::skarmakar@elogex.com::5d020034-ff2c-4e7e-8d00-e94708d613b2" providerId="AD" clId="Web-{7812BD10-F24D-FFF8-CCF4-431C27D5FD75}" dt="2024-03-14T12:42:35.700" v="108"/>
          <ac:spMkLst>
            <pc:docMk/>
            <pc:sldMk cId="1434049183" sldId="2126986164"/>
            <ac:spMk id="7" creationId="{88F95F4A-80A5-7024-AC17-571A45C7E8EF}"/>
          </ac:spMkLst>
        </pc:spChg>
        <pc:spChg chg="del">
          <ac:chgData name="Karmakar, Sumit" userId="S::skarmakar@elogex.com::5d020034-ff2c-4e7e-8d00-e94708d613b2" providerId="AD" clId="Web-{7812BD10-F24D-FFF8-CCF4-431C27D5FD75}" dt="2024-03-14T12:38:42.820" v="5"/>
          <ac:spMkLst>
            <pc:docMk/>
            <pc:sldMk cId="1434049183" sldId="2126986164"/>
            <ac:spMk id="17" creationId="{9DC2D655-17B1-4C8B-87FA-1B10AA06E343}"/>
          </ac:spMkLst>
        </pc:spChg>
      </pc:sldChg>
      <pc:sldChg chg="del">
        <pc:chgData name="Karmakar, Sumit" userId="S::skarmakar@elogex.com::5d020034-ff2c-4e7e-8d00-e94708d613b2" providerId="AD" clId="Web-{7812BD10-F24D-FFF8-CCF4-431C27D5FD75}" dt="2024-03-14T12:39:39.306" v="21"/>
        <pc:sldMkLst>
          <pc:docMk/>
          <pc:sldMk cId="281351634" sldId="2147375232"/>
        </pc:sldMkLst>
      </pc:sldChg>
      <pc:sldChg chg="del">
        <pc:chgData name="Karmakar, Sumit" userId="S::skarmakar@elogex.com::5d020034-ff2c-4e7e-8d00-e94708d613b2" providerId="AD" clId="Web-{7812BD10-F24D-FFF8-CCF4-431C27D5FD75}" dt="2024-03-14T12:42:06.934" v="107"/>
        <pc:sldMkLst>
          <pc:docMk/>
          <pc:sldMk cId="2371631138" sldId="2147479780"/>
        </pc:sldMkLst>
      </pc:sldChg>
      <pc:sldChg chg="del">
        <pc:chgData name="Karmakar, Sumit" userId="S::skarmakar@elogex.com::5d020034-ff2c-4e7e-8d00-e94708d613b2" providerId="AD" clId="Web-{7812BD10-F24D-FFF8-CCF4-431C27D5FD75}" dt="2024-03-14T12:41:12.042" v="78"/>
        <pc:sldMkLst>
          <pc:docMk/>
          <pc:sldMk cId="2476771074" sldId="2147480058"/>
        </pc:sldMkLst>
      </pc:sldChg>
      <pc:sldChg chg="addSp delSp modSp ord">
        <pc:chgData name="Karmakar, Sumit" userId="S::skarmakar@elogex.com::5d020034-ff2c-4e7e-8d00-e94708d613b2" providerId="AD" clId="Web-{7812BD10-F24D-FFF8-CCF4-431C27D5FD75}" dt="2024-03-14T12:41:05.776" v="77"/>
        <pc:sldMkLst>
          <pc:docMk/>
          <pc:sldMk cId="565861938" sldId="2147480095"/>
        </pc:sldMkLst>
        <pc:spChg chg="mod">
          <ac:chgData name="Karmakar, Sumit" userId="S::skarmakar@elogex.com::5d020034-ff2c-4e7e-8d00-e94708d613b2" providerId="AD" clId="Web-{7812BD10-F24D-FFF8-CCF4-431C27D5FD75}" dt="2024-03-14T12:41:01.120" v="76" actId="20577"/>
          <ac:spMkLst>
            <pc:docMk/>
            <pc:sldMk cId="565861938" sldId="2147480095"/>
            <ac:spMk id="2" creationId="{0329E297-E798-08B1-A1CC-65371311D18E}"/>
          </ac:spMkLst>
        </pc:spChg>
        <pc:spChg chg="del">
          <ac:chgData name="Karmakar, Sumit" userId="S::skarmakar@elogex.com::5d020034-ff2c-4e7e-8d00-e94708d613b2" providerId="AD" clId="Web-{7812BD10-F24D-FFF8-CCF4-431C27D5FD75}" dt="2024-03-14T12:40:04.697" v="24"/>
          <ac:spMkLst>
            <pc:docMk/>
            <pc:sldMk cId="565861938" sldId="2147480095"/>
            <ac:spMk id="7" creationId="{2AF1768E-031C-DB93-EC23-2BF90B7BCB74}"/>
          </ac:spMkLst>
        </pc:spChg>
        <pc:spChg chg="add mod">
          <ac:chgData name="Karmakar, Sumit" userId="S::skarmakar@elogex.com::5d020034-ff2c-4e7e-8d00-e94708d613b2" providerId="AD" clId="Web-{7812BD10-F24D-FFF8-CCF4-431C27D5FD75}" dt="2024-03-14T12:40:27.791" v="56" actId="1076"/>
          <ac:spMkLst>
            <pc:docMk/>
            <pc:sldMk cId="565861938" sldId="2147480095"/>
            <ac:spMk id="9" creationId="{07CE4040-D44C-B20B-3297-1B5F090F8C99}"/>
          </ac:spMkLst>
        </pc:spChg>
        <pc:spChg chg="add mod">
          <ac:chgData name="Karmakar, Sumit" userId="S::skarmakar@elogex.com::5d020034-ff2c-4e7e-8d00-e94708d613b2" providerId="AD" clId="Web-{7812BD10-F24D-FFF8-CCF4-431C27D5FD75}" dt="2024-03-14T12:40:27.807" v="57" actId="1076"/>
          <ac:spMkLst>
            <pc:docMk/>
            <pc:sldMk cId="565861938" sldId="2147480095"/>
            <ac:spMk id="11" creationId="{9B8733AF-1ACA-0817-500E-BF850E95ECC4}"/>
          </ac:spMkLst>
        </pc:spChg>
        <pc:spChg chg="add mod">
          <ac:chgData name="Karmakar, Sumit" userId="S::skarmakar@elogex.com::5d020034-ff2c-4e7e-8d00-e94708d613b2" providerId="AD" clId="Web-{7812BD10-F24D-FFF8-CCF4-431C27D5FD75}" dt="2024-03-14T12:40:27.823" v="58" actId="1076"/>
          <ac:spMkLst>
            <pc:docMk/>
            <pc:sldMk cId="565861938" sldId="2147480095"/>
            <ac:spMk id="13" creationId="{C1D28996-B9E7-8C64-127C-378031DDAC5B}"/>
          </ac:spMkLst>
        </pc:spChg>
        <pc:spChg chg="add mod">
          <ac:chgData name="Karmakar, Sumit" userId="S::skarmakar@elogex.com::5d020034-ff2c-4e7e-8d00-e94708d613b2" providerId="AD" clId="Web-{7812BD10-F24D-FFF8-CCF4-431C27D5FD75}" dt="2024-03-14T12:40:27.838" v="60" actId="1076"/>
          <ac:spMkLst>
            <pc:docMk/>
            <pc:sldMk cId="565861938" sldId="2147480095"/>
            <ac:spMk id="19" creationId="{4D995FCE-2224-CDDB-DDEA-4F6A2FB80C72}"/>
          </ac:spMkLst>
        </pc:spChg>
        <pc:spChg chg="add mod">
          <ac:chgData name="Karmakar, Sumit" userId="S::skarmakar@elogex.com::5d020034-ff2c-4e7e-8d00-e94708d613b2" providerId="AD" clId="Web-{7812BD10-F24D-FFF8-CCF4-431C27D5FD75}" dt="2024-03-14T12:40:27.854" v="61" actId="1076"/>
          <ac:spMkLst>
            <pc:docMk/>
            <pc:sldMk cId="565861938" sldId="2147480095"/>
            <ac:spMk id="21" creationId="{80FEDC7B-E799-1C2B-1C3F-CDD3197062CA}"/>
          </ac:spMkLst>
        </pc:spChg>
        <pc:spChg chg="add mod">
          <ac:chgData name="Karmakar, Sumit" userId="S::skarmakar@elogex.com::5d020034-ff2c-4e7e-8d00-e94708d613b2" providerId="AD" clId="Web-{7812BD10-F24D-FFF8-CCF4-431C27D5FD75}" dt="2024-03-14T12:40:27.854" v="62" actId="1076"/>
          <ac:spMkLst>
            <pc:docMk/>
            <pc:sldMk cId="565861938" sldId="2147480095"/>
            <ac:spMk id="23" creationId="{920ABBEB-F283-196D-8086-99FAA1F4F9B3}"/>
          </ac:spMkLst>
        </pc:spChg>
        <pc:spChg chg="add mod">
          <ac:chgData name="Karmakar, Sumit" userId="S::skarmakar@elogex.com::5d020034-ff2c-4e7e-8d00-e94708d613b2" providerId="AD" clId="Web-{7812BD10-F24D-FFF8-CCF4-431C27D5FD75}" dt="2024-03-14T12:40:27.870" v="63" actId="1076"/>
          <ac:spMkLst>
            <pc:docMk/>
            <pc:sldMk cId="565861938" sldId="2147480095"/>
            <ac:spMk id="25" creationId="{0E961777-BCE0-B3C3-9228-16DF9679EB1C}"/>
          </ac:spMkLst>
        </pc:spChg>
        <pc:spChg chg="add mod">
          <ac:chgData name="Karmakar, Sumit" userId="S::skarmakar@elogex.com::5d020034-ff2c-4e7e-8d00-e94708d613b2" providerId="AD" clId="Web-{7812BD10-F24D-FFF8-CCF4-431C27D5FD75}" dt="2024-03-14T12:40:27.885" v="64" actId="1076"/>
          <ac:spMkLst>
            <pc:docMk/>
            <pc:sldMk cId="565861938" sldId="2147480095"/>
            <ac:spMk id="27" creationId="{851BF37F-AE54-9EC4-7B8E-B0D6E1D8DCB4}"/>
          </ac:spMkLst>
        </pc:spChg>
        <pc:spChg chg="add mod">
          <ac:chgData name="Karmakar, Sumit" userId="S::skarmakar@elogex.com::5d020034-ff2c-4e7e-8d00-e94708d613b2" providerId="AD" clId="Web-{7812BD10-F24D-FFF8-CCF4-431C27D5FD75}" dt="2024-03-14T12:40:27.885" v="65" actId="1076"/>
          <ac:spMkLst>
            <pc:docMk/>
            <pc:sldMk cId="565861938" sldId="2147480095"/>
            <ac:spMk id="29" creationId="{4E17A846-0BA2-FE67-6117-4A9F9C2AC2DA}"/>
          </ac:spMkLst>
        </pc:spChg>
        <pc:spChg chg="add del mod">
          <ac:chgData name="Karmakar, Sumit" userId="S::skarmakar@elogex.com::5d020034-ff2c-4e7e-8d00-e94708d613b2" providerId="AD" clId="Web-{7812BD10-F24D-FFF8-CCF4-431C27D5FD75}" dt="2024-03-14T12:41:05.776" v="77"/>
          <ac:spMkLst>
            <pc:docMk/>
            <pc:sldMk cId="565861938" sldId="2147480095"/>
            <ac:spMk id="31" creationId="{935DB37C-590C-B366-3E7E-0ACD9C5B8867}"/>
          </ac:spMkLst>
        </pc:spChg>
        <pc:spChg chg="del">
          <ac:chgData name="Karmakar, Sumit" userId="S::skarmakar@elogex.com::5d020034-ff2c-4e7e-8d00-e94708d613b2" providerId="AD" clId="Web-{7812BD10-F24D-FFF8-CCF4-431C27D5FD75}" dt="2024-03-14T12:40:04.697" v="34"/>
          <ac:spMkLst>
            <pc:docMk/>
            <pc:sldMk cId="565861938" sldId="2147480095"/>
            <ac:spMk id="35" creationId="{CB5BB574-C366-4E39-6E02-0FE46725EF8B}"/>
          </ac:spMkLst>
        </pc:spChg>
        <pc:spChg chg="del">
          <ac:chgData name="Karmakar, Sumit" userId="S::skarmakar@elogex.com::5d020034-ff2c-4e7e-8d00-e94708d613b2" providerId="AD" clId="Web-{7812BD10-F24D-FFF8-CCF4-431C27D5FD75}" dt="2024-03-14T12:40:04.697" v="30"/>
          <ac:spMkLst>
            <pc:docMk/>
            <pc:sldMk cId="565861938" sldId="2147480095"/>
            <ac:spMk id="57" creationId="{B40A93B2-47CB-DFF4-4C3F-55737EAC8DF5}"/>
          </ac:spMkLst>
        </pc:spChg>
        <pc:spChg chg="add mod">
          <ac:chgData name="Karmakar, Sumit" userId="S::skarmakar@elogex.com::5d020034-ff2c-4e7e-8d00-e94708d613b2" providerId="AD" clId="Web-{7812BD10-F24D-FFF8-CCF4-431C27D5FD75}" dt="2024-03-14T12:40:41.510" v="74" actId="1076"/>
          <ac:spMkLst>
            <pc:docMk/>
            <pc:sldMk cId="565861938" sldId="2147480095"/>
            <ac:spMk id="59" creationId="{CDE944F2-26E5-83C1-4747-3CEFEE5CE018}"/>
          </ac:spMkLst>
        </pc:spChg>
        <pc:grpChg chg="del">
          <ac:chgData name="Karmakar, Sumit" userId="S::skarmakar@elogex.com::5d020034-ff2c-4e7e-8d00-e94708d613b2" providerId="AD" clId="Web-{7812BD10-F24D-FFF8-CCF4-431C27D5FD75}" dt="2024-03-14T12:40:04.697" v="27"/>
          <ac:grpSpMkLst>
            <pc:docMk/>
            <pc:sldMk cId="565861938" sldId="2147480095"/>
            <ac:grpSpMk id="36" creationId="{44D5F5C6-61AC-5590-CC69-F6BB6295AD86}"/>
          </ac:grpSpMkLst>
        </pc:grpChg>
        <pc:grpChg chg="del">
          <ac:chgData name="Karmakar, Sumit" userId="S::skarmakar@elogex.com::5d020034-ff2c-4e7e-8d00-e94708d613b2" providerId="AD" clId="Web-{7812BD10-F24D-FFF8-CCF4-431C27D5FD75}" dt="2024-03-14T12:40:04.697" v="26"/>
          <ac:grpSpMkLst>
            <pc:docMk/>
            <pc:sldMk cId="565861938" sldId="2147480095"/>
            <ac:grpSpMk id="39" creationId="{E12F2192-08A9-C6D2-59BF-6C5AEC85C4F1}"/>
          </ac:grpSpMkLst>
        </pc:grpChg>
        <pc:grpChg chg="del">
          <ac:chgData name="Karmakar, Sumit" userId="S::skarmakar@elogex.com::5d020034-ff2c-4e7e-8d00-e94708d613b2" providerId="AD" clId="Web-{7812BD10-F24D-FFF8-CCF4-431C27D5FD75}" dt="2024-03-14T12:40:04.697" v="33"/>
          <ac:grpSpMkLst>
            <pc:docMk/>
            <pc:sldMk cId="565861938" sldId="2147480095"/>
            <ac:grpSpMk id="42" creationId="{483CF175-83D8-3410-18BF-BCA554231BAC}"/>
          </ac:grpSpMkLst>
        </pc:grpChg>
        <pc:grpChg chg="del">
          <ac:chgData name="Karmakar, Sumit" userId="S::skarmakar@elogex.com::5d020034-ff2c-4e7e-8d00-e94708d613b2" providerId="AD" clId="Web-{7812BD10-F24D-FFF8-CCF4-431C27D5FD75}" dt="2024-03-14T12:40:04.697" v="32"/>
          <ac:grpSpMkLst>
            <pc:docMk/>
            <pc:sldMk cId="565861938" sldId="2147480095"/>
            <ac:grpSpMk id="45" creationId="{DA040813-9FA3-E824-4AF6-677E903C8431}"/>
          </ac:grpSpMkLst>
        </pc:grpChg>
        <pc:graphicFrameChg chg="del">
          <ac:chgData name="Karmakar, Sumit" userId="S::skarmakar@elogex.com::5d020034-ff2c-4e7e-8d00-e94708d613b2" providerId="AD" clId="Web-{7812BD10-F24D-FFF8-CCF4-431C27D5FD75}" dt="2024-03-14T12:40:04.697" v="28"/>
          <ac:graphicFrameMkLst>
            <pc:docMk/>
            <pc:sldMk cId="565861938" sldId="2147480095"/>
            <ac:graphicFrameMk id="4" creationId="{79080CB7-06B6-82CA-BE0D-A898B4E465A2}"/>
          </ac:graphicFrameMkLst>
        </pc:graphicFrameChg>
        <pc:graphicFrameChg chg="del">
          <ac:chgData name="Karmakar, Sumit" userId="S::skarmakar@elogex.com::5d020034-ff2c-4e7e-8d00-e94708d613b2" providerId="AD" clId="Web-{7812BD10-F24D-FFF8-CCF4-431C27D5FD75}" dt="2024-03-14T12:40:04.697" v="25"/>
          <ac:graphicFrameMkLst>
            <pc:docMk/>
            <pc:sldMk cId="565861938" sldId="2147480095"/>
            <ac:graphicFrameMk id="5" creationId="{37D500AB-85CD-ED69-A9E6-496AA1F5A14A}"/>
          </ac:graphicFrameMkLst>
        </pc:graphicFrameChg>
        <pc:graphicFrameChg chg="del">
          <ac:chgData name="Karmakar, Sumit" userId="S::skarmakar@elogex.com::5d020034-ff2c-4e7e-8d00-e94708d613b2" providerId="AD" clId="Web-{7812BD10-F24D-FFF8-CCF4-431C27D5FD75}" dt="2024-03-14T12:40:04.697" v="36"/>
          <ac:graphicFrameMkLst>
            <pc:docMk/>
            <pc:sldMk cId="565861938" sldId="2147480095"/>
            <ac:graphicFrameMk id="16" creationId="{9386FEDC-8876-077B-3622-ADD1D6A880A4}"/>
          </ac:graphicFrameMkLst>
        </pc:graphicFrameChg>
        <pc:graphicFrameChg chg="del">
          <ac:chgData name="Karmakar, Sumit" userId="S::skarmakar@elogex.com::5d020034-ff2c-4e7e-8d00-e94708d613b2" providerId="AD" clId="Web-{7812BD10-F24D-FFF8-CCF4-431C27D5FD75}" dt="2024-03-14T12:40:04.697" v="35"/>
          <ac:graphicFrameMkLst>
            <pc:docMk/>
            <pc:sldMk cId="565861938" sldId="2147480095"/>
            <ac:graphicFrameMk id="17" creationId="{E2282912-6E7A-93E6-E11A-CAB7D61222A7}"/>
          </ac:graphicFrameMkLst>
        </pc:graphicFrameChg>
        <pc:graphicFrameChg chg="del">
          <ac:chgData name="Karmakar, Sumit" userId="S::skarmakar@elogex.com::5d020034-ff2c-4e7e-8d00-e94708d613b2" providerId="AD" clId="Web-{7812BD10-F24D-FFF8-CCF4-431C27D5FD75}" dt="2024-03-14T12:40:04.697" v="31"/>
          <ac:graphicFrameMkLst>
            <pc:docMk/>
            <pc:sldMk cId="565861938" sldId="2147480095"/>
            <ac:graphicFrameMk id="55" creationId="{0DDB4D8A-FD51-7EB2-74C6-3BD441A69E42}"/>
          </ac:graphicFrameMkLst>
        </pc:graphicFrameChg>
        <pc:graphicFrameChg chg="del">
          <ac:chgData name="Karmakar, Sumit" userId="S::skarmakar@elogex.com::5d020034-ff2c-4e7e-8d00-e94708d613b2" providerId="AD" clId="Web-{7812BD10-F24D-FFF8-CCF4-431C27D5FD75}" dt="2024-03-14T12:40:04.697" v="29"/>
          <ac:graphicFrameMkLst>
            <pc:docMk/>
            <pc:sldMk cId="565861938" sldId="2147480095"/>
            <ac:graphicFrameMk id="58" creationId="{A4A3B5F2-2F53-FC1C-71F0-90917952E577}"/>
          </ac:graphicFrameMkLst>
        </pc:graphicFrameChg>
        <pc:picChg chg="add mod">
          <ac:chgData name="Karmakar, Sumit" userId="S::skarmakar@elogex.com::5d020034-ff2c-4e7e-8d00-e94708d613b2" providerId="AD" clId="Web-{7812BD10-F24D-FFF8-CCF4-431C27D5FD75}" dt="2024-03-14T12:40:27.791" v="55" actId="1076"/>
          <ac:picMkLst>
            <pc:docMk/>
            <pc:sldMk cId="565861938" sldId="2147480095"/>
            <ac:picMk id="6" creationId="{564F8508-1A4F-8581-325B-7D5F8C677BDF}"/>
          </ac:picMkLst>
        </pc:picChg>
        <pc:picChg chg="add mod">
          <ac:chgData name="Karmakar, Sumit" userId="S::skarmakar@elogex.com::5d020034-ff2c-4e7e-8d00-e94708d613b2" providerId="AD" clId="Web-{7812BD10-F24D-FFF8-CCF4-431C27D5FD75}" dt="2024-03-14T12:40:27.823" v="59" actId="1076"/>
          <ac:picMkLst>
            <pc:docMk/>
            <pc:sldMk cId="565861938" sldId="2147480095"/>
            <ac:picMk id="15" creationId="{8A5CF876-DC73-2936-0A37-5DC57B6D5068}"/>
          </ac:picMkLst>
        </pc:picChg>
        <pc:picChg chg="add mod">
          <ac:chgData name="Karmakar, Sumit" userId="S::skarmakar@elogex.com::5d020034-ff2c-4e7e-8d00-e94708d613b2" providerId="AD" clId="Web-{7812BD10-F24D-FFF8-CCF4-431C27D5FD75}" dt="2024-03-14T12:40:27.916" v="67" actId="1076"/>
          <ac:picMkLst>
            <pc:docMk/>
            <pc:sldMk cId="565861938" sldId="2147480095"/>
            <ac:picMk id="33" creationId="{1211DC14-FB69-49C8-17E3-A52DE2956DE6}"/>
          </ac:picMkLst>
        </pc:picChg>
        <pc:picChg chg="add mod">
          <ac:chgData name="Karmakar, Sumit" userId="S::skarmakar@elogex.com::5d020034-ff2c-4e7e-8d00-e94708d613b2" providerId="AD" clId="Web-{7812BD10-F24D-FFF8-CCF4-431C27D5FD75}" dt="2024-03-14T12:40:27.916" v="68" actId="1076"/>
          <ac:picMkLst>
            <pc:docMk/>
            <pc:sldMk cId="565861938" sldId="2147480095"/>
            <ac:picMk id="48" creationId="{C214F85E-9E03-BBF1-C7A1-9B77DDE3A3F9}"/>
          </ac:picMkLst>
        </pc:picChg>
        <pc:picChg chg="add mod">
          <ac:chgData name="Karmakar, Sumit" userId="S::skarmakar@elogex.com::5d020034-ff2c-4e7e-8d00-e94708d613b2" providerId="AD" clId="Web-{7812BD10-F24D-FFF8-CCF4-431C27D5FD75}" dt="2024-03-14T12:40:27.932" v="69" actId="1076"/>
          <ac:picMkLst>
            <pc:docMk/>
            <pc:sldMk cId="565861938" sldId="2147480095"/>
            <ac:picMk id="50" creationId="{0EE71DD9-68F2-73DF-03D9-8F26D1DB79CC}"/>
          </ac:picMkLst>
        </pc:picChg>
        <pc:picChg chg="add mod">
          <ac:chgData name="Karmakar, Sumit" userId="S::skarmakar@elogex.com::5d020034-ff2c-4e7e-8d00-e94708d613b2" providerId="AD" clId="Web-{7812BD10-F24D-FFF8-CCF4-431C27D5FD75}" dt="2024-03-14T12:40:27.948" v="70" actId="1076"/>
          <ac:picMkLst>
            <pc:docMk/>
            <pc:sldMk cId="565861938" sldId="2147480095"/>
            <ac:picMk id="52" creationId="{BA4BA1F2-EA5A-2C6C-6D6C-0BB978DEA1C8}"/>
          </ac:picMkLst>
        </pc:picChg>
        <pc:picChg chg="add mod">
          <ac:chgData name="Karmakar, Sumit" userId="S::skarmakar@elogex.com::5d020034-ff2c-4e7e-8d00-e94708d613b2" providerId="AD" clId="Web-{7812BD10-F24D-FFF8-CCF4-431C27D5FD75}" dt="2024-03-14T12:40:27.948" v="71" actId="1076"/>
          <ac:picMkLst>
            <pc:docMk/>
            <pc:sldMk cId="565861938" sldId="2147480095"/>
            <ac:picMk id="54" creationId="{5F4AE74D-BB62-4130-F0A2-3FAA4A7D8817}"/>
          </ac:picMkLst>
        </pc:picChg>
      </pc:sldChg>
      <pc:sldChg chg="modSp">
        <pc:chgData name="Karmakar, Sumit" userId="S::skarmakar@elogex.com::5d020034-ff2c-4e7e-8d00-e94708d613b2" providerId="AD" clId="Web-{7812BD10-F24D-FFF8-CCF4-431C27D5FD75}" dt="2024-03-13T19:10:18.249" v="3" actId="20577"/>
        <pc:sldMkLst>
          <pc:docMk/>
          <pc:sldMk cId="3119129675" sldId="2147480103"/>
        </pc:sldMkLst>
        <pc:spChg chg="mod">
          <ac:chgData name="Karmakar, Sumit" userId="S::skarmakar@elogex.com::5d020034-ff2c-4e7e-8d00-e94708d613b2" providerId="AD" clId="Web-{7812BD10-F24D-FFF8-CCF4-431C27D5FD75}" dt="2024-03-13T19:10:18.249" v="3" actId="20577"/>
          <ac:spMkLst>
            <pc:docMk/>
            <pc:sldMk cId="3119129675" sldId="2147480103"/>
            <ac:spMk id="2" creationId="{0329E297-E798-08B1-A1CC-65371311D18E}"/>
          </ac:spMkLst>
        </pc:spChg>
      </pc:sldChg>
      <pc:sldChg chg="del">
        <pc:chgData name="Karmakar, Sumit" userId="S::skarmakar@elogex.com::5d020034-ff2c-4e7e-8d00-e94708d613b2" providerId="AD" clId="Web-{7812BD10-F24D-FFF8-CCF4-431C27D5FD75}" dt="2024-03-13T19:10:00.265" v="0"/>
        <pc:sldMkLst>
          <pc:docMk/>
          <pc:sldMk cId="3047443819" sldId="2147480108"/>
        </pc:sldMkLst>
      </pc:sldChg>
      <pc:sldChg chg="add replId">
        <pc:chgData name="Karmakar, Sumit" userId="S::skarmakar@elogex.com::5d020034-ff2c-4e7e-8d00-e94708d613b2" providerId="AD" clId="Web-{7812BD10-F24D-FFF8-CCF4-431C27D5FD75}" dt="2024-03-14T12:39:48.728" v="22"/>
        <pc:sldMkLst>
          <pc:docMk/>
          <pc:sldMk cId="3370766724" sldId="2147480108"/>
        </pc:sldMkLst>
      </pc:sldChg>
      <pc:sldChg chg="addSp delSp modSp add replId">
        <pc:chgData name="Karmakar, Sumit" userId="S::skarmakar@elogex.com::5d020034-ff2c-4e7e-8d00-e94708d613b2" providerId="AD" clId="Web-{7812BD10-F24D-FFF8-CCF4-431C27D5FD75}" dt="2024-03-14T12:42:01.621" v="106" actId="14100"/>
        <pc:sldMkLst>
          <pc:docMk/>
          <pc:sldMk cId="480133652" sldId="2147480109"/>
        </pc:sldMkLst>
        <pc:spChg chg="mod">
          <ac:chgData name="Karmakar, Sumit" userId="S::skarmakar@elogex.com::5d020034-ff2c-4e7e-8d00-e94708d613b2" providerId="AD" clId="Web-{7812BD10-F24D-FFF8-CCF4-431C27D5FD75}" dt="2024-03-14T12:41:34.933" v="85" actId="20577"/>
          <ac:spMkLst>
            <pc:docMk/>
            <pc:sldMk cId="480133652" sldId="2147480109"/>
            <ac:spMk id="2" creationId="{0329E297-E798-08B1-A1CC-65371311D18E}"/>
          </ac:spMkLst>
        </pc:spChg>
        <pc:spChg chg="add mod">
          <ac:chgData name="Karmakar, Sumit" userId="S::skarmakar@elogex.com::5d020034-ff2c-4e7e-8d00-e94708d613b2" providerId="AD" clId="Web-{7812BD10-F24D-FFF8-CCF4-431C27D5FD75}" dt="2024-03-14T12:42:01.621" v="106" actId="14100"/>
          <ac:spMkLst>
            <pc:docMk/>
            <pc:sldMk cId="480133652" sldId="2147480109"/>
            <ac:spMk id="4" creationId="{0316E24A-36E5-F9DC-64A3-504BD87305DA}"/>
          </ac:spMkLst>
        </pc:spChg>
        <pc:spChg chg="del">
          <ac:chgData name="Karmakar, Sumit" userId="S::skarmakar@elogex.com::5d020034-ff2c-4e7e-8d00-e94708d613b2" providerId="AD" clId="Web-{7812BD10-F24D-FFF8-CCF4-431C27D5FD75}" dt="2024-03-14T12:41:40.324" v="101"/>
          <ac:spMkLst>
            <pc:docMk/>
            <pc:sldMk cId="480133652" sldId="2147480109"/>
            <ac:spMk id="9" creationId="{07CE4040-D44C-B20B-3297-1B5F090F8C99}"/>
          </ac:spMkLst>
        </pc:spChg>
        <pc:spChg chg="del">
          <ac:chgData name="Karmakar, Sumit" userId="S::skarmakar@elogex.com::5d020034-ff2c-4e7e-8d00-e94708d613b2" providerId="AD" clId="Web-{7812BD10-F24D-FFF8-CCF4-431C27D5FD75}" dt="2024-03-14T12:41:40.324" v="100"/>
          <ac:spMkLst>
            <pc:docMk/>
            <pc:sldMk cId="480133652" sldId="2147480109"/>
            <ac:spMk id="11" creationId="{9B8733AF-1ACA-0817-500E-BF850E95ECC4}"/>
          </ac:spMkLst>
        </pc:spChg>
        <pc:spChg chg="del">
          <ac:chgData name="Karmakar, Sumit" userId="S::skarmakar@elogex.com::5d020034-ff2c-4e7e-8d00-e94708d613b2" providerId="AD" clId="Web-{7812BD10-F24D-FFF8-CCF4-431C27D5FD75}" dt="2024-03-14T12:41:40.324" v="99"/>
          <ac:spMkLst>
            <pc:docMk/>
            <pc:sldMk cId="480133652" sldId="2147480109"/>
            <ac:spMk id="13" creationId="{C1D28996-B9E7-8C64-127C-378031DDAC5B}"/>
          </ac:spMkLst>
        </pc:spChg>
        <pc:spChg chg="del">
          <ac:chgData name="Karmakar, Sumit" userId="S::skarmakar@elogex.com::5d020034-ff2c-4e7e-8d00-e94708d613b2" providerId="AD" clId="Web-{7812BD10-F24D-FFF8-CCF4-431C27D5FD75}" dt="2024-03-14T12:41:40.309" v="97"/>
          <ac:spMkLst>
            <pc:docMk/>
            <pc:sldMk cId="480133652" sldId="2147480109"/>
            <ac:spMk id="19" creationId="{4D995FCE-2224-CDDB-DDEA-4F6A2FB80C72}"/>
          </ac:spMkLst>
        </pc:spChg>
        <pc:spChg chg="del">
          <ac:chgData name="Karmakar, Sumit" userId="S::skarmakar@elogex.com::5d020034-ff2c-4e7e-8d00-e94708d613b2" providerId="AD" clId="Web-{7812BD10-F24D-FFF8-CCF4-431C27D5FD75}" dt="2024-03-14T12:41:40.309" v="96"/>
          <ac:spMkLst>
            <pc:docMk/>
            <pc:sldMk cId="480133652" sldId="2147480109"/>
            <ac:spMk id="21" creationId="{80FEDC7B-E799-1C2B-1C3F-CDD3197062CA}"/>
          </ac:spMkLst>
        </pc:spChg>
        <pc:spChg chg="del">
          <ac:chgData name="Karmakar, Sumit" userId="S::skarmakar@elogex.com::5d020034-ff2c-4e7e-8d00-e94708d613b2" providerId="AD" clId="Web-{7812BD10-F24D-FFF8-CCF4-431C27D5FD75}" dt="2024-03-14T12:41:40.309" v="95"/>
          <ac:spMkLst>
            <pc:docMk/>
            <pc:sldMk cId="480133652" sldId="2147480109"/>
            <ac:spMk id="23" creationId="{920ABBEB-F283-196D-8086-99FAA1F4F9B3}"/>
          </ac:spMkLst>
        </pc:spChg>
        <pc:spChg chg="del">
          <ac:chgData name="Karmakar, Sumit" userId="S::skarmakar@elogex.com::5d020034-ff2c-4e7e-8d00-e94708d613b2" providerId="AD" clId="Web-{7812BD10-F24D-FFF8-CCF4-431C27D5FD75}" dt="2024-03-14T12:41:40.309" v="94"/>
          <ac:spMkLst>
            <pc:docMk/>
            <pc:sldMk cId="480133652" sldId="2147480109"/>
            <ac:spMk id="25" creationId="{0E961777-BCE0-B3C3-9228-16DF9679EB1C}"/>
          </ac:spMkLst>
        </pc:spChg>
        <pc:spChg chg="del">
          <ac:chgData name="Karmakar, Sumit" userId="S::skarmakar@elogex.com::5d020034-ff2c-4e7e-8d00-e94708d613b2" providerId="AD" clId="Web-{7812BD10-F24D-FFF8-CCF4-431C27D5FD75}" dt="2024-03-14T12:41:40.309" v="93"/>
          <ac:spMkLst>
            <pc:docMk/>
            <pc:sldMk cId="480133652" sldId="2147480109"/>
            <ac:spMk id="27" creationId="{851BF37F-AE54-9EC4-7B8E-B0D6E1D8DCB4}"/>
          </ac:spMkLst>
        </pc:spChg>
        <pc:spChg chg="del">
          <ac:chgData name="Karmakar, Sumit" userId="S::skarmakar@elogex.com::5d020034-ff2c-4e7e-8d00-e94708d613b2" providerId="AD" clId="Web-{7812BD10-F24D-FFF8-CCF4-431C27D5FD75}" dt="2024-03-14T12:41:40.309" v="92"/>
          <ac:spMkLst>
            <pc:docMk/>
            <pc:sldMk cId="480133652" sldId="2147480109"/>
            <ac:spMk id="29" creationId="{4E17A846-0BA2-FE67-6117-4A9F9C2AC2DA}"/>
          </ac:spMkLst>
        </pc:spChg>
        <pc:spChg chg="del">
          <ac:chgData name="Karmakar, Sumit" userId="S::skarmakar@elogex.com::5d020034-ff2c-4e7e-8d00-e94708d613b2" providerId="AD" clId="Web-{7812BD10-F24D-FFF8-CCF4-431C27D5FD75}" dt="2024-03-14T12:41:40.309" v="86"/>
          <ac:spMkLst>
            <pc:docMk/>
            <pc:sldMk cId="480133652" sldId="2147480109"/>
            <ac:spMk id="59" creationId="{CDE944F2-26E5-83C1-4747-3CEFEE5CE018}"/>
          </ac:spMkLst>
        </pc:spChg>
        <pc:picChg chg="del">
          <ac:chgData name="Karmakar, Sumit" userId="S::skarmakar@elogex.com::5d020034-ff2c-4e7e-8d00-e94708d613b2" providerId="AD" clId="Web-{7812BD10-F24D-FFF8-CCF4-431C27D5FD75}" dt="2024-03-14T12:41:40.324" v="102"/>
          <ac:picMkLst>
            <pc:docMk/>
            <pc:sldMk cId="480133652" sldId="2147480109"/>
            <ac:picMk id="6" creationId="{564F8508-1A4F-8581-325B-7D5F8C677BDF}"/>
          </ac:picMkLst>
        </pc:picChg>
        <pc:picChg chg="del">
          <ac:chgData name="Karmakar, Sumit" userId="S::skarmakar@elogex.com::5d020034-ff2c-4e7e-8d00-e94708d613b2" providerId="AD" clId="Web-{7812BD10-F24D-FFF8-CCF4-431C27D5FD75}" dt="2024-03-14T12:41:40.324" v="98"/>
          <ac:picMkLst>
            <pc:docMk/>
            <pc:sldMk cId="480133652" sldId="2147480109"/>
            <ac:picMk id="15" creationId="{8A5CF876-DC73-2936-0A37-5DC57B6D5068}"/>
          </ac:picMkLst>
        </pc:picChg>
        <pc:picChg chg="del">
          <ac:chgData name="Karmakar, Sumit" userId="S::skarmakar@elogex.com::5d020034-ff2c-4e7e-8d00-e94708d613b2" providerId="AD" clId="Web-{7812BD10-F24D-FFF8-CCF4-431C27D5FD75}" dt="2024-03-14T12:41:40.309" v="91"/>
          <ac:picMkLst>
            <pc:docMk/>
            <pc:sldMk cId="480133652" sldId="2147480109"/>
            <ac:picMk id="33" creationId="{1211DC14-FB69-49C8-17E3-A52DE2956DE6}"/>
          </ac:picMkLst>
        </pc:picChg>
        <pc:picChg chg="del">
          <ac:chgData name="Karmakar, Sumit" userId="S::skarmakar@elogex.com::5d020034-ff2c-4e7e-8d00-e94708d613b2" providerId="AD" clId="Web-{7812BD10-F24D-FFF8-CCF4-431C27D5FD75}" dt="2024-03-14T12:41:40.309" v="90"/>
          <ac:picMkLst>
            <pc:docMk/>
            <pc:sldMk cId="480133652" sldId="2147480109"/>
            <ac:picMk id="48" creationId="{C214F85E-9E03-BBF1-C7A1-9B77DDE3A3F9}"/>
          </ac:picMkLst>
        </pc:picChg>
        <pc:picChg chg="del">
          <ac:chgData name="Karmakar, Sumit" userId="S::skarmakar@elogex.com::5d020034-ff2c-4e7e-8d00-e94708d613b2" providerId="AD" clId="Web-{7812BD10-F24D-FFF8-CCF4-431C27D5FD75}" dt="2024-03-14T12:41:40.309" v="89"/>
          <ac:picMkLst>
            <pc:docMk/>
            <pc:sldMk cId="480133652" sldId="2147480109"/>
            <ac:picMk id="50" creationId="{0EE71DD9-68F2-73DF-03D9-8F26D1DB79CC}"/>
          </ac:picMkLst>
        </pc:picChg>
        <pc:picChg chg="del">
          <ac:chgData name="Karmakar, Sumit" userId="S::skarmakar@elogex.com::5d020034-ff2c-4e7e-8d00-e94708d613b2" providerId="AD" clId="Web-{7812BD10-F24D-FFF8-CCF4-431C27D5FD75}" dt="2024-03-14T12:41:40.309" v="88"/>
          <ac:picMkLst>
            <pc:docMk/>
            <pc:sldMk cId="480133652" sldId="2147480109"/>
            <ac:picMk id="52" creationId="{BA4BA1F2-EA5A-2C6C-6D6C-0BB978DEA1C8}"/>
          </ac:picMkLst>
        </pc:picChg>
        <pc:picChg chg="del">
          <ac:chgData name="Karmakar, Sumit" userId="S::skarmakar@elogex.com::5d020034-ff2c-4e7e-8d00-e94708d613b2" providerId="AD" clId="Web-{7812BD10-F24D-FFF8-CCF4-431C27D5FD75}" dt="2024-03-14T12:41:40.309" v="87"/>
          <ac:picMkLst>
            <pc:docMk/>
            <pc:sldMk cId="480133652" sldId="2147480109"/>
            <ac:picMk id="54" creationId="{5F4AE74D-BB62-4130-F0A2-3FAA4A7D8817}"/>
          </ac:picMkLst>
        </pc:picChg>
      </pc:sldChg>
      <pc:sldMasterChg chg="addSldLayout">
        <pc:chgData name="Karmakar, Sumit" userId="S::skarmakar@elogex.com::5d020034-ff2c-4e7e-8d00-e94708d613b2" providerId="AD" clId="Web-{7812BD10-F24D-FFF8-CCF4-431C27D5FD75}" dt="2024-03-14T12:38:19.913" v="4"/>
        <pc:sldMasterMkLst>
          <pc:docMk/>
          <pc:sldMasterMk cId="2758596200" sldId="2147484363"/>
        </pc:sldMasterMkLst>
        <pc:sldLayoutChg chg="add">
          <pc:chgData name="Karmakar, Sumit" userId="S::skarmakar@elogex.com::5d020034-ff2c-4e7e-8d00-e94708d613b2" providerId="AD" clId="Web-{7812BD10-F24D-FFF8-CCF4-431C27D5FD75}" dt="2024-03-14T12:38:19.913" v="4"/>
          <pc:sldLayoutMkLst>
            <pc:docMk/>
            <pc:sldMasterMk cId="2758596200" sldId="2147483767"/>
            <pc:sldLayoutMk cId="3756399133" sldId="2147484362"/>
          </pc:sldLayoutMkLst>
        </pc:sldLayoutChg>
      </pc:sldMasterChg>
    </pc:docChg>
  </pc:docChgLst>
  <pc:docChgLst>
    <pc:chgData name="Karmakar, Sumit" userId="S::skarmakar@elogex.com::5d020034-ff2c-4e7e-8d00-e94708d613b2" providerId="AD" clId="Web-{7EA14D0D-F80D-6848-A3E8-53CE4EB88D02}"/>
    <pc:docChg chg="modSld">
      <pc:chgData name="Karmakar, Sumit" userId="S::skarmakar@elogex.com::5d020034-ff2c-4e7e-8d00-e94708d613b2" providerId="AD" clId="Web-{7EA14D0D-F80D-6848-A3E8-53CE4EB88D02}" dt="2024-03-21T20:38:22.384" v="0" actId="20577"/>
      <pc:docMkLst>
        <pc:docMk/>
      </pc:docMkLst>
      <pc:sldChg chg="modSp">
        <pc:chgData name="Karmakar, Sumit" userId="S::skarmakar@elogex.com::5d020034-ff2c-4e7e-8d00-e94708d613b2" providerId="AD" clId="Web-{7EA14D0D-F80D-6848-A3E8-53CE4EB88D02}" dt="2024-03-21T20:38:22.384" v="0" actId="20577"/>
        <pc:sldMkLst>
          <pc:docMk/>
          <pc:sldMk cId="1765818760" sldId="2147480113"/>
        </pc:sldMkLst>
        <pc:spChg chg="mod">
          <ac:chgData name="Karmakar, Sumit" userId="S::skarmakar@elogex.com::5d020034-ff2c-4e7e-8d00-e94708d613b2" providerId="AD" clId="Web-{7EA14D0D-F80D-6848-A3E8-53CE4EB88D02}" dt="2024-03-21T20:38:22.384" v="0" actId="20577"/>
          <ac:spMkLst>
            <pc:docMk/>
            <pc:sldMk cId="1765818760" sldId="2147480113"/>
            <ac:spMk id="3" creationId="{9BC057FF-11FD-B2DB-9397-763690850573}"/>
          </ac:spMkLst>
        </pc:spChg>
      </pc:sldChg>
    </pc:docChg>
  </pc:docChgLst>
  <pc:docChgLst>
    <pc:chgData name="Howell, Alexandra" userId="S::ahowell@elogex.com::b24ac530-baea-4066-a1a8-5a645cdd3eb4" providerId="AD" clId="Web-{6A875839-60B2-077B-CE33-112FBC69B266}"/>
    <pc:docChg chg="modSld">
      <pc:chgData name="Howell, Alexandra" userId="S::ahowell@elogex.com::b24ac530-baea-4066-a1a8-5a645cdd3eb4" providerId="AD" clId="Web-{6A875839-60B2-077B-CE33-112FBC69B266}" dt="2024-03-25T21:12:00.924" v="24" actId="1076"/>
      <pc:docMkLst>
        <pc:docMk/>
      </pc:docMkLst>
      <pc:sldChg chg="addSp delSp modSp">
        <pc:chgData name="Howell, Alexandra" userId="S::ahowell@elogex.com::b24ac530-baea-4066-a1a8-5a645cdd3eb4" providerId="AD" clId="Web-{6A875839-60B2-077B-CE33-112FBC69B266}" dt="2024-03-25T21:12:00.924" v="24" actId="1076"/>
        <pc:sldMkLst>
          <pc:docMk/>
          <pc:sldMk cId="565861938" sldId="2147480095"/>
        </pc:sldMkLst>
        <pc:picChg chg="del">
          <ac:chgData name="Howell, Alexandra" userId="S::ahowell@elogex.com::b24ac530-baea-4066-a1a8-5a645cdd3eb4" providerId="AD" clId="Web-{6A875839-60B2-077B-CE33-112FBC69B266}" dt="2024-03-25T21:11:55.252" v="22"/>
          <ac:picMkLst>
            <pc:docMk/>
            <pc:sldMk cId="565861938" sldId="2147480095"/>
            <ac:picMk id="6" creationId="{564F8508-1A4F-8581-325B-7D5F8C677BDF}"/>
          </ac:picMkLst>
        </pc:picChg>
        <pc:picChg chg="add mod">
          <ac:chgData name="Howell, Alexandra" userId="S::ahowell@elogex.com::b24ac530-baea-4066-a1a8-5a645cdd3eb4" providerId="AD" clId="Web-{6A875839-60B2-077B-CE33-112FBC69B266}" dt="2024-03-25T21:12:00.924" v="24" actId="1076"/>
          <ac:picMkLst>
            <pc:docMk/>
            <pc:sldMk cId="565861938" sldId="2147480095"/>
            <ac:picMk id="8" creationId="{E07F63C1-3B84-2D5B-A80B-B12FD0E813B3}"/>
          </ac:picMkLst>
        </pc:picChg>
        <pc:picChg chg="del">
          <ac:chgData name="Howell, Alexandra" userId="S::ahowell@elogex.com::b24ac530-baea-4066-a1a8-5a645cdd3eb4" providerId="AD" clId="Web-{6A875839-60B2-077B-CE33-112FBC69B266}" dt="2024-03-25T21:11:52.424" v="20"/>
          <ac:picMkLst>
            <pc:docMk/>
            <pc:sldMk cId="565861938" sldId="2147480095"/>
            <ac:picMk id="15" creationId="{8A5CF876-DC73-2936-0A37-5DC57B6D5068}"/>
          </ac:picMkLst>
        </pc:picChg>
      </pc:sldChg>
      <pc:sldChg chg="modSp">
        <pc:chgData name="Howell, Alexandra" userId="S::ahowell@elogex.com::b24ac530-baea-4066-a1a8-5a645cdd3eb4" providerId="AD" clId="Web-{6A875839-60B2-077B-CE33-112FBC69B266}" dt="2024-03-25T20:58:11.811" v="19" actId="20577"/>
        <pc:sldMkLst>
          <pc:docMk/>
          <pc:sldMk cId="50788646" sldId="2147480107"/>
        </pc:sldMkLst>
        <pc:spChg chg="mod">
          <ac:chgData name="Howell, Alexandra" userId="S::ahowell@elogex.com::b24ac530-baea-4066-a1a8-5a645cdd3eb4" providerId="AD" clId="Web-{6A875839-60B2-077B-CE33-112FBC69B266}" dt="2024-03-25T20:58:11.811" v="19" actId="20577"/>
          <ac:spMkLst>
            <pc:docMk/>
            <pc:sldMk cId="50788646" sldId="2147480107"/>
            <ac:spMk id="15" creationId="{1F7BCB79-682D-216B-E063-16CE18D59036}"/>
          </ac:spMkLst>
        </pc:spChg>
      </pc:sldChg>
    </pc:docChg>
  </pc:docChgLst>
  <pc:docChgLst>
    <pc:chgData name="LeMons, Daniel" userId="S::dlemons@elogex.com::65097b81-23d4-411d-8a8e-a78030669d81" providerId="AD" clId="Web-{4961B9A4-D15D-DF3B-C66C-4AEF0008B4BB}"/>
    <pc:docChg chg="addSld delSld modSld modSection">
      <pc:chgData name="LeMons, Daniel" userId="S::dlemons@elogex.com::65097b81-23d4-411d-8a8e-a78030669d81" providerId="AD" clId="Web-{4961B9A4-D15D-DF3B-C66C-4AEF0008B4BB}" dt="2024-03-27T13:19:40.513" v="26"/>
      <pc:docMkLst>
        <pc:docMk/>
      </pc:docMkLst>
      <pc:sldChg chg="addSp delSp modSp">
        <pc:chgData name="LeMons, Daniel" userId="S::dlemons@elogex.com::65097b81-23d4-411d-8a8e-a78030669d81" providerId="AD" clId="Web-{4961B9A4-D15D-DF3B-C66C-4AEF0008B4BB}" dt="2024-03-27T12:54:57.793" v="4"/>
        <pc:sldMkLst>
          <pc:docMk/>
          <pc:sldMk cId="480133652" sldId="2147480109"/>
        </pc:sldMkLst>
        <pc:spChg chg="add del mod">
          <ac:chgData name="LeMons, Daniel" userId="S::dlemons@elogex.com::65097b81-23d4-411d-8a8e-a78030669d81" providerId="AD" clId="Web-{4961B9A4-D15D-DF3B-C66C-4AEF0008B4BB}" dt="2024-03-27T12:54:57.793" v="4"/>
          <ac:spMkLst>
            <pc:docMk/>
            <pc:sldMk cId="480133652" sldId="2147480109"/>
            <ac:spMk id="3" creationId="{1CC533DF-858F-BF63-4CD3-672D8DF544F8}"/>
          </ac:spMkLst>
        </pc:spChg>
      </pc:sldChg>
      <pc:sldChg chg="addSp modSp">
        <pc:chgData name="LeMons, Daniel" userId="S::dlemons@elogex.com::65097b81-23d4-411d-8a8e-a78030669d81" providerId="AD" clId="Web-{4961B9A4-D15D-DF3B-C66C-4AEF0008B4BB}" dt="2024-03-27T12:54:40.714" v="1"/>
        <pc:sldMkLst>
          <pc:docMk/>
          <pc:sldMk cId="1287383114" sldId="2147480126"/>
        </pc:sldMkLst>
        <pc:spChg chg="add mod">
          <ac:chgData name="LeMons, Daniel" userId="S::dlemons@elogex.com::65097b81-23d4-411d-8a8e-a78030669d81" providerId="AD" clId="Web-{4961B9A4-D15D-DF3B-C66C-4AEF0008B4BB}" dt="2024-03-27T12:54:40.714" v="1"/>
          <ac:spMkLst>
            <pc:docMk/>
            <pc:sldMk cId="1287383114" sldId="2147480126"/>
            <ac:spMk id="4" creationId="{2C8805C4-DFAB-F259-CFC0-518AC11EF440}"/>
          </ac:spMkLst>
        </pc:spChg>
      </pc:sldChg>
      <pc:sldChg chg="modSp add del">
        <pc:chgData name="LeMons, Daniel" userId="S::dlemons@elogex.com::65097b81-23d4-411d-8a8e-a78030669d81" providerId="AD" clId="Web-{4961B9A4-D15D-DF3B-C66C-4AEF0008B4BB}" dt="2024-03-27T13:19:40.513" v="26"/>
        <pc:sldMkLst>
          <pc:docMk/>
          <pc:sldMk cId="3427024960" sldId="2147480129"/>
        </pc:sldMkLst>
        <pc:spChg chg="mod">
          <ac:chgData name="LeMons, Daniel" userId="S::dlemons@elogex.com::65097b81-23d4-411d-8a8e-a78030669d81" providerId="AD" clId="Web-{4961B9A4-D15D-DF3B-C66C-4AEF0008B4BB}" dt="2024-03-27T12:57:10.376" v="8" actId="1076"/>
          <ac:spMkLst>
            <pc:docMk/>
            <pc:sldMk cId="3427024960" sldId="2147480129"/>
            <ac:spMk id="4" creationId="{56C3B578-999E-8BE4-4B21-FFDFCA4385DE}"/>
          </ac:spMkLst>
        </pc:spChg>
        <pc:graphicFrameChg chg="mod modGraphic">
          <ac:chgData name="LeMons, Daniel" userId="S::dlemons@elogex.com::65097b81-23d4-411d-8a8e-a78030669d81" providerId="AD" clId="Web-{4961B9A4-D15D-DF3B-C66C-4AEF0008B4BB}" dt="2024-03-27T12:58:49.801" v="25"/>
          <ac:graphicFrameMkLst>
            <pc:docMk/>
            <pc:sldMk cId="3427024960" sldId="2147480129"/>
            <ac:graphicFrameMk id="3" creationId="{CA9C21C4-2AEC-CC4C-240D-B02DAA76F564}"/>
          </ac:graphicFrameMkLst>
        </pc:graphicFrameChg>
        <pc:graphicFrameChg chg="mod">
          <ac:chgData name="LeMons, Daniel" userId="S::dlemons@elogex.com::65097b81-23d4-411d-8a8e-a78030669d81" providerId="AD" clId="Web-{4961B9A4-D15D-DF3B-C66C-4AEF0008B4BB}" dt="2024-03-27T12:57:17.751" v="9" actId="1076"/>
          <ac:graphicFrameMkLst>
            <pc:docMk/>
            <pc:sldMk cId="3427024960" sldId="2147480129"/>
            <ac:graphicFrameMk id="17" creationId="{39C2D995-BEAD-B4F2-BAA5-251C62A1C594}"/>
          </ac:graphicFrameMkLst>
        </pc:graphicFrameChg>
        <pc:graphicFrameChg chg="mod">
          <ac:chgData name="LeMons, Daniel" userId="S::dlemons@elogex.com::65097b81-23d4-411d-8a8e-a78030669d81" providerId="AD" clId="Web-{4961B9A4-D15D-DF3B-C66C-4AEF0008B4BB}" dt="2024-03-27T12:57:23.267" v="10" actId="1076"/>
          <ac:graphicFrameMkLst>
            <pc:docMk/>
            <pc:sldMk cId="3427024960" sldId="2147480129"/>
            <ac:graphicFrameMk id="55" creationId="{BAD24F01-D7F4-BF36-D16C-1074A0E6487F}"/>
          </ac:graphicFrameMkLst>
        </pc:graphicFrameChg>
      </pc:sldChg>
    </pc:docChg>
  </pc:docChgLst>
  <pc:docChgLst>
    <pc:chgData name="Karmakar, Sumit" userId="S::skarmakar@elogex.com::5d020034-ff2c-4e7e-8d00-e94708d613b2" providerId="AD" clId="Web-{3B4A209B-DD12-DC73-22C5-3CC97039142A}"/>
    <pc:docChg chg="modSld">
      <pc:chgData name="Karmakar, Sumit" userId="S::skarmakar@elogex.com::5d020034-ff2c-4e7e-8d00-e94708d613b2" providerId="AD" clId="Web-{3B4A209B-DD12-DC73-22C5-3CC97039142A}" dt="2024-03-28T00:37:51.106" v="3" actId="1076"/>
      <pc:docMkLst>
        <pc:docMk/>
      </pc:docMkLst>
      <pc:sldChg chg="modSp">
        <pc:chgData name="Karmakar, Sumit" userId="S::skarmakar@elogex.com::5d020034-ff2c-4e7e-8d00-e94708d613b2" providerId="AD" clId="Web-{3B4A209B-DD12-DC73-22C5-3CC97039142A}" dt="2024-03-28T00:37:51.106" v="3" actId="1076"/>
        <pc:sldMkLst>
          <pc:docMk/>
          <pc:sldMk cId="2638490646" sldId="2147480135"/>
        </pc:sldMkLst>
        <pc:graphicFrameChg chg="mod">
          <ac:chgData name="Karmakar, Sumit" userId="S::skarmakar@elogex.com::5d020034-ff2c-4e7e-8d00-e94708d613b2" providerId="AD" clId="Web-{3B4A209B-DD12-DC73-22C5-3CC97039142A}" dt="2024-03-28T00:37:51.106" v="3" actId="1076"/>
          <ac:graphicFrameMkLst>
            <pc:docMk/>
            <pc:sldMk cId="2638490646" sldId="2147480135"/>
            <ac:graphicFrameMk id="9" creationId="{1D77DC48-5028-B020-472E-05C3A4A8B91D}"/>
          </ac:graphicFrameMkLst>
        </pc:graphicFrameChg>
      </pc:sldChg>
    </pc:docChg>
  </pc:docChgLst>
  <pc:docChgLst>
    <pc:chgData name="LeMons, Daniel" userId="S::dlemons@elogex.com::65097b81-23d4-411d-8a8e-a78030669d81" providerId="AD" clId="Web-{43624414-9B79-7A94-EEC9-FC8544A55E44}"/>
    <pc:docChg chg="addSld modSld modSection">
      <pc:chgData name="LeMons, Daniel" userId="S::dlemons@elogex.com::65097b81-23d4-411d-8a8e-a78030669d81" providerId="AD" clId="Web-{43624414-9B79-7A94-EEC9-FC8544A55E44}" dt="2024-04-01T12:47:18.090" v="56" actId="20577"/>
      <pc:docMkLst>
        <pc:docMk/>
      </pc:docMkLst>
      <pc:sldChg chg="modSp">
        <pc:chgData name="LeMons, Daniel" userId="S::dlemons@elogex.com::65097b81-23d4-411d-8a8e-a78030669d81" providerId="AD" clId="Web-{43624414-9B79-7A94-EEC9-FC8544A55E44}" dt="2024-04-01T12:46:07.666" v="52" actId="20577"/>
        <pc:sldMkLst>
          <pc:docMk/>
          <pc:sldMk cId="1434049183" sldId="2126986164"/>
        </pc:sldMkLst>
        <pc:spChg chg="mod">
          <ac:chgData name="LeMons, Daniel" userId="S::dlemons@elogex.com::65097b81-23d4-411d-8a8e-a78030669d81" providerId="AD" clId="Web-{43624414-9B79-7A94-EEC9-FC8544A55E44}" dt="2024-04-01T12:46:07.666" v="52" actId="20577"/>
          <ac:spMkLst>
            <pc:docMk/>
            <pc:sldMk cId="1434049183" sldId="2126986164"/>
            <ac:spMk id="3" creationId="{94FB46C5-B2D8-F91B-A412-DE98DA8F897A}"/>
          </ac:spMkLst>
        </pc:spChg>
      </pc:sldChg>
      <pc:sldChg chg="add">
        <pc:chgData name="LeMons, Daniel" userId="S::dlemons@elogex.com::65097b81-23d4-411d-8a8e-a78030669d81" providerId="AD" clId="Web-{43624414-9B79-7A94-EEC9-FC8544A55E44}" dt="2024-04-01T12:31:50.073" v="0"/>
        <pc:sldMkLst>
          <pc:docMk/>
          <pc:sldMk cId="4023529935" sldId="2147479555"/>
        </pc:sldMkLst>
      </pc:sldChg>
      <pc:sldChg chg="modSp">
        <pc:chgData name="LeMons, Daniel" userId="S::dlemons@elogex.com::65097b81-23d4-411d-8a8e-a78030669d81" providerId="AD" clId="Web-{43624414-9B79-7A94-EEC9-FC8544A55E44}" dt="2024-04-01T12:45:50.946" v="50" actId="20577"/>
        <pc:sldMkLst>
          <pc:docMk/>
          <pc:sldMk cId="3118094164" sldId="2147480101"/>
        </pc:sldMkLst>
        <pc:spChg chg="mod">
          <ac:chgData name="LeMons, Daniel" userId="S::dlemons@elogex.com::65097b81-23d4-411d-8a8e-a78030669d81" providerId="AD" clId="Web-{43624414-9B79-7A94-EEC9-FC8544A55E44}" dt="2024-04-01T12:44:12.505" v="49" actId="20577"/>
          <ac:spMkLst>
            <pc:docMk/>
            <pc:sldMk cId="3118094164" sldId="2147480101"/>
            <ac:spMk id="9" creationId="{7FBA4B87-97CE-C427-F2E6-4E29EF3AAD3C}"/>
          </ac:spMkLst>
        </pc:spChg>
        <pc:spChg chg="mod">
          <ac:chgData name="LeMons, Daniel" userId="S::dlemons@elogex.com::65097b81-23d4-411d-8a8e-a78030669d81" providerId="AD" clId="Web-{43624414-9B79-7A94-EEC9-FC8544A55E44}" dt="2024-04-01T12:45:50.946" v="50" actId="20577"/>
          <ac:spMkLst>
            <pc:docMk/>
            <pc:sldMk cId="3118094164" sldId="2147480101"/>
            <ac:spMk id="38" creationId="{9B4FEC95-A79C-9E20-2BCB-542D6E45C3DF}"/>
          </ac:spMkLst>
        </pc:spChg>
      </pc:sldChg>
      <pc:sldChg chg="modSp">
        <pc:chgData name="LeMons, Daniel" userId="S::dlemons@elogex.com::65097b81-23d4-411d-8a8e-a78030669d81" providerId="AD" clId="Web-{43624414-9B79-7A94-EEC9-FC8544A55E44}" dt="2024-04-01T12:37:58.602" v="20"/>
        <pc:sldMkLst>
          <pc:docMk/>
          <pc:sldMk cId="3429014890" sldId="2147480119"/>
        </pc:sldMkLst>
        <pc:graphicFrameChg chg="mod modGraphic">
          <ac:chgData name="LeMons, Daniel" userId="S::dlemons@elogex.com::65097b81-23d4-411d-8a8e-a78030669d81" providerId="AD" clId="Web-{43624414-9B79-7A94-EEC9-FC8544A55E44}" dt="2024-04-01T12:37:58.602" v="20"/>
          <ac:graphicFrameMkLst>
            <pc:docMk/>
            <pc:sldMk cId="3429014890" sldId="2147480119"/>
            <ac:graphicFrameMk id="3" creationId="{1C312072-B092-412E-81AA-32A802D2C4FF}"/>
          </ac:graphicFrameMkLst>
        </pc:graphicFrameChg>
      </pc:sldChg>
      <pc:sldChg chg="modSp">
        <pc:chgData name="LeMons, Daniel" userId="S::dlemons@elogex.com::65097b81-23d4-411d-8a8e-a78030669d81" providerId="AD" clId="Web-{43624414-9B79-7A94-EEC9-FC8544A55E44}" dt="2024-04-01T12:42:37.065" v="41"/>
        <pc:sldMkLst>
          <pc:docMk/>
          <pc:sldMk cId="2801638841" sldId="2147480120"/>
        </pc:sldMkLst>
        <pc:spChg chg="mod">
          <ac:chgData name="LeMons, Daniel" userId="S::dlemons@elogex.com::65097b81-23d4-411d-8a8e-a78030669d81" providerId="AD" clId="Web-{43624414-9B79-7A94-EEC9-FC8544A55E44}" dt="2024-04-01T12:41:13.062" v="37"/>
          <ac:spMkLst>
            <pc:docMk/>
            <pc:sldMk cId="2801638841" sldId="2147480120"/>
            <ac:spMk id="10" creationId="{0BCBC748-911F-06EF-7C3F-AF99AEE718E2}"/>
          </ac:spMkLst>
        </pc:spChg>
        <pc:spChg chg="mod">
          <ac:chgData name="LeMons, Daniel" userId="S::dlemons@elogex.com::65097b81-23d4-411d-8a8e-a78030669d81" providerId="AD" clId="Web-{43624414-9B79-7A94-EEC9-FC8544A55E44}" dt="2024-04-01T12:41:28.062" v="38"/>
          <ac:spMkLst>
            <pc:docMk/>
            <pc:sldMk cId="2801638841" sldId="2147480120"/>
            <ac:spMk id="13" creationId="{0377915A-7407-2BC0-540A-2D7A9D245DD2}"/>
          </ac:spMkLst>
        </pc:spChg>
        <pc:spChg chg="mod">
          <ac:chgData name="LeMons, Daniel" userId="S::dlemons@elogex.com::65097b81-23d4-411d-8a8e-a78030669d81" providerId="AD" clId="Web-{43624414-9B79-7A94-EEC9-FC8544A55E44}" dt="2024-04-01T12:42:00.657" v="39"/>
          <ac:spMkLst>
            <pc:docMk/>
            <pc:sldMk cId="2801638841" sldId="2147480120"/>
            <ac:spMk id="15" creationId="{233807CC-61B9-19E9-5893-644D01D9A4FF}"/>
          </ac:spMkLst>
        </pc:spChg>
        <pc:spChg chg="mod">
          <ac:chgData name="LeMons, Daniel" userId="S::dlemons@elogex.com::65097b81-23d4-411d-8a8e-a78030669d81" providerId="AD" clId="Web-{43624414-9B79-7A94-EEC9-FC8544A55E44}" dt="2024-04-01T12:42:15.314" v="40"/>
          <ac:spMkLst>
            <pc:docMk/>
            <pc:sldMk cId="2801638841" sldId="2147480120"/>
            <ac:spMk id="17" creationId="{46BDCCCD-C468-5161-81DD-90C194F6BAB0}"/>
          </ac:spMkLst>
        </pc:spChg>
        <pc:spChg chg="mod">
          <ac:chgData name="LeMons, Daniel" userId="S::dlemons@elogex.com::65097b81-23d4-411d-8a8e-a78030669d81" providerId="AD" clId="Web-{43624414-9B79-7A94-EEC9-FC8544A55E44}" dt="2024-04-01T12:42:37.065" v="41"/>
          <ac:spMkLst>
            <pc:docMk/>
            <pc:sldMk cId="2801638841" sldId="2147480120"/>
            <ac:spMk id="29" creationId="{C843B6F1-57A4-EE8A-60B4-3037D56F5144}"/>
          </ac:spMkLst>
        </pc:spChg>
      </pc:sldChg>
      <pc:sldChg chg="modSp">
        <pc:chgData name="LeMons, Daniel" userId="S::dlemons@elogex.com::65097b81-23d4-411d-8a8e-a78030669d81" providerId="AD" clId="Web-{43624414-9B79-7A94-EEC9-FC8544A55E44}" dt="2024-04-01T12:38:27.525" v="36"/>
        <pc:sldMkLst>
          <pc:docMk/>
          <pc:sldMk cId="2930427818" sldId="2147480123"/>
        </pc:sldMkLst>
        <pc:graphicFrameChg chg="mod modGraphic">
          <ac:chgData name="LeMons, Daniel" userId="S::dlemons@elogex.com::65097b81-23d4-411d-8a8e-a78030669d81" providerId="AD" clId="Web-{43624414-9B79-7A94-EEC9-FC8544A55E44}" dt="2024-04-01T12:38:27.525" v="36"/>
          <ac:graphicFrameMkLst>
            <pc:docMk/>
            <pc:sldMk cId="2930427818" sldId="2147480123"/>
            <ac:graphicFrameMk id="9" creationId="{EBC76674-D92C-0398-CE76-269AE286316D}"/>
          </ac:graphicFrameMkLst>
        </pc:graphicFrameChg>
      </pc:sldChg>
      <pc:sldChg chg="modSp">
        <pc:chgData name="LeMons, Daniel" userId="S::dlemons@elogex.com::65097b81-23d4-411d-8a8e-a78030669d81" providerId="AD" clId="Web-{43624414-9B79-7A94-EEC9-FC8544A55E44}" dt="2024-04-01T12:43:26.769" v="43" actId="20577"/>
        <pc:sldMkLst>
          <pc:docMk/>
          <pc:sldMk cId="1577128654" sldId="2147480131"/>
        </pc:sldMkLst>
        <pc:spChg chg="mod">
          <ac:chgData name="LeMons, Daniel" userId="S::dlemons@elogex.com::65097b81-23d4-411d-8a8e-a78030669d81" providerId="AD" clId="Web-{43624414-9B79-7A94-EEC9-FC8544A55E44}" dt="2024-04-01T12:43:26.769" v="43" actId="20577"/>
          <ac:spMkLst>
            <pc:docMk/>
            <pc:sldMk cId="1577128654" sldId="2147480131"/>
            <ac:spMk id="5" creationId="{8F6EFACD-3FB3-538A-B211-980368F57CC3}"/>
          </ac:spMkLst>
        </pc:spChg>
      </pc:sldChg>
      <pc:sldChg chg="modSp">
        <pc:chgData name="LeMons, Daniel" userId="S::dlemons@elogex.com::65097b81-23d4-411d-8a8e-a78030669d81" providerId="AD" clId="Web-{43624414-9B79-7A94-EEC9-FC8544A55E44}" dt="2024-04-01T12:47:18.090" v="56" actId="20577"/>
        <pc:sldMkLst>
          <pc:docMk/>
          <pc:sldMk cId="1943466375" sldId="2147480132"/>
        </pc:sldMkLst>
        <pc:spChg chg="mod">
          <ac:chgData name="LeMons, Daniel" userId="S::dlemons@elogex.com::65097b81-23d4-411d-8a8e-a78030669d81" providerId="AD" clId="Web-{43624414-9B79-7A94-EEC9-FC8544A55E44}" dt="2024-04-01T12:47:18.090" v="56" actId="20577"/>
          <ac:spMkLst>
            <pc:docMk/>
            <pc:sldMk cId="1943466375" sldId="2147480132"/>
            <ac:spMk id="2" creationId="{7C082A7E-E310-17E3-E129-649341E980C1}"/>
          </ac:spMkLst>
        </pc:spChg>
        <pc:spChg chg="mod">
          <ac:chgData name="LeMons, Daniel" userId="S::dlemons@elogex.com::65097b81-23d4-411d-8a8e-a78030669d81" providerId="AD" clId="Web-{43624414-9B79-7A94-EEC9-FC8544A55E44}" dt="2024-04-01T12:47:07.996" v="54" actId="20577"/>
          <ac:spMkLst>
            <pc:docMk/>
            <pc:sldMk cId="1943466375" sldId="2147480132"/>
            <ac:spMk id="6" creationId="{67198E3D-3C9A-5220-0DC7-94E7ACF46720}"/>
          </ac:spMkLst>
        </pc:spChg>
      </pc:sldChg>
    </pc:docChg>
  </pc:docChgLst>
  <pc:docChgLst>
    <pc:chgData name="Van der Merwe, Erik" userId="a62317fc-2486-4a25-ba5a-86c81a817e31" providerId="ADAL" clId="{D18377C2-3BEF-4210-9AEC-1D608DE45F40}"/>
    <pc:docChg chg="undo custSel addSld delSld modSld sldOrd modSection">
      <pc:chgData name="Van der Merwe, Erik" userId="a62317fc-2486-4a25-ba5a-86c81a817e31" providerId="ADAL" clId="{D18377C2-3BEF-4210-9AEC-1D608DE45F40}" dt="2024-03-27T21:13:07.646" v="395" actId="20577"/>
      <pc:docMkLst>
        <pc:docMk/>
      </pc:docMkLst>
      <pc:sldChg chg="addSp delSp mod ord modShow">
        <pc:chgData name="Van der Merwe, Erik" userId="a62317fc-2486-4a25-ba5a-86c81a817e31" providerId="ADAL" clId="{D18377C2-3BEF-4210-9AEC-1D608DE45F40}" dt="2024-03-27T20:45:04.400" v="83" actId="729"/>
        <pc:sldMkLst>
          <pc:docMk/>
          <pc:sldMk cId="1765818760" sldId="2147480113"/>
        </pc:sldMkLst>
        <pc:picChg chg="add del">
          <ac:chgData name="Van der Merwe, Erik" userId="a62317fc-2486-4a25-ba5a-86c81a817e31" providerId="ADAL" clId="{D18377C2-3BEF-4210-9AEC-1D608DE45F40}" dt="2024-03-27T20:41:46" v="42" actId="478"/>
          <ac:picMkLst>
            <pc:docMk/>
            <pc:sldMk cId="1765818760" sldId="2147480113"/>
            <ac:picMk id="5" creationId="{FF648999-FD47-2646-74CD-B7F719E1314F}"/>
          </ac:picMkLst>
        </pc:picChg>
      </pc:sldChg>
      <pc:sldChg chg="addSp delSp modSp mod modAnim">
        <pc:chgData name="Van der Merwe, Erik" userId="a62317fc-2486-4a25-ba5a-86c81a817e31" providerId="ADAL" clId="{D18377C2-3BEF-4210-9AEC-1D608DE45F40}" dt="2024-03-27T21:13:07.646" v="395" actId="20577"/>
        <pc:sldMkLst>
          <pc:docMk/>
          <pc:sldMk cId="2801638841" sldId="2147480120"/>
        </pc:sldMkLst>
        <pc:spChg chg="mod">
          <ac:chgData name="Van der Merwe, Erik" userId="a62317fc-2486-4a25-ba5a-86c81a817e31" providerId="ADAL" clId="{D18377C2-3BEF-4210-9AEC-1D608DE45F40}" dt="2024-03-27T21:13:07.646" v="395" actId="20577"/>
          <ac:spMkLst>
            <pc:docMk/>
            <pc:sldMk cId="2801638841" sldId="2147480120"/>
            <ac:spMk id="2" creationId="{5429BBFA-3801-9631-FFE5-70B7418F24FD}"/>
          </ac:spMkLst>
        </pc:spChg>
        <pc:spChg chg="add mod">
          <ac:chgData name="Van der Merwe, Erik" userId="a62317fc-2486-4a25-ba5a-86c81a817e31" providerId="ADAL" clId="{D18377C2-3BEF-4210-9AEC-1D608DE45F40}" dt="2024-03-27T20:40:44.478" v="9" actId="571"/>
          <ac:spMkLst>
            <pc:docMk/>
            <pc:sldMk cId="2801638841" sldId="2147480120"/>
            <ac:spMk id="3" creationId="{379241B6-5214-5DB9-5442-AB6BD623EA00}"/>
          </ac:spMkLst>
        </pc:spChg>
        <pc:spChg chg="add mod">
          <ac:chgData name="Van der Merwe, Erik" userId="a62317fc-2486-4a25-ba5a-86c81a817e31" providerId="ADAL" clId="{D18377C2-3BEF-4210-9AEC-1D608DE45F40}" dt="2024-03-27T20:40:44.478" v="9" actId="571"/>
          <ac:spMkLst>
            <pc:docMk/>
            <pc:sldMk cId="2801638841" sldId="2147480120"/>
            <ac:spMk id="5" creationId="{8A71E8D1-DC51-2274-74DD-480663DD2748}"/>
          </ac:spMkLst>
        </pc:spChg>
        <pc:spChg chg="add mod">
          <ac:chgData name="Van der Merwe, Erik" userId="a62317fc-2486-4a25-ba5a-86c81a817e31" providerId="ADAL" clId="{D18377C2-3BEF-4210-9AEC-1D608DE45F40}" dt="2024-03-27T20:40:44.478" v="9" actId="571"/>
          <ac:spMkLst>
            <pc:docMk/>
            <pc:sldMk cId="2801638841" sldId="2147480120"/>
            <ac:spMk id="6" creationId="{D29BC58A-971F-C8DF-9CA4-158BDB6C050B}"/>
          </ac:spMkLst>
        </pc:spChg>
        <pc:spChg chg="add mod">
          <ac:chgData name="Van der Merwe, Erik" userId="a62317fc-2486-4a25-ba5a-86c81a817e31" providerId="ADAL" clId="{D18377C2-3BEF-4210-9AEC-1D608DE45F40}" dt="2024-03-27T20:40:44.478" v="9" actId="571"/>
          <ac:spMkLst>
            <pc:docMk/>
            <pc:sldMk cId="2801638841" sldId="2147480120"/>
            <ac:spMk id="7" creationId="{033678F6-453D-F74B-5B65-98B2A5148087}"/>
          </ac:spMkLst>
        </pc:spChg>
        <pc:spChg chg="add mod">
          <ac:chgData name="Van der Merwe, Erik" userId="a62317fc-2486-4a25-ba5a-86c81a817e31" providerId="ADAL" clId="{D18377C2-3BEF-4210-9AEC-1D608DE45F40}" dt="2024-03-27T20:47:35.389" v="120" actId="1076"/>
          <ac:spMkLst>
            <pc:docMk/>
            <pc:sldMk cId="2801638841" sldId="2147480120"/>
            <ac:spMk id="10" creationId="{0BCBC748-911F-06EF-7C3F-AF99AEE718E2}"/>
          </ac:spMkLst>
        </pc:spChg>
        <pc:spChg chg="add mod">
          <ac:chgData name="Van der Merwe, Erik" userId="a62317fc-2486-4a25-ba5a-86c81a817e31" providerId="ADAL" clId="{D18377C2-3BEF-4210-9AEC-1D608DE45F40}" dt="2024-03-27T21:07:09.226" v="372" actId="12789"/>
          <ac:spMkLst>
            <pc:docMk/>
            <pc:sldMk cId="2801638841" sldId="2147480120"/>
            <ac:spMk id="11" creationId="{C9E5FBD0-E52B-83EF-3170-F53D7786AD87}"/>
          </ac:spMkLst>
        </pc:spChg>
        <pc:spChg chg="add mod">
          <ac:chgData name="Van der Merwe, Erik" userId="a62317fc-2486-4a25-ba5a-86c81a817e31" providerId="ADAL" clId="{D18377C2-3BEF-4210-9AEC-1D608DE45F40}" dt="2024-03-27T20:48:41.632" v="134" actId="14100"/>
          <ac:spMkLst>
            <pc:docMk/>
            <pc:sldMk cId="2801638841" sldId="2147480120"/>
            <ac:spMk id="13" creationId="{0377915A-7407-2BC0-540A-2D7A9D245DD2}"/>
          </ac:spMkLst>
        </pc:spChg>
        <pc:spChg chg="add mod">
          <ac:chgData name="Van der Merwe, Erik" userId="a62317fc-2486-4a25-ba5a-86c81a817e31" providerId="ADAL" clId="{D18377C2-3BEF-4210-9AEC-1D608DE45F40}" dt="2024-03-27T21:07:09.226" v="372" actId="12789"/>
          <ac:spMkLst>
            <pc:docMk/>
            <pc:sldMk cId="2801638841" sldId="2147480120"/>
            <ac:spMk id="14" creationId="{31BEAA82-7D02-90A0-F23F-3528FCC98192}"/>
          </ac:spMkLst>
        </pc:spChg>
        <pc:spChg chg="add mod">
          <ac:chgData name="Van der Merwe, Erik" userId="a62317fc-2486-4a25-ba5a-86c81a817e31" providerId="ADAL" clId="{D18377C2-3BEF-4210-9AEC-1D608DE45F40}" dt="2024-03-27T21:10:43.302" v="380" actId="12788"/>
          <ac:spMkLst>
            <pc:docMk/>
            <pc:sldMk cId="2801638841" sldId="2147480120"/>
            <ac:spMk id="15" creationId="{233807CC-61B9-19E9-5893-644D01D9A4FF}"/>
          </ac:spMkLst>
        </pc:spChg>
        <pc:spChg chg="add mod">
          <ac:chgData name="Van der Merwe, Erik" userId="a62317fc-2486-4a25-ba5a-86c81a817e31" providerId="ADAL" clId="{D18377C2-3BEF-4210-9AEC-1D608DE45F40}" dt="2024-03-27T21:10:43.302" v="380" actId="12788"/>
          <ac:spMkLst>
            <pc:docMk/>
            <pc:sldMk cId="2801638841" sldId="2147480120"/>
            <ac:spMk id="16" creationId="{C15EC07D-D096-80C1-DE80-1DF19E6955AE}"/>
          </ac:spMkLst>
        </pc:spChg>
        <pc:spChg chg="add mod">
          <ac:chgData name="Van der Merwe, Erik" userId="a62317fc-2486-4a25-ba5a-86c81a817e31" providerId="ADAL" clId="{D18377C2-3BEF-4210-9AEC-1D608DE45F40}" dt="2024-03-27T21:10:53.721" v="381" actId="12788"/>
          <ac:spMkLst>
            <pc:docMk/>
            <pc:sldMk cId="2801638841" sldId="2147480120"/>
            <ac:spMk id="17" creationId="{46BDCCCD-C468-5161-81DD-90C194F6BAB0}"/>
          </ac:spMkLst>
        </pc:spChg>
        <pc:spChg chg="ord">
          <ac:chgData name="Van der Merwe, Erik" userId="a62317fc-2486-4a25-ba5a-86c81a817e31" providerId="ADAL" clId="{D18377C2-3BEF-4210-9AEC-1D608DE45F40}" dt="2024-03-27T21:10:00.141" v="379" actId="166"/>
          <ac:spMkLst>
            <pc:docMk/>
            <pc:sldMk cId="2801638841" sldId="2147480120"/>
            <ac:spMk id="23" creationId="{31CC89F3-EB2C-B655-7F42-FE691354439C}"/>
          </ac:spMkLst>
        </pc:spChg>
        <pc:spChg chg="add mod">
          <ac:chgData name="Van der Merwe, Erik" userId="a62317fc-2486-4a25-ba5a-86c81a817e31" providerId="ADAL" clId="{D18377C2-3BEF-4210-9AEC-1D608DE45F40}" dt="2024-03-27T21:10:53.721" v="381" actId="12788"/>
          <ac:spMkLst>
            <pc:docMk/>
            <pc:sldMk cId="2801638841" sldId="2147480120"/>
            <ac:spMk id="25" creationId="{04E782E2-0986-FB35-F4CF-4D733D601F95}"/>
          </ac:spMkLst>
        </pc:spChg>
        <pc:spChg chg="add del mod">
          <ac:chgData name="Van der Merwe, Erik" userId="a62317fc-2486-4a25-ba5a-86c81a817e31" providerId="ADAL" clId="{D18377C2-3BEF-4210-9AEC-1D608DE45F40}" dt="2024-03-27T20:53:19.022" v="325" actId="478"/>
          <ac:spMkLst>
            <pc:docMk/>
            <pc:sldMk cId="2801638841" sldId="2147480120"/>
            <ac:spMk id="28" creationId="{313E951F-507D-4777-D17B-CF545DE311B3}"/>
          </ac:spMkLst>
        </pc:spChg>
        <pc:spChg chg="add mod">
          <ac:chgData name="Van der Merwe, Erik" userId="a62317fc-2486-4a25-ba5a-86c81a817e31" providerId="ADAL" clId="{D18377C2-3BEF-4210-9AEC-1D608DE45F40}" dt="2024-03-27T21:09:33.655" v="378" actId="14100"/>
          <ac:spMkLst>
            <pc:docMk/>
            <pc:sldMk cId="2801638841" sldId="2147480120"/>
            <ac:spMk id="29" creationId="{C843B6F1-57A4-EE8A-60B4-3037D56F5144}"/>
          </ac:spMkLst>
        </pc:spChg>
        <pc:spChg chg="add mod">
          <ac:chgData name="Van der Merwe, Erik" userId="a62317fc-2486-4a25-ba5a-86c81a817e31" providerId="ADAL" clId="{D18377C2-3BEF-4210-9AEC-1D608DE45F40}" dt="2024-03-27T21:07:09.226" v="372" actId="12789"/>
          <ac:spMkLst>
            <pc:docMk/>
            <pc:sldMk cId="2801638841" sldId="2147480120"/>
            <ac:spMk id="31" creationId="{D4ADD74A-A20C-8588-6BC0-53FAABC26924}"/>
          </ac:spMkLst>
        </pc:spChg>
        <pc:spChg chg="ord">
          <ac:chgData name="Van der Merwe, Erik" userId="a62317fc-2486-4a25-ba5a-86c81a817e31" providerId="ADAL" clId="{D18377C2-3BEF-4210-9AEC-1D608DE45F40}" dt="2024-03-27T21:10:00.141" v="379" actId="166"/>
          <ac:spMkLst>
            <pc:docMk/>
            <pc:sldMk cId="2801638841" sldId="2147480120"/>
            <ac:spMk id="38" creationId="{11D1149B-6BB8-E5C3-36AD-14B387877A62}"/>
          </ac:spMkLst>
        </pc:spChg>
        <pc:spChg chg="ord">
          <ac:chgData name="Van der Merwe, Erik" userId="a62317fc-2486-4a25-ba5a-86c81a817e31" providerId="ADAL" clId="{D18377C2-3BEF-4210-9AEC-1D608DE45F40}" dt="2024-03-27T21:10:00.141" v="379" actId="166"/>
          <ac:spMkLst>
            <pc:docMk/>
            <pc:sldMk cId="2801638841" sldId="2147480120"/>
            <ac:spMk id="43" creationId="{CEC9A718-A993-FDB7-72C0-2A235CC11330}"/>
          </ac:spMkLst>
        </pc:spChg>
        <pc:spChg chg="ord">
          <ac:chgData name="Van der Merwe, Erik" userId="a62317fc-2486-4a25-ba5a-86c81a817e31" providerId="ADAL" clId="{D18377C2-3BEF-4210-9AEC-1D608DE45F40}" dt="2024-03-27T21:10:00.141" v="379" actId="166"/>
          <ac:spMkLst>
            <pc:docMk/>
            <pc:sldMk cId="2801638841" sldId="2147480120"/>
            <ac:spMk id="61" creationId="{69290EC0-DD63-9CD7-BE84-7E3D85C38158}"/>
          </ac:spMkLst>
        </pc:spChg>
        <pc:spChg chg="mod">
          <ac:chgData name="Van der Merwe, Erik" userId="a62317fc-2486-4a25-ba5a-86c81a817e31" providerId="ADAL" clId="{D18377C2-3BEF-4210-9AEC-1D608DE45F40}" dt="2024-03-27T20:46:28.481" v="109" actId="20577"/>
          <ac:spMkLst>
            <pc:docMk/>
            <pc:sldMk cId="2801638841" sldId="2147480120"/>
            <ac:spMk id="107" creationId="{E74B5A5C-6896-645E-557D-4823CBB26C7A}"/>
          </ac:spMkLst>
        </pc:spChg>
        <pc:spChg chg="mod">
          <ac:chgData name="Van der Merwe, Erik" userId="a62317fc-2486-4a25-ba5a-86c81a817e31" providerId="ADAL" clId="{D18377C2-3BEF-4210-9AEC-1D608DE45F40}" dt="2024-03-27T20:46:17.981" v="106" actId="20577"/>
          <ac:spMkLst>
            <pc:docMk/>
            <pc:sldMk cId="2801638841" sldId="2147480120"/>
            <ac:spMk id="108" creationId="{8273D790-5762-4ECC-8068-40E72BEECADE}"/>
          </ac:spMkLst>
        </pc:spChg>
        <pc:spChg chg="mod">
          <ac:chgData name="Van der Merwe, Erik" userId="a62317fc-2486-4a25-ba5a-86c81a817e31" providerId="ADAL" clId="{D18377C2-3BEF-4210-9AEC-1D608DE45F40}" dt="2024-03-27T20:46:32.568" v="110" actId="20577"/>
          <ac:spMkLst>
            <pc:docMk/>
            <pc:sldMk cId="2801638841" sldId="2147480120"/>
            <ac:spMk id="109" creationId="{0371E441-B796-4E41-3FB1-8A2EDFCEFF78}"/>
          </ac:spMkLst>
        </pc:spChg>
        <pc:spChg chg="mod">
          <ac:chgData name="Van der Merwe, Erik" userId="a62317fc-2486-4a25-ba5a-86c81a817e31" providerId="ADAL" clId="{D18377C2-3BEF-4210-9AEC-1D608DE45F40}" dt="2024-03-27T20:46:21.694" v="107" actId="20577"/>
          <ac:spMkLst>
            <pc:docMk/>
            <pc:sldMk cId="2801638841" sldId="2147480120"/>
            <ac:spMk id="110" creationId="{E368AEDF-6EF1-0A5D-939F-C1948E929006}"/>
          </ac:spMkLst>
        </pc:spChg>
        <pc:spChg chg="mod">
          <ac:chgData name="Van der Merwe, Erik" userId="a62317fc-2486-4a25-ba5a-86c81a817e31" providerId="ADAL" clId="{D18377C2-3BEF-4210-9AEC-1D608DE45F40}" dt="2024-03-27T20:46:36.184" v="111" actId="20577"/>
          <ac:spMkLst>
            <pc:docMk/>
            <pc:sldMk cId="2801638841" sldId="2147480120"/>
            <ac:spMk id="111" creationId="{C452A4ED-7FCE-7BEC-F2DC-6BC9C92512EE}"/>
          </ac:spMkLst>
        </pc:spChg>
        <pc:spChg chg="mod">
          <ac:chgData name="Van der Merwe, Erik" userId="a62317fc-2486-4a25-ba5a-86c81a817e31" providerId="ADAL" clId="{D18377C2-3BEF-4210-9AEC-1D608DE45F40}" dt="2024-03-27T20:46:38.624" v="112" actId="20577"/>
          <ac:spMkLst>
            <pc:docMk/>
            <pc:sldMk cId="2801638841" sldId="2147480120"/>
            <ac:spMk id="112" creationId="{2F1298B4-CB41-4B91-7B66-093629709E8C}"/>
          </ac:spMkLst>
        </pc:spChg>
        <pc:spChg chg="mod">
          <ac:chgData name="Van der Merwe, Erik" userId="a62317fc-2486-4a25-ba5a-86c81a817e31" providerId="ADAL" clId="{D18377C2-3BEF-4210-9AEC-1D608DE45F40}" dt="2024-03-27T20:46:24.605" v="108" actId="20577"/>
          <ac:spMkLst>
            <pc:docMk/>
            <pc:sldMk cId="2801638841" sldId="2147480120"/>
            <ac:spMk id="113" creationId="{568625C4-9098-C4EC-7E3F-984445F4C60F}"/>
          </ac:spMkLst>
        </pc:spChg>
        <pc:cxnChg chg="add mod">
          <ac:chgData name="Van der Merwe, Erik" userId="a62317fc-2486-4a25-ba5a-86c81a817e31" providerId="ADAL" clId="{D18377C2-3BEF-4210-9AEC-1D608DE45F40}" dt="2024-03-27T21:09:18.915" v="377" actId="14100"/>
          <ac:cxnSpMkLst>
            <pc:docMk/>
            <pc:sldMk cId="2801638841" sldId="2147480120"/>
            <ac:cxnSpMk id="32" creationId="{404413F3-171E-99DD-0800-98D9057BB7C8}"/>
          </ac:cxnSpMkLst>
        </pc:cxnChg>
      </pc:sldChg>
      <pc:sldChg chg="del">
        <pc:chgData name="Van der Merwe, Erik" userId="a62317fc-2486-4a25-ba5a-86c81a817e31" providerId="ADAL" clId="{D18377C2-3BEF-4210-9AEC-1D608DE45F40}" dt="2024-03-27T20:39:51.381" v="0" actId="47"/>
        <pc:sldMkLst>
          <pc:docMk/>
          <pc:sldMk cId="1903693486" sldId="2147480122"/>
        </pc:sldMkLst>
      </pc:sldChg>
      <pc:sldChg chg="addSp delSp modSp add mod">
        <pc:chgData name="Van der Merwe, Erik" userId="a62317fc-2486-4a25-ba5a-86c81a817e31" providerId="ADAL" clId="{D18377C2-3BEF-4210-9AEC-1D608DE45F40}" dt="2024-03-27T21:12:17.101" v="388" actId="20577"/>
        <pc:sldMkLst>
          <pc:docMk/>
          <pc:sldMk cId="2638490646" sldId="2147480134"/>
        </pc:sldMkLst>
        <pc:spChg chg="mod">
          <ac:chgData name="Van der Merwe, Erik" userId="a62317fc-2486-4a25-ba5a-86c81a817e31" providerId="ADAL" clId="{D18377C2-3BEF-4210-9AEC-1D608DE45F40}" dt="2024-03-27T20:45:49.259" v="104" actId="20577"/>
          <ac:spMkLst>
            <pc:docMk/>
            <pc:sldMk cId="2638490646" sldId="2147480134"/>
            <ac:spMk id="2" creationId="{52E90A98-D3F1-1D78-13D2-5E376CC8CE97}"/>
          </ac:spMkLst>
        </pc:spChg>
        <pc:spChg chg="del mod">
          <ac:chgData name="Van der Merwe, Erik" userId="a62317fc-2486-4a25-ba5a-86c81a817e31" providerId="ADAL" clId="{D18377C2-3BEF-4210-9AEC-1D608DE45F40}" dt="2024-03-27T20:45:12.664" v="87" actId="478"/>
          <ac:spMkLst>
            <pc:docMk/>
            <pc:sldMk cId="2638490646" sldId="2147480134"/>
            <ac:spMk id="3" creationId="{AB03087E-3FCC-881F-C451-F54D631C7264}"/>
          </ac:spMkLst>
        </pc:spChg>
        <pc:spChg chg="del">
          <ac:chgData name="Van der Merwe, Erik" userId="a62317fc-2486-4a25-ba5a-86c81a817e31" providerId="ADAL" clId="{D18377C2-3BEF-4210-9AEC-1D608DE45F40}" dt="2024-03-27T20:45:20.283" v="92" actId="478"/>
          <ac:spMkLst>
            <pc:docMk/>
            <pc:sldMk cId="2638490646" sldId="2147480134"/>
            <ac:spMk id="4" creationId="{7CBA3198-2D57-13B1-F0B1-65CDCB73AAFA}"/>
          </ac:spMkLst>
        </pc:spChg>
        <pc:spChg chg="del">
          <ac:chgData name="Van der Merwe, Erik" userId="a62317fc-2486-4a25-ba5a-86c81a817e31" providerId="ADAL" clId="{D18377C2-3BEF-4210-9AEC-1D608DE45F40}" dt="2024-03-27T20:45:14.120" v="88" actId="478"/>
          <ac:spMkLst>
            <pc:docMk/>
            <pc:sldMk cId="2638490646" sldId="2147480134"/>
            <ac:spMk id="6" creationId="{34F864ED-A9E3-1E46-930A-B6D89EE05E4C}"/>
          </ac:spMkLst>
        </pc:spChg>
        <pc:spChg chg="del">
          <ac:chgData name="Van der Merwe, Erik" userId="a62317fc-2486-4a25-ba5a-86c81a817e31" providerId="ADAL" clId="{D18377C2-3BEF-4210-9AEC-1D608DE45F40}" dt="2024-03-27T20:45:15.460" v="89" actId="478"/>
          <ac:spMkLst>
            <pc:docMk/>
            <pc:sldMk cId="2638490646" sldId="2147480134"/>
            <ac:spMk id="11" creationId="{09374DBC-79C7-6582-4E47-C27805AFA592}"/>
          </ac:spMkLst>
        </pc:spChg>
        <pc:spChg chg="del">
          <ac:chgData name="Van der Merwe, Erik" userId="a62317fc-2486-4a25-ba5a-86c81a817e31" providerId="ADAL" clId="{D18377C2-3BEF-4210-9AEC-1D608DE45F40}" dt="2024-03-27T20:45:16.893" v="90" actId="478"/>
          <ac:spMkLst>
            <pc:docMk/>
            <pc:sldMk cId="2638490646" sldId="2147480134"/>
            <ac:spMk id="14" creationId="{510F1ECB-3C0D-DF33-5226-178EE22EF3E5}"/>
          </ac:spMkLst>
        </pc:spChg>
        <pc:spChg chg="del">
          <ac:chgData name="Van der Merwe, Erik" userId="a62317fc-2486-4a25-ba5a-86c81a817e31" providerId="ADAL" clId="{D18377C2-3BEF-4210-9AEC-1D608DE45F40}" dt="2024-03-27T20:45:18.785" v="91" actId="478"/>
          <ac:spMkLst>
            <pc:docMk/>
            <pc:sldMk cId="2638490646" sldId="2147480134"/>
            <ac:spMk id="16" creationId="{C6032FA0-F77A-A5CB-2B2B-A5F07C985300}"/>
          </ac:spMkLst>
        </pc:spChg>
        <pc:graphicFrameChg chg="add del mod modGraphic">
          <ac:chgData name="Van der Merwe, Erik" userId="a62317fc-2486-4a25-ba5a-86c81a817e31" providerId="ADAL" clId="{D18377C2-3BEF-4210-9AEC-1D608DE45F40}" dt="2024-03-27T20:42:32.595" v="46" actId="1032"/>
          <ac:graphicFrameMkLst>
            <pc:docMk/>
            <pc:sldMk cId="2638490646" sldId="2147480134"/>
            <ac:graphicFrameMk id="8" creationId="{F793996D-61CB-6B6E-4889-35DC296C0812}"/>
          </ac:graphicFrameMkLst>
        </pc:graphicFrameChg>
        <pc:graphicFrameChg chg="add mod modGraphic">
          <ac:chgData name="Van der Merwe, Erik" userId="a62317fc-2486-4a25-ba5a-86c81a817e31" providerId="ADAL" clId="{D18377C2-3BEF-4210-9AEC-1D608DE45F40}" dt="2024-03-27T21:12:17.101" v="388" actId="20577"/>
          <ac:graphicFrameMkLst>
            <pc:docMk/>
            <pc:sldMk cId="2638490646" sldId="2147480134"/>
            <ac:graphicFrameMk id="9" creationId="{1D77DC48-5028-B020-472E-05C3A4A8B91D}"/>
          </ac:graphicFrameMkLst>
        </pc:graphicFrameChg>
        <pc:picChg chg="del">
          <ac:chgData name="Van der Merwe, Erik" userId="a62317fc-2486-4a25-ba5a-86c81a817e31" providerId="ADAL" clId="{D18377C2-3BEF-4210-9AEC-1D608DE45F40}" dt="2024-03-27T20:45:11.140" v="85" actId="478"/>
          <ac:picMkLst>
            <pc:docMk/>
            <pc:sldMk cId="2638490646" sldId="2147480134"/>
            <ac:picMk id="5" creationId="{74BAD87B-7EF4-4706-C419-297769A0B4B3}"/>
          </ac:picMkLst>
        </pc:picChg>
        <pc:picChg chg="del">
          <ac:chgData name="Van der Merwe, Erik" userId="a62317fc-2486-4a25-ba5a-86c81a817e31" providerId="ADAL" clId="{D18377C2-3BEF-4210-9AEC-1D608DE45F40}" dt="2024-03-27T20:45:21.266" v="93" actId="478"/>
          <ac:picMkLst>
            <pc:docMk/>
            <pc:sldMk cId="2638490646" sldId="2147480134"/>
            <ac:picMk id="7" creationId="{9377A24E-E1AC-861C-3A5A-3612C1715E8C}"/>
          </ac:picMkLst>
        </pc:picChg>
        <pc:picChg chg="del">
          <ac:chgData name="Van der Merwe, Erik" userId="a62317fc-2486-4a25-ba5a-86c81a817e31" providerId="ADAL" clId="{D18377C2-3BEF-4210-9AEC-1D608DE45F40}" dt="2024-03-27T20:45:09.767" v="84" actId="478"/>
          <ac:picMkLst>
            <pc:docMk/>
            <pc:sldMk cId="2638490646" sldId="2147480134"/>
            <ac:picMk id="10" creationId="{7BD19A9C-539B-E0EB-43EE-08B7075295A1}"/>
          </ac:picMkLst>
        </pc:picChg>
        <pc:picChg chg="del">
          <ac:chgData name="Van der Merwe, Erik" userId="a62317fc-2486-4a25-ba5a-86c81a817e31" providerId="ADAL" clId="{D18377C2-3BEF-4210-9AEC-1D608DE45F40}" dt="2024-03-27T20:45:09.767" v="84" actId="478"/>
          <ac:picMkLst>
            <pc:docMk/>
            <pc:sldMk cId="2638490646" sldId="2147480134"/>
            <ac:picMk id="13" creationId="{A825DCD4-07CC-B594-CA5E-57DB08B8541C}"/>
          </ac:picMkLst>
        </pc:picChg>
        <pc:picChg chg="del">
          <ac:chgData name="Van der Merwe, Erik" userId="a62317fc-2486-4a25-ba5a-86c81a817e31" providerId="ADAL" clId="{D18377C2-3BEF-4210-9AEC-1D608DE45F40}" dt="2024-03-27T20:45:09.767" v="84" actId="478"/>
          <ac:picMkLst>
            <pc:docMk/>
            <pc:sldMk cId="2638490646" sldId="2147480134"/>
            <ac:picMk id="15" creationId="{4E2EBAE4-C5E6-51E1-4A61-7B4E864A26BB}"/>
          </ac:picMkLst>
        </pc:picChg>
        <pc:picChg chg="del">
          <ac:chgData name="Van der Merwe, Erik" userId="a62317fc-2486-4a25-ba5a-86c81a817e31" providerId="ADAL" clId="{D18377C2-3BEF-4210-9AEC-1D608DE45F40}" dt="2024-03-27T20:45:09.767" v="84" actId="478"/>
          <ac:picMkLst>
            <pc:docMk/>
            <pc:sldMk cId="2638490646" sldId="2147480134"/>
            <ac:picMk id="17" creationId="{4AD52149-5A24-4E40-F5D6-FBBAF4E85FE6}"/>
          </ac:picMkLst>
        </pc:picChg>
      </pc:sldChg>
    </pc:docChg>
  </pc:docChgLst>
  <pc:docChgLst>
    <pc:chgData name="Howell, Alexandra" userId="b24ac530-baea-4066-a1a8-5a645cdd3eb4" providerId="ADAL" clId="{1600665D-488E-4700-B174-DFA55FF12E9B}"/>
    <pc:docChg chg="addSld delSld modSld modSection">
      <pc:chgData name="Howell, Alexandra" userId="b24ac530-baea-4066-a1a8-5a645cdd3eb4" providerId="ADAL" clId="{1600665D-488E-4700-B174-DFA55FF12E9B}" dt="2024-03-15T13:58:41.074" v="62" actId="2696"/>
      <pc:docMkLst>
        <pc:docMk/>
      </pc:docMkLst>
      <pc:sldChg chg="add">
        <pc:chgData name="Howell, Alexandra" userId="b24ac530-baea-4066-a1a8-5a645cdd3eb4" providerId="ADAL" clId="{1600665D-488E-4700-B174-DFA55FF12E9B}" dt="2024-03-15T13:58:22.007" v="61"/>
        <pc:sldMkLst>
          <pc:docMk/>
          <pc:sldMk cId="2332197372" sldId="2147479982"/>
        </pc:sldMkLst>
      </pc:sldChg>
      <pc:sldChg chg="addSp modSp mod">
        <pc:chgData name="Howell, Alexandra" userId="b24ac530-baea-4066-a1a8-5a645cdd3eb4" providerId="ADAL" clId="{1600665D-488E-4700-B174-DFA55FF12E9B}" dt="2024-03-12T18:13:26.469" v="60" actId="207"/>
        <pc:sldMkLst>
          <pc:docMk/>
          <pc:sldMk cId="1360639107" sldId="2147480056"/>
        </pc:sldMkLst>
        <pc:spChg chg="add mod">
          <ac:chgData name="Howell, Alexandra" userId="b24ac530-baea-4066-a1a8-5a645cdd3eb4" providerId="ADAL" clId="{1600665D-488E-4700-B174-DFA55FF12E9B}" dt="2024-03-12T18:13:26.469" v="60" actId="207"/>
          <ac:spMkLst>
            <pc:docMk/>
            <pc:sldMk cId="1360639107" sldId="2147480056"/>
            <ac:spMk id="3" creationId="{C75C80D1-F038-6796-A12C-7BD30497E33D}"/>
          </ac:spMkLst>
        </pc:spChg>
      </pc:sldChg>
      <pc:sldChg chg="del">
        <pc:chgData name="Howell, Alexandra" userId="b24ac530-baea-4066-a1a8-5a645cdd3eb4" providerId="ADAL" clId="{1600665D-488E-4700-B174-DFA55FF12E9B}" dt="2024-03-12T18:10:43.162" v="0" actId="2696"/>
        <pc:sldMkLst>
          <pc:docMk/>
          <pc:sldMk cId="295364091" sldId="2147480099"/>
        </pc:sldMkLst>
      </pc:sldChg>
      <pc:sldChg chg="del">
        <pc:chgData name="Howell, Alexandra" userId="b24ac530-baea-4066-a1a8-5a645cdd3eb4" providerId="ADAL" clId="{1600665D-488E-4700-B174-DFA55FF12E9B}" dt="2024-03-12T18:11:33.016" v="19" actId="2696"/>
        <pc:sldMkLst>
          <pc:docMk/>
          <pc:sldMk cId="2112086780" sldId="2147480100"/>
        </pc:sldMkLst>
      </pc:sldChg>
      <pc:sldChg chg="modSp add mod">
        <pc:chgData name="Howell, Alexandra" userId="b24ac530-baea-4066-a1a8-5a645cdd3eb4" providerId="ADAL" clId="{1600665D-488E-4700-B174-DFA55FF12E9B}" dt="2024-03-12T18:11:15.144" v="17" actId="1076"/>
        <pc:sldMkLst>
          <pc:docMk/>
          <pc:sldMk cId="1506352616" sldId="2147480106"/>
        </pc:sldMkLst>
        <pc:spChg chg="mod">
          <ac:chgData name="Howell, Alexandra" userId="b24ac530-baea-4066-a1a8-5a645cdd3eb4" providerId="ADAL" clId="{1600665D-488E-4700-B174-DFA55FF12E9B}" dt="2024-03-12T18:11:15.144" v="17" actId="1076"/>
          <ac:spMkLst>
            <pc:docMk/>
            <pc:sldMk cId="1506352616" sldId="2147480106"/>
            <ac:spMk id="2" creationId="{0329E297-E798-08B1-A1CC-65371311D18E}"/>
          </ac:spMkLst>
        </pc:spChg>
      </pc:sldChg>
      <pc:sldChg chg="modSp add mod">
        <pc:chgData name="Howell, Alexandra" userId="b24ac530-baea-4066-a1a8-5a645cdd3eb4" providerId="ADAL" clId="{1600665D-488E-4700-B174-DFA55FF12E9B}" dt="2024-03-12T18:11:52.207" v="50" actId="1076"/>
        <pc:sldMkLst>
          <pc:docMk/>
          <pc:sldMk cId="50788646" sldId="2147480107"/>
        </pc:sldMkLst>
        <pc:spChg chg="mod">
          <ac:chgData name="Howell, Alexandra" userId="b24ac530-baea-4066-a1a8-5a645cdd3eb4" providerId="ADAL" clId="{1600665D-488E-4700-B174-DFA55FF12E9B}" dt="2024-03-12T18:11:52.207" v="50" actId="1076"/>
          <ac:spMkLst>
            <pc:docMk/>
            <pc:sldMk cId="50788646" sldId="2147480107"/>
            <ac:spMk id="9" creationId="{7FBA4B87-97CE-C427-F2E6-4E29EF3AAD3C}"/>
          </ac:spMkLst>
        </pc:spChg>
      </pc:sldChg>
      <pc:sldChg chg="del">
        <pc:chgData name="Howell, Alexandra" userId="b24ac530-baea-4066-a1a8-5a645cdd3eb4" providerId="ADAL" clId="{1600665D-488E-4700-B174-DFA55FF12E9B}" dt="2024-03-15T13:58:41.074" v="62" actId="2696"/>
        <pc:sldMkLst>
          <pc:docMk/>
          <pc:sldMk cId="3370766724" sldId="2147480108"/>
        </pc:sldMkLst>
      </pc:sldChg>
    </pc:docChg>
  </pc:docChgLst>
  <pc:docChgLst>
    <pc:chgData name="Karmakar, Sumit" userId="S::skarmakar@elogex.com::5d020034-ff2c-4e7e-8d00-e94708d613b2" providerId="AD" clId="Web-{66D90A12-E60F-A355-4C17-86A5E1997704}"/>
    <pc:docChg chg="modSld">
      <pc:chgData name="Karmakar, Sumit" userId="S::skarmakar@elogex.com::5d020034-ff2c-4e7e-8d00-e94708d613b2" providerId="AD" clId="Web-{66D90A12-E60F-A355-4C17-86A5E1997704}" dt="2024-04-03T14:54:38.313" v="6"/>
      <pc:docMkLst>
        <pc:docMk/>
      </pc:docMkLst>
      <pc:sldChg chg="delAnim">
        <pc:chgData name="Karmakar, Sumit" userId="S::skarmakar@elogex.com::5d020034-ff2c-4e7e-8d00-e94708d613b2" providerId="AD" clId="Web-{66D90A12-E60F-A355-4C17-86A5E1997704}" dt="2024-04-03T14:54:38.313" v="6"/>
        <pc:sldMkLst>
          <pc:docMk/>
          <pc:sldMk cId="2272208059" sldId="2147480139"/>
        </pc:sldMkLst>
      </pc:sldChg>
    </pc:docChg>
  </pc:docChgLst>
  <pc:docChgLst>
    <pc:chgData name="Karmakar, Sumit" userId="S::skarmakar@elogex.com::5d020034-ff2c-4e7e-8d00-e94708d613b2" providerId="AD" clId="Web-{FE29A5F6-D9C1-9EE8-65CE-CB8519505452}"/>
    <pc:docChg chg="addSld modSld modSection">
      <pc:chgData name="Karmakar, Sumit" userId="S::skarmakar@elogex.com::5d020034-ff2c-4e7e-8d00-e94708d613b2" providerId="AD" clId="Web-{FE29A5F6-D9C1-9EE8-65CE-CB8519505452}" dt="2024-03-19T12:49:48.702" v="11" actId="20577"/>
      <pc:docMkLst>
        <pc:docMk/>
      </pc:docMkLst>
      <pc:sldChg chg="add">
        <pc:chgData name="Karmakar, Sumit" userId="S::skarmakar@elogex.com::5d020034-ff2c-4e7e-8d00-e94708d613b2" providerId="AD" clId="Web-{FE29A5F6-D9C1-9EE8-65CE-CB8519505452}" dt="2024-03-19T12:45:54.384" v="0"/>
        <pc:sldMkLst>
          <pc:docMk/>
          <pc:sldMk cId="4239253529" sldId="4781"/>
        </pc:sldMkLst>
      </pc:sldChg>
      <pc:sldChg chg="add">
        <pc:chgData name="Karmakar, Sumit" userId="S::skarmakar@elogex.com::5d020034-ff2c-4e7e-8d00-e94708d613b2" providerId="AD" clId="Web-{FE29A5F6-D9C1-9EE8-65CE-CB8519505452}" dt="2024-03-19T12:45:56.884" v="1"/>
        <pc:sldMkLst>
          <pc:docMk/>
          <pc:sldMk cId="3043437281" sldId="2147471639"/>
        </pc:sldMkLst>
      </pc:sldChg>
      <pc:sldChg chg="addSp modSp">
        <pc:chgData name="Karmakar, Sumit" userId="S::skarmakar@elogex.com::5d020034-ff2c-4e7e-8d00-e94708d613b2" providerId="AD" clId="Web-{FE29A5F6-D9C1-9EE8-65CE-CB8519505452}" dt="2024-03-19T12:49:48.702" v="11" actId="20577"/>
        <pc:sldMkLst>
          <pc:docMk/>
          <pc:sldMk cId="2345600220" sldId="2147480105"/>
        </pc:sldMkLst>
        <pc:spChg chg="mod">
          <ac:chgData name="Karmakar, Sumit" userId="S::skarmakar@elogex.com::5d020034-ff2c-4e7e-8d00-e94708d613b2" providerId="AD" clId="Web-{FE29A5F6-D9C1-9EE8-65CE-CB8519505452}" dt="2024-03-19T12:49:48.702" v="11" actId="20577"/>
          <ac:spMkLst>
            <pc:docMk/>
            <pc:sldMk cId="2345600220" sldId="2147480105"/>
            <ac:spMk id="2" creationId="{0329E297-E798-08B1-A1CC-65371311D18E}"/>
          </ac:spMkLst>
        </pc:spChg>
        <pc:picChg chg="add mod">
          <ac:chgData name="Karmakar, Sumit" userId="S::skarmakar@elogex.com::5d020034-ff2c-4e7e-8d00-e94708d613b2" providerId="AD" clId="Web-{FE29A5F6-D9C1-9EE8-65CE-CB8519505452}" dt="2024-03-19T12:48:26.684" v="7" actId="1076"/>
          <ac:picMkLst>
            <pc:docMk/>
            <pc:sldMk cId="2345600220" sldId="2147480105"/>
            <ac:picMk id="3" creationId="{B33EB398-1229-694C-2181-A37CBD43A42C}"/>
          </ac:picMkLst>
        </pc:picChg>
        <pc:picChg chg="add mod">
          <ac:chgData name="Karmakar, Sumit" userId="S::skarmakar@elogex.com::5d020034-ff2c-4e7e-8d00-e94708d613b2" providerId="AD" clId="Web-{FE29A5F6-D9C1-9EE8-65CE-CB8519505452}" dt="2024-03-19T12:48:39.856" v="8" actId="1076"/>
          <ac:picMkLst>
            <pc:docMk/>
            <pc:sldMk cId="2345600220" sldId="2147480105"/>
            <ac:picMk id="4" creationId="{3445899A-3BE4-AB62-5CD4-02004A5BE70C}"/>
          </ac:picMkLst>
        </pc:picChg>
      </pc:sldChg>
      <pc:sldMasterChg chg="addSldLayout">
        <pc:chgData name="Karmakar, Sumit" userId="S::skarmakar@elogex.com::5d020034-ff2c-4e7e-8d00-e94708d613b2" providerId="AD" clId="Web-{FE29A5F6-D9C1-9EE8-65CE-CB8519505452}" dt="2024-03-19T12:45:56.884" v="1"/>
        <pc:sldMasterMkLst>
          <pc:docMk/>
          <pc:sldMasterMk cId="2758596200" sldId="2147484390"/>
        </pc:sldMasterMkLst>
        <pc:sldLayoutChg chg="add">
          <pc:chgData name="Karmakar, Sumit" userId="S::skarmakar@elogex.com::5d020034-ff2c-4e7e-8d00-e94708d613b2" providerId="AD" clId="Web-{FE29A5F6-D9C1-9EE8-65CE-CB8519505452}" dt="2024-03-19T12:45:54.384" v="0"/>
          <pc:sldLayoutMkLst>
            <pc:docMk/>
            <pc:sldMasterMk cId="2758596200" sldId="2147483767"/>
            <pc:sldLayoutMk cId="2508383555" sldId="2147484388"/>
          </pc:sldLayoutMkLst>
        </pc:sldLayoutChg>
        <pc:sldLayoutChg chg="add">
          <pc:chgData name="Karmakar, Sumit" userId="S::skarmakar@elogex.com::5d020034-ff2c-4e7e-8d00-e94708d613b2" providerId="AD" clId="Web-{FE29A5F6-D9C1-9EE8-65CE-CB8519505452}" dt="2024-03-19T12:45:56.884" v="1"/>
          <pc:sldLayoutMkLst>
            <pc:docMk/>
            <pc:sldMasterMk cId="2758596200" sldId="2147483767"/>
            <pc:sldLayoutMk cId="2687149038" sldId="2147484389"/>
          </pc:sldLayoutMkLst>
        </pc:sldLayoutChg>
      </pc:sldMasterChg>
    </pc:docChg>
  </pc:docChgLst>
  <pc:docChgLst>
    <pc:chgData name="Karmakar, Sumit" userId="S::skarmakar@elogex.com::5d020034-ff2c-4e7e-8d00-e94708d613b2" providerId="AD" clId="Web-{F9A6BA03-988B-6BFB-9DBE-ECB99DA3F6C5}"/>
    <pc:docChg chg="addSld delSld modSld modSection">
      <pc:chgData name="Karmakar, Sumit" userId="S::skarmakar@elogex.com::5d020034-ff2c-4e7e-8d00-e94708d613b2" providerId="AD" clId="Web-{F9A6BA03-988B-6BFB-9DBE-ECB99DA3F6C5}" dt="2024-03-19T12:58:16.495" v="8"/>
      <pc:docMkLst>
        <pc:docMk/>
      </pc:docMkLst>
      <pc:sldChg chg="add del">
        <pc:chgData name="Karmakar, Sumit" userId="S::skarmakar@elogex.com::5d020034-ff2c-4e7e-8d00-e94708d613b2" providerId="AD" clId="Web-{F9A6BA03-988B-6BFB-9DBE-ECB99DA3F6C5}" dt="2024-03-19T12:56:54.320" v="3"/>
        <pc:sldMkLst>
          <pc:docMk/>
          <pc:sldMk cId="369002401" sldId="2147480018"/>
        </pc:sldMkLst>
      </pc:sldChg>
      <pc:sldChg chg="modSp add">
        <pc:chgData name="Karmakar, Sumit" userId="S::skarmakar@elogex.com::5d020034-ff2c-4e7e-8d00-e94708d613b2" providerId="AD" clId="Web-{F9A6BA03-988B-6BFB-9DBE-ECB99DA3F6C5}" dt="2024-03-19T12:57:16.149" v="5" actId="20577"/>
        <pc:sldMkLst>
          <pc:docMk/>
          <pc:sldMk cId="1887349041" sldId="2147480082"/>
        </pc:sldMkLst>
        <pc:spChg chg="mod">
          <ac:chgData name="Karmakar, Sumit" userId="S::skarmakar@elogex.com::5d020034-ff2c-4e7e-8d00-e94708d613b2" providerId="AD" clId="Web-{F9A6BA03-988B-6BFB-9DBE-ECB99DA3F6C5}" dt="2024-03-19T12:57:16.149" v="5" actId="20577"/>
          <ac:spMkLst>
            <pc:docMk/>
            <pc:sldMk cId="1887349041" sldId="2147480082"/>
            <ac:spMk id="2" creationId="{982AACD3-D575-A4C3-6213-89A40FDAE1ED}"/>
          </ac:spMkLst>
        </pc:spChg>
      </pc:sldChg>
      <pc:sldChg chg="del">
        <pc:chgData name="Karmakar, Sumit" userId="S::skarmakar@elogex.com::5d020034-ff2c-4e7e-8d00-e94708d613b2" providerId="AD" clId="Web-{F9A6BA03-988B-6BFB-9DBE-ECB99DA3F6C5}" dt="2024-03-19T12:58:16.495" v="8"/>
        <pc:sldMkLst>
          <pc:docMk/>
          <pc:sldMk cId="212255833" sldId="2147480098"/>
        </pc:sldMkLst>
      </pc:sldChg>
      <pc:sldChg chg="modSp add">
        <pc:chgData name="Karmakar, Sumit" userId="S::skarmakar@elogex.com::5d020034-ff2c-4e7e-8d00-e94708d613b2" providerId="AD" clId="Web-{F9A6BA03-988B-6BFB-9DBE-ECB99DA3F6C5}" dt="2024-03-19T12:58:02.635" v="7" actId="20577"/>
        <pc:sldMkLst>
          <pc:docMk/>
          <pc:sldMk cId="3236129220" sldId="2147480115"/>
        </pc:sldMkLst>
        <pc:spChg chg="mod">
          <ac:chgData name="Karmakar, Sumit" userId="S::skarmakar@elogex.com::5d020034-ff2c-4e7e-8d00-e94708d613b2" providerId="AD" clId="Web-{F9A6BA03-988B-6BFB-9DBE-ECB99DA3F6C5}" dt="2024-03-19T12:58:02.635" v="7" actId="20577"/>
          <ac:spMkLst>
            <pc:docMk/>
            <pc:sldMk cId="3236129220" sldId="2147480115"/>
            <ac:spMk id="2" creationId="{982AACD3-D575-A4C3-6213-89A40FDAE1ED}"/>
          </ac:spMkLst>
        </pc:spChg>
      </pc:sldChg>
    </pc:docChg>
  </pc:docChgLst>
  <pc:docChgLst>
    <pc:chgData name="Howell, Alexandra" userId="S::ahowell@elogex.com::b24ac530-baea-4066-a1a8-5a645cdd3eb4" providerId="AD" clId="Web-{82646302-C00E-6378-C68E-238722ACE21B}"/>
    <pc:docChg chg="modSld">
      <pc:chgData name="Howell, Alexandra" userId="S::ahowell@elogex.com::b24ac530-baea-4066-a1a8-5a645cdd3eb4" providerId="AD" clId="Web-{82646302-C00E-6378-C68E-238722ACE21B}" dt="2024-04-03T15:07:47.804" v="36" actId="14100"/>
      <pc:docMkLst>
        <pc:docMk/>
      </pc:docMkLst>
      <pc:sldChg chg="modSp">
        <pc:chgData name="Howell, Alexandra" userId="S::ahowell@elogex.com::b24ac530-baea-4066-a1a8-5a645cdd3eb4" providerId="AD" clId="Web-{82646302-C00E-6378-C68E-238722ACE21B}" dt="2024-04-03T15:07:47.804" v="36" actId="14100"/>
        <pc:sldMkLst>
          <pc:docMk/>
          <pc:sldMk cId="50788646" sldId="2147480107"/>
        </pc:sldMkLst>
        <pc:spChg chg="mod">
          <ac:chgData name="Howell, Alexandra" userId="S::ahowell@elogex.com::b24ac530-baea-4066-a1a8-5a645cdd3eb4" providerId="AD" clId="Web-{82646302-C00E-6378-C68E-238722ACE21B}" dt="2024-04-03T15:07:47.804" v="36" actId="14100"/>
          <ac:spMkLst>
            <pc:docMk/>
            <pc:sldMk cId="50788646" sldId="2147480107"/>
            <ac:spMk id="15" creationId="{1F7BCB79-682D-216B-E063-16CE18D59036}"/>
          </ac:spMkLst>
        </pc:spChg>
      </pc:sldChg>
      <pc:sldChg chg="modSp">
        <pc:chgData name="Howell, Alexandra" userId="S::ahowell@elogex.com::b24ac530-baea-4066-a1a8-5a645cdd3eb4" providerId="AD" clId="Web-{82646302-C00E-6378-C68E-238722ACE21B}" dt="2024-04-03T15:07:10.037" v="26" actId="1076"/>
        <pc:sldMkLst>
          <pc:docMk/>
          <pc:sldMk cId="1577128654" sldId="2147480131"/>
        </pc:sldMkLst>
        <pc:spChg chg="mod">
          <ac:chgData name="Howell, Alexandra" userId="S::ahowell@elogex.com::b24ac530-baea-4066-a1a8-5a645cdd3eb4" providerId="AD" clId="Web-{82646302-C00E-6378-C68E-238722ACE21B}" dt="2024-04-03T15:07:03.912" v="23" actId="20577"/>
          <ac:spMkLst>
            <pc:docMk/>
            <pc:sldMk cId="1577128654" sldId="2147480131"/>
            <ac:spMk id="5" creationId="{8F6EFACD-3FB3-538A-B211-980368F57CC3}"/>
          </ac:spMkLst>
        </pc:spChg>
        <pc:picChg chg="mod">
          <ac:chgData name="Howell, Alexandra" userId="S::ahowell@elogex.com::b24ac530-baea-4066-a1a8-5a645cdd3eb4" providerId="AD" clId="Web-{82646302-C00E-6378-C68E-238722ACE21B}" dt="2024-04-03T15:07:10.037" v="26" actId="1076"/>
          <ac:picMkLst>
            <pc:docMk/>
            <pc:sldMk cId="1577128654" sldId="2147480131"/>
            <ac:picMk id="14" creationId="{686AD8A5-1D8E-5CC1-90C4-A622B761D76C}"/>
          </ac:picMkLst>
        </pc:picChg>
      </pc:sldChg>
      <pc:sldChg chg="modSp">
        <pc:chgData name="Howell, Alexandra" userId="S::ahowell@elogex.com::b24ac530-baea-4066-a1a8-5a645cdd3eb4" providerId="AD" clId="Web-{82646302-C00E-6378-C68E-238722ACE21B}" dt="2024-04-03T15:00:33.166" v="4" actId="1076"/>
        <pc:sldMkLst>
          <pc:docMk/>
          <pc:sldMk cId="568719796" sldId="2147480141"/>
        </pc:sldMkLst>
        <pc:picChg chg="mod">
          <ac:chgData name="Howell, Alexandra" userId="S::ahowell@elogex.com::b24ac530-baea-4066-a1a8-5a645cdd3eb4" providerId="AD" clId="Web-{82646302-C00E-6378-C68E-238722ACE21B}" dt="2024-04-03T15:00:33.166" v="4" actId="1076"/>
          <ac:picMkLst>
            <pc:docMk/>
            <pc:sldMk cId="568719796" sldId="2147480141"/>
            <ac:picMk id="35" creationId="{28C7CD9C-4A8F-0BB2-A3EA-F5634170334B}"/>
          </ac:picMkLst>
        </pc:picChg>
      </pc:sldChg>
    </pc:docChg>
  </pc:docChgLst>
  <pc:docChgLst>
    <pc:chgData name="Karmakar, Sumit" userId="S::skarmakar@elogex.com::5d020034-ff2c-4e7e-8d00-e94708d613b2" providerId="AD" clId="Web-{E1B0A79B-F750-F318-42E7-FDCAB09D3957}"/>
    <pc:docChg chg="modSld">
      <pc:chgData name="Karmakar, Sumit" userId="S::skarmakar@elogex.com::5d020034-ff2c-4e7e-8d00-e94708d613b2" providerId="AD" clId="Web-{E1B0A79B-F750-F318-42E7-FDCAB09D3957}" dt="2024-03-11T16:55:43.269" v="48" actId="20577"/>
      <pc:docMkLst>
        <pc:docMk/>
      </pc:docMkLst>
      <pc:sldChg chg="delSp modSp">
        <pc:chgData name="Karmakar, Sumit" userId="S::skarmakar@elogex.com::5d020034-ff2c-4e7e-8d00-e94708d613b2" providerId="AD" clId="Web-{E1B0A79B-F750-F318-42E7-FDCAB09D3957}" dt="2024-03-11T16:55:43.269" v="48" actId="20577"/>
        <pc:sldMkLst>
          <pc:docMk/>
          <pc:sldMk cId="3830398862" sldId="2147479784"/>
        </pc:sldMkLst>
        <pc:spChg chg="del">
          <ac:chgData name="Karmakar, Sumit" userId="S::skarmakar@elogex.com::5d020034-ff2c-4e7e-8d00-e94708d613b2" providerId="AD" clId="Web-{E1B0A79B-F750-F318-42E7-FDCAB09D3957}" dt="2024-03-11T16:54:22.360" v="27"/>
          <ac:spMkLst>
            <pc:docMk/>
            <pc:sldMk cId="3830398862" sldId="2147479784"/>
            <ac:spMk id="1197" creationId="{E21D7B64-F617-C3BB-63BC-0F0826B05AE7}"/>
          </ac:spMkLst>
        </pc:spChg>
        <pc:spChg chg="del mod">
          <ac:chgData name="Karmakar, Sumit" userId="S::skarmakar@elogex.com::5d020034-ff2c-4e7e-8d00-e94708d613b2" providerId="AD" clId="Web-{E1B0A79B-F750-F318-42E7-FDCAB09D3957}" dt="2024-03-11T16:54:31.814" v="29"/>
          <ac:spMkLst>
            <pc:docMk/>
            <pc:sldMk cId="3830398862" sldId="2147479784"/>
            <ac:spMk id="1488" creationId="{DA8863FA-907C-5E3C-687F-E2038E540F18}"/>
          </ac:spMkLst>
        </pc:spChg>
        <pc:spChg chg="mod">
          <ac:chgData name="Karmakar, Sumit" userId="S::skarmakar@elogex.com::5d020034-ff2c-4e7e-8d00-e94708d613b2" providerId="AD" clId="Web-{E1B0A79B-F750-F318-42E7-FDCAB09D3957}" dt="2024-03-11T16:55:07.237" v="42" actId="1076"/>
          <ac:spMkLst>
            <pc:docMk/>
            <pc:sldMk cId="3830398862" sldId="2147479784"/>
            <ac:spMk id="1490" creationId="{B0CDEDB2-485A-AAD0-63D9-063477405477}"/>
          </ac:spMkLst>
        </pc:spChg>
        <pc:graphicFrameChg chg="modGraphic">
          <ac:chgData name="Karmakar, Sumit" userId="S::skarmakar@elogex.com::5d020034-ff2c-4e7e-8d00-e94708d613b2" providerId="AD" clId="Web-{E1B0A79B-F750-F318-42E7-FDCAB09D3957}" dt="2024-03-11T16:55:43.269" v="48" actId="20577"/>
          <ac:graphicFrameMkLst>
            <pc:docMk/>
            <pc:sldMk cId="3830398862" sldId="2147479784"/>
            <ac:graphicFrameMk id="54" creationId="{A7870F2B-624A-8CF7-13B3-4C6098793AF8}"/>
          </ac:graphicFrameMkLst>
        </pc:graphicFrameChg>
      </pc:sldChg>
    </pc:docChg>
  </pc:docChgLst>
  <pc:docChgLst>
    <pc:chgData name="Karmakar, Sumit" userId="S::skarmakar@elogex.com::5d020034-ff2c-4e7e-8d00-e94708d613b2" providerId="AD" clId="Web-{91EF111E-CE30-D34B-50B9-22A6BB640A15}"/>
    <pc:docChg chg="addSld delSld modSld modSection">
      <pc:chgData name="Karmakar, Sumit" userId="S::skarmakar@elogex.com::5d020034-ff2c-4e7e-8d00-e94708d613b2" providerId="AD" clId="Web-{91EF111E-CE30-D34B-50B9-22A6BB640A15}" dt="2024-03-16T00:23:40.084" v="12"/>
      <pc:docMkLst>
        <pc:docMk/>
      </pc:docMkLst>
      <pc:sldChg chg="add">
        <pc:chgData name="Karmakar, Sumit" userId="S::skarmakar@elogex.com::5d020034-ff2c-4e7e-8d00-e94708d613b2" providerId="AD" clId="Web-{91EF111E-CE30-D34B-50B9-22A6BB640A15}" dt="2024-03-16T00:09:45.348" v="3"/>
        <pc:sldMkLst>
          <pc:docMk/>
          <pc:sldMk cId="3961352546" sldId="2671"/>
        </pc:sldMkLst>
      </pc:sldChg>
      <pc:sldChg chg="add del">
        <pc:chgData name="Karmakar, Sumit" userId="S::skarmakar@elogex.com::5d020034-ff2c-4e7e-8d00-e94708d613b2" providerId="AD" clId="Web-{91EF111E-CE30-D34B-50B9-22A6BB640A15}" dt="2024-03-16T00:23:32.771" v="11"/>
        <pc:sldMkLst>
          <pc:docMk/>
          <pc:sldMk cId="447085017" sldId="3984"/>
        </pc:sldMkLst>
      </pc:sldChg>
      <pc:sldChg chg="add">
        <pc:chgData name="Karmakar, Sumit" userId="S::skarmakar@elogex.com::5d020034-ff2c-4e7e-8d00-e94708d613b2" providerId="AD" clId="Web-{91EF111E-CE30-D34B-50B9-22A6BB640A15}" dt="2024-03-16T00:12:58.775" v="4"/>
        <pc:sldMkLst>
          <pc:docMk/>
          <pc:sldMk cId="1815430670" sldId="4199"/>
        </pc:sldMkLst>
      </pc:sldChg>
      <pc:sldChg chg="add">
        <pc:chgData name="Karmakar, Sumit" userId="S::skarmakar@elogex.com::5d020034-ff2c-4e7e-8d00-e94708d613b2" providerId="AD" clId="Web-{91EF111E-CE30-D34B-50B9-22A6BB640A15}" dt="2024-03-16T00:21:36.283" v="10"/>
        <pc:sldMkLst>
          <pc:docMk/>
          <pc:sldMk cId="1836711800" sldId="4600"/>
        </pc:sldMkLst>
      </pc:sldChg>
      <pc:sldChg chg="add del">
        <pc:chgData name="Karmakar, Sumit" userId="S::skarmakar@elogex.com::5d020034-ff2c-4e7e-8d00-e94708d613b2" providerId="AD" clId="Web-{91EF111E-CE30-D34B-50B9-22A6BB640A15}" dt="2024-03-16T00:23:40.084" v="12"/>
        <pc:sldMkLst>
          <pc:docMk/>
          <pc:sldMk cId="934605487" sldId="4606"/>
        </pc:sldMkLst>
      </pc:sldChg>
      <pc:sldChg chg="add">
        <pc:chgData name="Karmakar, Sumit" userId="S::skarmakar@elogex.com::5d020034-ff2c-4e7e-8d00-e94708d613b2" providerId="AD" clId="Web-{91EF111E-CE30-D34B-50B9-22A6BB640A15}" dt="2024-03-16T00:21:35.986" v="9"/>
        <pc:sldMkLst>
          <pc:docMk/>
          <pc:sldMk cId="115926976" sldId="4612"/>
        </pc:sldMkLst>
      </pc:sldChg>
      <pc:sldChg chg="modSp">
        <pc:chgData name="Karmakar, Sumit" userId="S::skarmakar@elogex.com::5d020034-ff2c-4e7e-8d00-e94708d613b2" providerId="AD" clId="Web-{91EF111E-CE30-D34B-50B9-22A6BB640A15}" dt="2024-03-15T23:40:27.408" v="2" actId="20577"/>
        <pc:sldMkLst>
          <pc:docMk/>
          <pc:sldMk cId="2428350765" sldId="2147480083"/>
        </pc:sldMkLst>
        <pc:spChg chg="mod">
          <ac:chgData name="Karmakar, Sumit" userId="S::skarmakar@elogex.com::5d020034-ff2c-4e7e-8d00-e94708d613b2" providerId="AD" clId="Web-{91EF111E-CE30-D34B-50B9-22A6BB640A15}" dt="2024-03-15T23:40:27.408" v="2" actId="20577"/>
          <ac:spMkLst>
            <pc:docMk/>
            <pc:sldMk cId="2428350765" sldId="2147480083"/>
            <ac:spMk id="10" creationId="{1321DB6D-0CDA-A92E-AEE9-52CA62F8942C}"/>
          </ac:spMkLst>
        </pc:spChg>
      </pc:sldChg>
      <pc:sldChg chg="add del">
        <pc:chgData name="Karmakar, Sumit" userId="S::skarmakar@elogex.com::5d020034-ff2c-4e7e-8d00-e94708d613b2" providerId="AD" clId="Web-{91EF111E-CE30-D34B-50B9-22A6BB640A15}" dt="2024-03-16T00:21:24.080" v="6"/>
        <pc:sldMkLst>
          <pc:docMk/>
          <pc:sldMk cId="2818489016" sldId="2147480114"/>
        </pc:sldMkLst>
      </pc:sldChg>
      <pc:sldMasterChg chg="addSldLayout">
        <pc:chgData name="Karmakar, Sumit" userId="S::skarmakar@elogex.com::5d020034-ff2c-4e7e-8d00-e94708d613b2" providerId="AD" clId="Web-{91EF111E-CE30-D34B-50B9-22A6BB640A15}" dt="2024-03-16T00:21:33.861" v="7"/>
        <pc:sldMasterMkLst>
          <pc:docMk/>
          <pc:sldMasterMk cId="2758596200" sldId="2147484390"/>
        </pc:sldMasterMkLst>
        <pc:sldLayoutChg chg="add">
          <pc:chgData name="Karmakar, Sumit" userId="S::skarmakar@elogex.com::5d020034-ff2c-4e7e-8d00-e94708d613b2" providerId="AD" clId="Web-{91EF111E-CE30-D34B-50B9-22A6BB640A15}" dt="2024-03-16T00:21:33.861" v="7"/>
          <pc:sldLayoutMkLst>
            <pc:docMk/>
            <pc:sldMasterMk cId="2758596200" sldId="2147483767"/>
            <pc:sldLayoutMk cId="2678334677" sldId="2147484387"/>
          </pc:sldLayoutMkLst>
        </pc:sldLayoutChg>
      </pc:sldMasterChg>
    </pc:docChg>
  </pc:docChgLst>
  <pc:docChgLst>
    <pc:chgData name="Angadi, Ravikanth" userId="S::rangadi@elogex.com::72ba6dc8-cc6a-41cf-8fd1-15fa51c0a144" providerId="AD" clId="Web-{3D741A5C-55A8-2074-2E7D-264978ECE69E}"/>
    <pc:docChg chg="modSld">
      <pc:chgData name="Angadi, Ravikanth" userId="S::rangadi@elogex.com::72ba6dc8-cc6a-41cf-8fd1-15fa51c0a144" providerId="AD" clId="Web-{3D741A5C-55A8-2074-2E7D-264978ECE69E}" dt="2024-03-25T19:19:15.380" v="43" actId="1076"/>
      <pc:docMkLst>
        <pc:docMk/>
      </pc:docMkLst>
      <pc:sldChg chg="addSp delSp modSp">
        <pc:chgData name="Angadi, Ravikanth" userId="S::rangadi@elogex.com::72ba6dc8-cc6a-41cf-8fd1-15fa51c0a144" providerId="AD" clId="Web-{3D741A5C-55A8-2074-2E7D-264978ECE69E}" dt="2024-03-25T19:19:15.380" v="43" actId="1076"/>
        <pc:sldMkLst>
          <pc:docMk/>
          <pc:sldMk cId="2345600220" sldId="2147480105"/>
        </pc:sldMkLst>
        <pc:picChg chg="del">
          <ac:chgData name="Angadi, Ravikanth" userId="S::rangadi@elogex.com::72ba6dc8-cc6a-41cf-8fd1-15fa51c0a144" providerId="AD" clId="Web-{3D741A5C-55A8-2074-2E7D-264978ECE69E}" dt="2024-03-25T18:49:15.195" v="0"/>
          <ac:picMkLst>
            <pc:docMk/>
            <pc:sldMk cId="2345600220" sldId="2147480105"/>
            <ac:picMk id="3" creationId="{B33EB398-1229-694C-2181-A37CBD43A42C}"/>
          </ac:picMkLst>
        </pc:picChg>
        <pc:picChg chg="del">
          <ac:chgData name="Angadi, Ravikanth" userId="S::rangadi@elogex.com::72ba6dc8-cc6a-41cf-8fd1-15fa51c0a144" providerId="AD" clId="Web-{3D741A5C-55A8-2074-2E7D-264978ECE69E}" dt="2024-03-25T18:50:23.603" v="7"/>
          <ac:picMkLst>
            <pc:docMk/>
            <pc:sldMk cId="2345600220" sldId="2147480105"/>
            <ac:picMk id="4" creationId="{3445899A-3BE4-AB62-5CD4-02004A5BE70C}"/>
          </ac:picMkLst>
        </pc:picChg>
        <pc:picChg chg="add del mod">
          <ac:chgData name="Angadi, Ravikanth" userId="S::rangadi@elogex.com::72ba6dc8-cc6a-41cf-8fd1-15fa51c0a144" providerId="AD" clId="Web-{3D741A5C-55A8-2074-2E7D-264978ECE69E}" dt="2024-03-25T19:10:28.132" v="18"/>
          <ac:picMkLst>
            <pc:docMk/>
            <pc:sldMk cId="2345600220" sldId="2147480105"/>
            <ac:picMk id="5" creationId="{83149990-A1F2-F480-5E0D-42B985839461}"/>
          </ac:picMkLst>
        </pc:picChg>
        <pc:picChg chg="add del mod">
          <ac:chgData name="Angadi, Ravikanth" userId="S::rangadi@elogex.com::72ba6dc8-cc6a-41cf-8fd1-15fa51c0a144" providerId="AD" clId="Web-{3D741A5C-55A8-2074-2E7D-264978ECE69E}" dt="2024-03-25T19:17:33.815" v="32"/>
          <ac:picMkLst>
            <pc:docMk/>
            <pc:sldMk cId="2345600220" sldId="2147480105"/>
            <ac:picMk id="6" creationId="{4B09E037-AF09-D013-8FC1-71D45C1BF593}"/>
          </ac:picMkLst>
        </pc:picChg>
        <pc:picChg chg="add del mod">
          <ac:chgData name="Angadi, Ravikanth" userId="S::rangadi@elogex.com::72ba6dc8-cc6a-41cf-8fd1-15fa51c0a144" providerId="AD" clId="Web-{3D741A5C-55A8-2074-2E7D-264978ECE69E}" dt="2024-03-25T19:18:03.003" v="36"/>
          <ac:picMkLst>
            <pc:docMk/>
            <pc:sldMk cId="2345600220" sldId="2147480105"/>
            <ac:picMk id="7" creationId="{D006E0F9-F0D5-17C0-F7F2-1C03A9B4AFA8}"/>
          </ac:picMkLst>
        </pc:picChg>
        <pc:picChg chg="add mod">
          <ac:chgData name="Angadi, Ravikanth" userId="S::rangadi@elogex.com::72ba6dc8-cc6a-41cf-8fd1-15fa51c0a144" providerId="AD" clId="Web-{3D741A5C-55A8-2074-2E7D-264978ECE69E}" dt="2024-03-25T19:18:30.457" v="39" actId="14100"/>
          <ac:picMkLst>
            <pc:docMk/>
            <pc:sldMk cId="2345600220" sldId="2147480105"/>
            <ac:picMk id="8" creationId="{59CA4BD9-308B-0286-94AD-EC85AB10CB37}"/>
          </ac:picMkLst>
        </pc:picChg>
        <pc:picChg chg="add mod">
          <ac:chgData name="Angadi, Ravikanth" userId="S::rangadi@elogex.com::72ba6dc8-cc6a-41cf-8fd1-15fa51c0a144" providerId="AD" clId="Web-{3D741A5C-55A8-2074-2E7D-264978ECE69E}" dt="2024-03-25T19:19:15.380" v="43" actId="1076"/>
          <ac:picMkLst>
            <pc:docMk/>
            <pc:sldMk cId="2345600220" sldId="2147480105"/>
            <ac:picMk id="9" creationId="{8F07AA6B-201B-C667-D103-745BA75D89DC}"/>
          </ac:picMkLst>
        </pc:picChg>
      </pc:sldChg>
    </pc:docChg>
  </pc:docChgLst>
  <pc:docChgLst>
    <pc:chgData name="Karmakar, Sumit" userId="S::skarmakar@elogex.com::5d020034-ff2c-4e7e-8d00-e94708d613b2" providerId="AD" clId="Web-{981F33C5-EC81-FF75-BABF-D5E49EEBDCAE}"/>
    <pc:docChg chg="delSld modSection">
      <pc:chgData name="Karmakar, Sumit" userId="S::skarmakar@elogex.com::5d020034-ff2c-4e7e-8d00-e94708d613b2" providerId="AD" clId="Web-{981F33C5-EC81-FF75-BABF-D5E49EEBDCAE}" dt="2024-04-01T15:28:33.127" v="3"/>
      <pc:docMkLst>
        <pc:docMk/>
      </pc:docMkLst>
      <pc:sldChg chg="del">
        <pc:chgData name="Karmakar, Sumit" userId="S::skarmakar@elogex.com::5d020034-ff2c-4e7e-8d00-e94708d613b2" providerId="AD" clId="Web-{981F33C5-EC81-FF75-BABF-D5E49EEBDCAE}" dt="2024-04-01T15:28:25.705" v="0"/>
        <pc:sldMkLst>
          <pc:docMk/>
          <pc:sldMk cId="3502658628" sldId="2147480127"/>
        </pc:sldMkLst>
      </pc:sldChg>
      <pc:sldChg chg="del">
        <pc:chgData name="Karmakar, Sumit" userId="S::skarmakar@elogex.com::5d020034-ff2c-4e7e-8d00-e94708d613b2" providerId="AD" clId="Web-{981F33C5-EC81-FF75-BABF-D5E49EEBDCAE}" dt="2024-04-01T15:28:27.517" v="1"/>
        <pc:sldMkLst>
          <pc:docMk/>
          <pc:sldMk cId="971165485" sldId="2147480128"/>
        </pc:sldMkLst>
      </pc:sldChg>
      <pc:sldChg chg="del">
        <pc:chgData name="Karmakar, Sumit" userId="S::skarmakar@elogex.com::5d020034-ff2c-4e7e-8d00-e94708d613b2" providerId="AD" clId="Web-{981F33C5-EC81-FF75-BABF-D5E49EEBDCAE}" dt="2024-04-01T15:28:33.127" v="3"/>
        <pc:sldMkLst>
          <pc:docMk/>
          <pc:sldMk cId="3725083184" sldId="2147480133"/>
        </pc:sldMkLst>
      </pc:sldChg>
      <pc:sldChg chg="del">
        <pc:chgData name="Karmakar, Sumit" userId="S::skarmakar@elogex.com::5d020034-ff2c-4e7e-8d00-e94708d613b2" providerId="AD" clId="Web-{981F33C5-EC81-FF75-BABF-D5E49EEBDCAE}" dt="2024-04-01T15:28:30.064" v="2"/>
        <pc:sldMkLst>
          <pc:docMk/>
          <pc:sldMk cId="2638490646" sldId="2147480135"/>
        </pc:sldMkLst>
      </pc:sldChg>
    </pc:docChg>
  </pc:docChgLst>
  <pc:docChgLst>
    <pc:chgData name="Karmakar, Sumit" userId="S::skarmakar@elogex.com::5d020034-ff2c-4e7e-8d00-e94708d613b2" providerId="AD" clId="Web-{9404EFB8-B54A-331F-1523-C9A44D625FF8}"/>
    <pc:docChg chg="addSld delSld modSld modSection">
      <pc:chgData name="Karmakar, Sumit" userId="S::skarmakar@elogex.com::5d020034-ff2c-4e7e-8d00-e94708d613b2" providerId="AD" clId="Web-{9404EFB8-B54A-331F-1523-C9A44D625FF8}" dt="2024-02-26T17:36:34.908" v="124"/>
      <pc:docMkLst>
        <pc:docMk/>
      </pc:docMkLst>
      <pc:sldChg chg="addSp delSp modSp">
        <pc:chgData name="Karmakar, Sumit" userId="S::skarmakar@elogex.com::5d020034-ff2c-4e7e-8d00-e94708d613b2" providerId="AD" clId="Web-{9404EFB8-B54A-331F-1523-C9A44D625FF8}" dt="2024-02-26T17:36:10.783" v="117"/>
        <pc:sldMkLst>
          <pc:docMk/>
          <pc:sldMk cId="3853618670" sldId="310"/>
        </pc:sldMkLst>
        <pc:spChg chg="mod">
          <ac:chgData name="Karmakar, Sumit" userId="S::skarmakar@elogex.com::5d020034-ff2c-4e7e-8d00-e94708d613b2" providerId="AD" clId="Web-{9404EFB8-B54A-331F-1523-C9A44D625FF8}" dt="2024-02-26T17:26:36.061" v="1" actId="20577"/>
          <ac:spMkLst>
            <pc:docMk/>
            <pc:sldMk cId="3853618670" sldId="310"/>
            <ac:spMk id="10" creationId="{8D4A47EA-9BE7-EF00-303D-E6AF9A73A44F}"/>
          </ac:spMkLst>
        </pc:spChg>
        <pc:grpChg chg="add del">
          <ac:chgData name="Karmakar, Sumit" userId="S::skarmakar@elogex.com::5d020034-ff2c-4e7e-8d00-e94708d613b2" providerId="AD" clId="Web-{9404EFB8-B54A-331F-1523-C9A44D625FF8}" dt="2024-02-26T17:34:16.908" v="95"/>
          <ac:grpSpMkLst>
            <pc:docMk/>
            <pc:sldMk cId="3853618670" sldId="310"/>
            <ac:grpSpMk id="12" creationId="{25B7AA8B-C046-F3D2-69B8-092BB3289D46}"/>
          </ac:grpSpMkLst>
        </pc:grpChg>
        <pc:grpChg chg="add">
          <ac:chgData name="Karmakar, Sumit" userId="S::skarmakar@elogex.com::5d020034-ff2c-4e7e-8d00-e94708d613b2" providerId="AD" clId="Web-{9404EFB8-B54A-331F-1523-C9A44D625FF8}" dt="2024-02-26T17:36:10.783" v="117"/>
          <ac:grpSpMkLst>
            <pc:docMk/>
            <pc:sldMk cId="3853618670" sldId="310"/>
            <ac:grpSpMk id="18" creationId="{70D269CF-456B-218F-B3E4-599077F41F5B}"/>
          </ac:grpSpMkLst>
        </pc:grpChg>
        <pc:picChg chg="del">
          <ac:chgData name="Karmakar, Sumit" userId="S::skarmakar@elogex.com::5d020034-ff2c-4e7e-8d00-e94708d613b2" providerId="AD" clId="Web-{9404EFB8-B54A-331F-1523-C9A44D625FF8}" dt="2024-02-26T17:29:54.812" v="63"/>
          <ac:picMkLst>
            <pc:docMk/>
            <pc:sldMk cId="3853618670" sldId="310"/>
            <ac:picMk id="16" creationId="{B7D784D0-7FE1-FB64-2846-B7380E9624C1}"/>
          </ac:picMkLst>
        </pc:picChg>
      </pc:sldChg>
      <pc:sldChg chg="addSp delSp modSp">
        <pc:chgData name="Karmakar, Sumit" userId="S::skarmakar@elogex.com::5d020034-ff2c-4e7e-8d00-e94708d613b2" providerId="AD" clId="Web-{9404EFB8-B54A-331F-1523-C9A44D625FF8}" dt="2024-02-26T17:36:24.768" v="121"/>
        <pc:sldMkLst>
          <pc:docMk/>
          <pc:sldMk cId="714085902" sldId="2147375216"/>
        </pc:sldMkLst>
        <pc:spChg chg="mod">
          <ac:chgData name="Karmakar, Sumit" userId="S::skarmakar@elogex.com::5d020034-ff2c-4e7e-8d00-e94708d613b2" providerId="AD" clId="Web-{9404EFB8-B54A-331F-1523-C9A44D625FF8}" dt="2024-02-26T17:28:03.312" v="41" actId="20577"/>
          <ac:spMkLst>
            <pc:docMk/>
            <pc:sldMk cId="714085902" sldId="2147375216"/>
            <ac:spMk id="2" creationId="{E354E9DF-CDC6-DD3D-EF28-FEAB47C7216A}"/>
          </ac:spMkLst>
        </pc:spChg>
        <pc:spChg chg="mod">
          <ac:chgData name="Karmakar, Sumit" userId="S::skarmakar@elogex.com::5d020034-ff2c-4e7e-8d00-e94708d613b2" providerId="AD" clId="Web-{9404EFB8-B54A-331F-1523-C9A44D625FF8}" dt="2024-02-26T17:27:42.280" v="31" actId="20577"/>
          <ac:spMkLst>
            <pc:docMk/>
            <pc:sldMk cId="714085902" sldId="2147375216"/>
            <ac:spMk id="9" creationId="{27F4EB86-2F20-099B-AAC5-A8A3A010FE7B}"/>
          </ac:spMkLst>
        </pc:spChg>
        <pc:grpChg chg="add del">
          <ac:chgData name="Karmakar, Sumit" userId="S::skarmakar@elogex.com::5d020034-ff2c-4e7e-8d00-e94708d613b2" providerId="AD" clId="Web-{9404EFB8-B54A-331F-1523-C9A44D625FF8}" dt="2024-02-26T17:34:37.626" v="101"/>
          <ac:grpSpMkLst>
            <pc:docMk/>
            <pc:sldMk cId="714085902" sldId="2147375216"/>
            <ac:grpSpMk id="10" creationId="{69B1EFAD-4CE0-45C6-0BC5-48A26F79FE9A}"/>
          </ac:grpSpMkLst>
        </pc:grpChg>
        <pc:grpChg chg="add">
          <ac:chgData name="Karmakar, Sumit" userId="S::skarmakar@elogex.com::5d020034-ff2c-4e7e-8d00-e94708d613b2" providerId="AD" clId="Web-{9404EFB8-B54A-331F-1523-C9A44D625FF8}" dt="2024-02-26T17:36:24.768" v="121"/>
          <ac:grpSpMkLst>
            <pc:docMk/>
            <pc:sldMk cId="714085902" sldId="2147375216"/>
            <ac:grpSpMk id="14" creationId="{DFE89F4B-92EF-1BE8-CE6E-E42632FF88D0}"/>
          </ac:grpSpMkLst>
        </pc:grpChg>
        <pc:picChg chg="del">
          <ac:chgData name="Karmakar, Sumit" userId="S::skarmakar@elogex.com::5d020034-ff2c-4e7e-8d00-e94708d613b2" providerId="AD" clId="Web-{9404EFB8-B54A-331F-1523-C9A44D625FF8}" dt="2024-02-26T17:32:38.845" v="78"/>
          <ac:picMkLst>
            <pc:docMk/>
            <pc:sldMk cId="714085902" sldId="2147375216"/>
            <ac:picMk id="7" creationId="{9B478801-8665-07E2-5D36-5D4C05124202}"/>
          </ac:picMkLst>
        </pc:picChg>
      </pc:sldChg>
      <pc:sldChg chg="addSp delSp modSp mod modClrScheme chgLayout">
        <pc:chgData name="Karmakar, Sumit" userId="S::skarmakar@elogex.com::5d020034-ff2c-4e7e-8d00-e94708d613b2" providerId="AD" clId="Web-{9404EFB8-B54A-331F-1523-C9A44D625FF8}" dt="2024-02-26T17:34:58.330" v="105"/>
        <pc:sldMkLst>
          <pc:docMk/>
          <pc:sldMk cId="281351634" sldId="2147375232"/>
        </pc:sldMkLst>
        <pc:spChg chg="mod">
          <ac:chgData name="Karmakar, Sumit" userId="S::skarmakar@elogex.com::5d020034-ff2c-4e7e-8d00-e94708d613b2" providerId="AD" clId="Web-{9404EFB8-B54A-331F-1523-C9A44D625FF8}" dt="2024-02-26T17:31:35.922" v="70"/>
          <ac:spMkLst>
            <pc:docMk/>
            <pc:sldMk cId="281351634" sldId="2147375232"/>
            <ac:spMk id="3" creationId="{911E0B7C-697C-C651-94E8-09B6A11789E4}"/>
          </ac:spMkLst>
        </pc:spChg>
        <pc:spChg chg="mod">
          <ac:chgData name="Karmakar, Sumit" userId="S::skarmakar@elogex.com::5d020034-ff2c-4e7e-8d00-e94708d613b2" providerId="AD" clId="Web-{9404EFB8-B54A-331F-1523-C9A44D625FF8}" dt="2024-02-26T17:31:35.922" v="70"/>
          <ac:spMkLst>
            <pc:docMk/>
            <pc:sldMk cId="281351634" sldId="2147375232"/>
            <ac:spMk id="6" creationId="{417C87F0-9007-7AF1-73B7-E68FB34B1F7C}"/>
          </ac:spMkLst>
        </pc:spChg>
        <pc:spChg chg="mod">
          <ac:chgData name="Karmakar, Sumit" userId="S::skarmakar@elogex.com::5d020034-ff2c-4e7e-8d00-e94708d613b2" providerId="AD" clId="Web-{9404EFB8-B54A-331F-1523-C9A44D625FF8}" dt="2024-02-26T17:31:35.922" v="70"/>
          <ac:spMkLst>
            <pc:docMk/>
            <pc:sldMk cId="281351634" sldId="2147375232"/>
            <ac:spMk id="7" creationId="{8CAF89B3-1902-3221-D916-0925E9430B8E}"/>
          </ac:spMkLst>
        </pc:spChg>
        <pc:grpChg chg="add del mod">
          <ac:chgData name="Karmakar, Sumit" userId="S::skarmakar@elogex.com::5d020034-ff2c-4e7e-8d00-e94708d613b2" providerId="AD" clId="Web-{9404EFB8-B54A-331F-1523-C9A44D625FF8}" dt="2024-02-26T17:34:58.330" v="105"/>
          <ac:grpSpMkLst>
            <pc:docMk/>
            <pc:sldMk cId="281351634" sldId="2147375232"/>
            <ac:grpSpMk id="9" creationId="{0A95D3F6-8277-CAEC-5951-A227EA94E38F}"/>
          </ac:grpSpMkLst>
        </pc:grpChg>
      </pc:sldChg>
      <pc:sldChg chg="addSp delSp">
        <pc:chgData name="Karmakar, Sumit" userId="S::skarmakar@elogex.com::5d020034-ff2c-4e7e-8d00-e94708d613b2" providerId="AD" clId="Web-{9404EFB8-B54A-331F-1523-C9A44D625FF8}" dt="2024-02-26T17:34:27.330" v="98"/>
        <pc:sldMkLst>
          <pc:docMk/>
          <pc:sldMk cId="4082499125" sldId="2147479704"/>
        </pc:sldMkLst>
        <pc:grpChg chg="add del">
          <ac:chgData name="Karmakar, Sumit" userId="S::skarmakar@elogex.com::5d020034-ff2c-4e7e-8d00-e94708d613b2" providerId="AD" clId="Web-{9404EFB8-B54A-331F-1523-C9A44D625FF8}" dt="2024-02-26T17:34:27.330" v="98"/>
          <ac:grpSpMkLst>
            <pc:docMk/>
            <pc:sldMk cId="4082499125" sldId="2147479704"/>
            <ac:grpSpMk id="17" creationId="{88A6AF7D-BD16-38DE-1D0C-E95F40E54021}"/>
          </ac:grpSpMkLst>
        </pc:grpChg>
        <pc:picChg chg="del">
          <ac:chgData name="Karmakar, Sumit" userId="S::skarmakar@elogex.com::5d020034-ff2c-4e7e-8d00-e94708d613b2" providerId="AD" clId="Web-{9404EFB8-B54A-331F-1523-C9A44D625FF8}" dt="2024-02-26T17:32:26.485" v="75"/>
          <ac:picMkLst>
            <pc:docMk/>
            <pc:sldMk cId="4082499125" sldId="2147479704"/>
            <ac:picMk id="15" creationId="{C8C395FC-65F5-BB44-E8CC-E00271EA9358}"/>
          </ac:picMkLst>
        </pc:picChg>
      </pc:sldChg>
      <pc:sldChg chg="addSp delSp">
        <pc:chgData name="Karmakar, Sumit" userId="S::skarmakar@elogex.com::5d020034-ff2c-4e7e-8d00-e94708d613b2" providerId="AD" clId="Web-{9404EFB8-B54A-331F-1523-C9A44D625FF8}" dt="2024-02-26T17:36:07.783" v="116"/>
        <pc:sldMkLst>
          <pc:docMk/>
          <pc:sldMk cId="2371631138" sldId="2147479780"/>
        </pc:sldMkLst>
        <pc:grpChg chg="add del">
          <ac:chgData name="Karmakar, Sumit" userId="S::skarmakar@elogex.com::5d020034-ff2c-4e7e-8d00-e94708d613b2" providerId="AD" clId="Web-{9404EFB8-B54A-331F-1523-C9A44D625FF8}" dt="2024-02-26T17:34:13.486" v="94"/>
          <ac:grpSpMkLst>
            <pc:docMk/>
            <pc:sldMk cId="2371631138" sldId="2147479780"/>
            <ac:grpSpMk id="8" creationId="{3E17A46F-E2C3-0158-DE13-277ABBA917EC}"/>
          </ac:grpSpMkLst>
        </pc:grpChg>
        <pc:grpChg chg="add">
          <ac:chgData name="Karmakar, Sumit" userId="S::skarmakar@elogex.com::5d020034-ff2c-4e7e-8d00-e94708d613b2" providerId="AD" clId="Web-{9404EFB8-B54A-331F-1523-C9A44D625FF8}" dt="2024-02-26T17:36:07.783" v="116"/>
          <ac:grpSpMkLst>
            <pc:docMk/>
            <pc:sldMk cId="2371631138" sldId="2147479780"/>
            <ac:grpSpMk id="12" creationId="{7C09D17D-ED50-A60A-5CE9-7D7C9071E787}"/>
          </ac:grpSpMkLst>
        </pc:grpChg>
        <pc:picChg chg="del">
          <ac:chgData name="Karmakar, Sumit" userId="S::skarmakar@elogex.com::5d020034-ff2c-4e7e-8d00-e94708d613b2" providerId="AD" clId="Web-{9404EFB8-B54A-331F-1523-C9A44D625FF8}" dt="2024-02-26T17:29:50.812" v="62"/>
          <ac:picMkLst>
            <pc:docMk/>
            <pc:sldMk cId="2371631138" sldId="2147479780"/>
            <ac:picMk id="2" creationId="{2B67A2C1-F008-A329-654C-FE479ED43E8E}"/>
          </ac:picMkLst>
        </pc:picChg>
      </pc:sldChg>
      <pc:sldChg chg="addSp delSp modSp">
        <pc:chgData name="Karmakar, Sumit" userId="S::skarmakar@elogex.com::5d020034-ff2c-4e7e-8d00-e94708d613b2" providerId="AD" clId="Web-{9404EFB8-B54A-331F-1523-C9A44D625FF8}" dt="2024-02-26T17:36:15.705" v="118"/>
        <pc:sldMkLst>
          <pc:docMk/>
          <pc:sldMk cId="2768228940" sldId="2147480034"/>
        </pc:sldMkLst>
        <pc:spChg chg="mod">
          <ac:chgData name="Karmakar, Sumit" userId="S::skarmakar@elogex.com::5d020034-ff2c-4e7e-8d00-e94708d613b2" providerId="AD" clId="Web-{9404EFB8-B54A-331F-1523-C9A44D625FF8}" dt="2024-02-26T17:26:41.952" v="3" actId="20577"/>
          <ac:spMkLst>
            <pc:docMk/>
            <pc:sldMk cId="2768228940" sldId="2147480034"/>
            <ac:spMk id="3" creationId="{5BD8F34E-7D67-1BBE-D4B2-85EE63373B51}"/>
          </ac:spMkLst>
        </pc:spChg>
        <pc:grpChg chg="add del">
          <ac:chgData name="Karmakar, Sumit" userId="S::skarmakar@elogex.com::5d020034-ff2c-4e7e-8d00-e94708d613b2" providerId="AD" clId="Web-{9404EFB8-B54A-331F-1523-C9A44D625FF8}" dt="2024-02-26T17:34:21.658" v="96"/>
          <ac:grpSpMkLst>
            <pc:docMk/>
            <pc:sldMk cId="2768228940" sldId="2147480034"/>
            <ac:grpSpMk id="7" creationId="{2631AC56-1F11-FF0A-9CD4-58BFE943E269}"/>
          </ac:grpSpMkLst>
        </pc:grpChg>
        <pc:grpChg chg="add">
          <ac:chgData name="Karmakar, Sumit" userId="S::skarmakar@elogex.com::5d020034-ff2c-4e7e-8d00-e94708d613b2" providerId="AD" clId="Web-{9404EFB8-B54A-331F-1523-C9A44D625FF8}" dt="2024-02-26T17:36:15.705" v="118"/>
          <ac:grpSpMkLst>
            <pc:docMk/>
            <pc:sldMk cId="2768228940" sldId="2147480034"/>
            <ac:grpSpMk id="11" creationId="{EDD17533-767A-6DC9-406A-9E77DB74C436}"/>
          </ac:grpSpMkLst>
        </pc:grpChg>
        <pc:picChg chg="del">
          <ac:chgData name="Karmakar, Sumit" userId="S::skarmakar@elogex.com::5d020034-ff2c-4e7e-8d00-e94708d613b2" providerId="AD" clId="Web-{9404EFB8-B54A-331F-1523-C9A44D625FF8}" dt="2024-02-26T17:32:14.454" v="73"/>
          <ac:picMkLst>
            <pc:docMk/>
            <pc:sldMk cId="2768228940" sldId="2147480034"/>
            <ac:picMk id="5" creationId="{5DE6D26D-A4C3-EED4-1367-E88B8606F0F2}"/>
          </ac:picMkLst>
        </pc:picChg>
      </pc:sldChg>
      <pc:sldChg chg="addSp delSp modSp">
        <pc:chgData name="Karmakar, Sumit" userId="S::skarmakar@elogex.com::5d020034-ff2c-4e7e-8d00-e94708d613b2" providerId="AD" clId="Web-{9404EFB8-B54A-331F-1523-C9A44D625FF8}" dt="2024-02-26T17:36:31.908" v="123"/>
        <pc:sldMkLst>
          <pc:docMk/>
          <pc:sldMk cId="3934650505" sldId="2147480035"/>
        </pc:sldMkLst>
        <pc:spChg chg="mod">
          <ac:chgData name="Karmakar, Sumit" userId="S::skarmakar@elogex.com::5d020034-ff2c-4e7e-8d00-e94708d613b2" providerId="AD" clId="Web-{9404EFB8-B54A-331F-1523-C9A44D625FF8}" dt="2024-02-26T17:28:30.265" v="56" actId="20577"/>
          <ac:spMkLst>
            <pc:docMk/>
            <pc:sldMk cId="3934650505" sldId="2147480035"/>
            <ac:spMk id="10" creationId="{DD834547-15B2-50FF-CD1E-C9F6FB93CB4A}"/>
          </ac:spMkLst>
        </pc:spChg>
        <pc:grpChg chg="add del">
          <ac:chgData name="Karmakar, Sumit" userId="S::skarmakar@elogex.com::5d020034-ff2c-4e7e-8d00-e94708d613b2" providerId="AD" clId="Web-{9404EFB8-B54A-331F-1523-C9A44D625FF8}" dt="2024-02-26T17:34:42.564" v="103"/>
          <ac:grpSpMkLst>
            <pc:docMk/>
            <pc:sldMk cId="3934650505" sldId="2147480035"/>
            <ac:grpSpMk id="8" creationId="{D5E4BF8D-8CA9-F8DF-6BDA-804252AAB973}"/>
          </ac:grpSpMkLst>
        </pc:grpChg>
        <pc:grpChg chg="add">
          <ac:chgData name="Karmakar, Sumit" userId="S::skarmakar@elogex.com::5d020034-ff2c-4e7e-8d00-e94708d613b2" providerId="AD" clId="Web-{9404EFB8-B54A-331F-1523-C9A44D625FF8}" dt="2024-02-26T17:36:31.908" v="123"/>
          <ac:grpSpMkLst>
            <pc:docMk/>
            <pc:sldMk cId="3934650505" sldId="2147480035"/>
            <ac:grpSpMk id="14" creationId="{407912E8-9879-C2D6-10E5-05A5C47E1B89}"/>
          </ac:grpSpMkLst>
        </pc:grpChg>
        <pc:picChg chg="del">
          <ac:chgData name="Karmakar, Sumit" userId="S::skarmakar@elogex.com::5d020034-ff2c-4e7e-8d00-e94708d613b2" providerId="AD" clId="Web-{9404EFB8-B54A-331F-1523-C9A44D625FF8}" dt="2024-02-26T17:32:42.657" v="79"/>
          <ac:picMkLst>
            <pc:docMk/>
            <pc:sldMk cId="3934650505" sldId="2147480035"/>
            <ac:picMk id="11" creationId="{F4A9F2D5-D238-39EB-965E-4E923E759F7D}"/>
          </ac:picMkLst>
        </pc:picChg>
      </pc:sldChg>
      <pc:sldChg chg="addSp delSp modSp">
        <pc:chgData name="Karmakar, Sumit" userId="S::skarmakar@elogex.com::5d020034-ff2c-4e7e-8d00-e94708d613b2" providerId="AD" clId="Web-{9404EFB8-B54A-331F-1523-C9A44D625FF8}" dt="2024-02-26T17:35:49.252" v="113" actId="1076"/>
        <pc:sldMkLst>
          <pc:docMk/>
          <pc:sldMk cId="2726751487" sldId="2147480051"/>
        </pc:sldMkLst>
        <pc:spChg chg="mod">
          <ac:chgData name="Karmakar, Sumit" userId="S::skarmakar@elogex.com::5d020034-ff2c-4e7e-8d00-e94708d613b2" providerId="AD" clId="Web-{9404EFB8-B54A-331F-1523-C9A44D625FF8}" dt="2024-02-26T17:26:59.421" v="6" actId="20577"/>
          <ac:spMkLst>
            <pc:docMk/>
            <pc:sldMk cId="2726751487" sldId="2147480051"/>
            <ac:spMk id="3" creationId="{C26A9C8E-A19C-B642-0966-CD47C599D327}"/>
          </ac:spMkLst>
        </pc:spChg>
        <pc:grpChg chg="add del">
          <ac:chgData name="Karmakar, Sumit" userId="S::skarmakar@elogex.com::5d020034-ff2c-4e7e-8d00-e94708d613b2" providerId="AD" clId="Web-{9404EFB8-B54A-331F-1523-C9A44D625FF8}" dt="2024-02-26T17:34:24.673" v="97"/>
          <ac:grpSpMkLst>
            <pc:docMk/>
            <pc:sldMk cId="2726751487" sldId="2147480051"/>
            <ac:grpSpMk id="9" creationId="{01F3BE44-63E2-5B2D-651A-64BAA34E6FED}"/>
          </ac:grpSpMkLst>
        </pc:grpChg>
        <pc:grpChg chg="add mod">
          <ac:chgData name="Karmakar, Sumit" userId="S::skarmakar@elogex.com::5d020034-ff2c-4e7e-8d00-e94708d613b2" providerId="AD" clId="Web-{9404EFB8-B54A-331F-1523-C9A44D625FF8}" dt="2024-02-26T17:35:49.252" v="113" actId="1076"/>
          <ac:grpSpMkLst>
            <pc:docMk/>
            <pc:sldMk cId="2726751487" sldId="2147480051"/>
            <ac:grpSpMk id="14" creationId="{53830D03-7086-6A74-23C9-0CBB72DE7E34}"/>
          </ac:grpSpMkLst>
        </pc:grpChg>
        <pc:picChg chg="del">
          <ac:chgData name="Karmakar, Sumit" userId="S::skarmakar@elogex.com::5d020034-ff2c-4e7e-8d00-e94708d613b2" providerId="AD" clId="Web-{9404EFB8-B54A-331F-1523-C9A44D625FF8}" dt="2024-02-26T17:32:30.813" v="76"/>
          <ac:picMkLst>
            <pc:docMk/>
            <pc:sldMk cId="2726751487" sldId="2147480051"/>
            <ac:picMk id="2" creationId="{C3FC0586-4630-C50C-DD35-598D0534BDB4}"/>
          </ac:picMkLst>
        </pc:picChg>
      </pc:sldChg>
      <pc:sldChg chg="addSp delSp modSp">
        <pc:chgData name="Karmakar, Sumit" userId="S::skarmakar@elogex.com::5d020034-ff2c-4e7e-8d00-e94708d613b2" providerId="AD" clId="Web-{9404EFB8-B54A-331F-1523-C9A44D625FF8}" dt="2024-02-26T17:36:18.768" v="119"/>
        <pc:sldMkLst>
          <pc:docMk/>
          <pc:sldMk cId="3227021263" sldId="2147480052"/>
        </pc:sldMkLst>
        <pc:spChg chg="mod">
          <ac:chgData name="Karmakar, Sumit" userId="S::skarmakar@elogex.com::5d020034-ff2c-4e7e-8d00-e94708d613b2" providerId="AD" clId="Web-{9404EFB8-B54A-331F-1523-C9A44D625FF8}" dt="2024-02-26T17:27:06.874" v="9" actId="20577"/>
          <ac:spMkLst>
            <pc:docMk/>
            <pc:sldMk cId="3227021263" sldId="2147480052"/>
            <ac:spMk id="9" creationId="{3FE748FA-211B-C46A-4CF9-06ACC742B074}"/>
          </ac:spMkLst>
        </pc:spChg>
        <pc:grpChg chg="add del">
          <ac:chgData name="Karmakar, Sumit" userId="S::skarmakar@elogex.com::5d020034-ff2c-4e7e-8d00-e94708d613b2" providerId="AD" clId="Web-{9404EFB8-B54A-331F-1523-C9A44D625FF8}" dt="2024-02-26T17:34:31.205" v="99"/>
          <ac:grpSpMkLst>
            <pc:docMk/>
            <pc:sldMk cId="3227021263" sldId="2147480052"/>
            <ac:grpSpMk id="11" creationId="{7CDED493-D804-C35E-E9A1-B80C7319BB69}"/>
          </ac:grpSpMkLst>
        </pc:grpChg>
        <pc:grpChg chg="add">
          <ac:chgData name="Karmakar, Sumit" userId="S::skarmakar@elogex.com::5d020034-ff2c-4e7e-8d00-e94708d613b2" providerId="AD" clId="Web-{9404EFB8-B54A-331F-1523-C9A44D625FF8}" dt="2024-02-26T17:36:18.768" v="119"/>
          <ac:grpSpMkLst>
            <pc:docMk/>
            <pc:sldMk cId="3227021263" sldId="2147480052"/>
            <ac:grpSpMk id="15" creationId="{FD92F3D0-AAD4-75F7-52F4-2C716B2287C2}"/>
          </ac:grpSpMkLst>
        </pc:grpChg>
        <pc:picChg chg="del">
          <ac:chgData name="Karmakar, Sumit" userId="S::skarmakar@elogex.com::5d020034-ff2c-4e7e-8d00-e94708d613b2" providerId="AD" clId="Web-{9404EFB8-B54A-331F-1523-C9A44D625FF8}" dt="2024-02-26T17:32:34.235" v="77"/>
          <ac:picMkLst>
            <pc:docMk/>
            <pc:sldMk cId="3227021263" sldId="2147480052"/>
            <ac:picMk id="2" creationId="{076476F4-689A-C9AA-66E6-EC1B80632138}"/>
          </ac:picMkLst>
        </pc:picChg>
      </pc:sldChg>
      <pc:sldChg chg="addSp delSp modSp">
        <pc:chgData name="Karmakar, Sumit" userId="S::skarmakar@elogex.com::5d020034-ff2c-4e7e-8d00-e94708d613b2" providerId="AD" clId="Web-{9404EFB8-B54A-331F-1523-C9A44D625FF8}" dt="2024-02-26T17:36:21.721" v="120"/>
        <pc:sldMkLst>
          <pc:docMk/>
          <pc:sldMk cId="1256363016" sldId="2147480053"/>
        </pc:sldMkLst>
        <pc:spChg chg="mod">
          <ac:chgData name="Karmakar, Sumit" userId="S::skarmakar@elogex.com::5d020034-ff2c-4e7e-8d00-e94708d613b2" providerId="AD" clId="Web-{9404EFB8-B54A-331F-1523-C9A44D625FF8}" dt="2024-02-26T17:27:17.968" v="13" actId="20577"/>
          <ac:spMkLst>
            <pc:docMk/>
            <pc:sldMk cId="1256363016" sldId="2147480053"/>
            <ac:spMk id="2" creationId="{1F3ACA6A-A3FC-4A53-FA25-14B4F15E0A4E}"/>
          </ac:spMkLst>
        </pc:spChg>
        <pc:grpChg chg="add del">
          <ac:chgData name="Karmakar, Sumit" userId="S::skarmakar@elogex.com::5d020034-ff2c-4e7e-8d00-e94708d613b2" providerId="AD" clId="Web-{9404EFB8-B54A-331F-1523-C9A44D625FF8}" dt="2024-02-26T17:34:35.064" v="100"/>
          <ac:grpSpMkLst>
            <pc:docMk/>
            <pc:sldMk cId="1256363016" sldId="2147480053"/>
            <ac:grpSpMk id="8" creationId="{B717C9FD-EE82-199C-DEF3-D4CF02BF4839}"/>
          </ac:grpSpMkLst>
        </pc:grpChg>
        <pc:grpChg chg="add">
          <ac:chgData name="Karmakar, Sumit" userId="S::skarmakar@elogex.com::5d020034-ff2c-4e7e-8d00-e94708d613b2" providerId="AD" clId="Web-{9404EFB8-B54A-331F-1523-C9A44D625FF8}" dt="2024-02-26T17:36:21.721" v="120"/>
          <ac:grpSpMkLst>
            <pc:docMk/>
            <pc:sldMk cId="1256363016" sldId="2147480053"/>
            <ac:grpSpMk id="13" creationId="{C5237A68-EE38-62F5-40CF-A566CF93BAAC}"/>
          </ac:grpSpMkLst>
        </pc:grpChg>
        <pc:picChg chg="del">
          <ac:chgData name="Karmakar, Sumit" userId="S::skarmakar@elogex.com::5d020034-ff2c-4e7e-8d00-e94708d613b2" providerId="AD" clId="Web-{9404EFB8-B54A-331F-1523-C9A44D625FF8}" dt="2024-02-26T17:32:54.501" v="82"/>
          <ac:picMkLst>
            <pc:docMk/>
            <pc:sldMk cId="1256363016" sldId="2147480053"/>
            <ac:picMk id="4" creationId="{2125C89F-ABEF-6D09-629F-204D420E5BDC}"/>
          </ac:picMkLst>
        </pc:picChg>
      </pc:sldChg>
      <pc:sldChg chg="addSp delSp modSp">
        <pc:chgData name="Karmakar, Sumit" userId="S::skarmakar@elogex.com::5d020034-ff2c-4e7e-8d00-e94708d613b2" providerId="AD" clId="Web-{9404EFB8-B54A-331F-1523-C9A44D625FF8}" dt="2024-02-26T17:36:28.721" v="122"/>
        <pc:sldMkLst>
          <pc:docMk/>
          <pc:sldMk cId="4120199038" sldId="2147480054"/>
        </pc:sldMkLst>
        <pc:spChg chg="mod">
          <ac:chgData name="Karmakar, Sumit" userId="S::skarmakar@elogex.com::5d020034-ff2c-4e7e-8d00-e94708d613b2" providerId="AD" clId="Web-{9404EFB8-B54A-331F-1523-C9A44D625FF8}" dt="2024-02-26T17:28:14.280" v="49" actId="20577"/>
          <ac:spMkLst>
            <pc:docMk/>
            <pc:sldMk cId="4120199038" sldId="2147480054"/>
            <ac:spMk id="28" creationId="{B6A815B0-61D4-BF39-24FB-17B394083FB3}"/>
          </ac:spMkLst>
        </pc:spChg>
        <pc:grpChg chg="add del">
          <ac:chgData name="Karmakar, Sumit" userId="S::skarmakar@elogex.com::5d020034-ff2c-4e7e-8d00-e94708d613b2" providerId="AD" clId="Web-{9404EFB8-B54A-331F-1523-C9A44D625FF8}" dt="2024-02-26T17:34:40.330" v="102"/>
          <ac:grpSpMkLst>
            <pc:docMk/>
            <pc:sldMk cId="4120199038" sldId="2147480054"/>
            <ac:grpSpMk id="23" creationId="{4F7A492F-1F83-6EE9-00BA-6A4302E16907}"/>
          </ac:grpSpMkLst>
        </pc:grpChg>
        <pc:grpChg chg="add">
          <ac:chgData name="Karmakar, Sumit" userId="S::skarmakar@elogex.com::5d020034-ff2c-4e7e-8d00-e94708d613b2" providerId="AD" clId="Web-{9404EFB8-B54A-331F-1523-C9A44D625FF8}" dt="2024-02-26T17:36:28.721" v="122"/>
          <ac:grpSpMkLst>
            <pc:docMk/>
            <pc:sldMk cId="4120199038" sldId="2147480054"/>
            <ac:grpSpMk id="30" creationId="{FEEDC6CE-4BC8-6CD8-CC06-970765AFB47E}"/>
          </ac:grpSpMkLst>
        </pc:grpChg>
        <pc:picChg chg="del">
          <ac:chgData name="Karmakar, Sumit" userId="S::skarmakar@elogex.com::5d020034-ff2c-4e7e-8d00-e94708d613b2" providerId="AD" clId="Web-{9404EFB8-B54A-331F-1523-C9A44D625FF8}" dt="2024-02-26T17:32:45.907" v="80"/>
          <ac:picMkLst>
            <pc:docMk/>
            <pc:sldMk cId="4120199038" sldId="2147480054"/>
            <ac:picMk id="29" creationId="{C21F256A-6AA3-77AE-1DB7-4EA951E96ACE}"/>
          </ac:picMkLst>
        </pc:picChg>
      </pc:sldChg>
      <pc:sldChg chg="addSp delSp modSp">
        <pc:chgData name="Karmakar, Sumit" userId="S::skarmakar@elogex.com::5d020034-ff2c-4e7e-8d00-e94708d613b2" providerId="AD" clId="Web-{9404EFB8-B54A-331F-1523-C9A44D625FF8}" dt="2024-02-26T17:36:34.908" v="124"/>
        <pc:sldMkLst>
          <pc:docMk/>
          <pc:sldMk cId="1360639107" sldId="2147480056"/>
        </pc:sldMkLst>
        <pc:spChg chg="mod">
          <ac:chgData name="Karmakar, Sumit" userId="S::skarmakar@elogex.com::5d020034-ff2c-4e7e-8d00-e94708d613b2" providerId="AD" clId="Web-{9404EFB8-B54A-331F-1523-C9A44D625FF8}" dt="2024-02-26T17:28:49.062" v="58" actId="20577"/>
          <ac:spMkLst>
            <pc:docMk/>
            <pc:sldMk cId="1360639107" sldId="2147480056"/>
            <ac:spMk id="21" creationId="{4494828C-8AFC-5F21-F8A7-03594E2C6A89}"/>
          </ac:spMkLst>
        </pc:spChg>
        <pc:grpChg chg="add del">
          <ac:chgData name="Karmakar, Sumit" userId="S::skarmakar@elogex.com::5d020034-ff2c-4e7e-8d00-e94708d613b2" providerId="AD" clId="Web-{9404EFB8-B54A-331F-1523-C9A44D625FF8}" dt="2024-02-26T17:34:46.095" v="104"/>
          <ac:grpSpMkLst>
            <pc:docMk/>
            <pc:sldMk cId="1360639107" sldId="2147480056"/>
            <ac:grpSpMk id="5" creationId="{04F12708-BADD-466D-179A-4F310C60F5E8}"/>
          </ac:grpSpMkLst>
        </pc:grpChg>
        <pc:grpChg chg="add">
          <ac:chgData name="Karmakar, Sumit" userId="S::skarmakar@elogex.com::5d020034-ff2c-4e7e-8d00-e94708d613b2" providerId="AD" clId="Web-{9404EFB8-B54A-331F-1523-C9A44D625FF8}" dt="2024-02-26T17:36:34.908" v="124"/>
          <ac:grpSpMkLst>
            <pc:docMk/>
            <pc:sldMk cId="1360639107" sldId="2147480056"/>
            <ac:grpSpMk id="10" creationId="{D5400C7C-171B-CD0B-EFCA-6D001A228FBA}"/>
          </ac:grpSpMkLst>
        </pc:grpChg>
        <pc:picChg chg="del">
          <ac:chgData name="Karmakar, Sumit" userId="S::skarmakar@elogex.com::5d020034-ff2c-4e7e-8d00-e94708d613b2" providerId="AD" clId="Web-{9404EFB8-B54A-331F-1523-C9A44D625FF8}" dt="2024-02-26T17:32:48.798" v="81"/>
          <ac:picMkLst>
            <pc:docMk/>
            <pc:sldMk cId="1360639107" sldId="2147480056"/>
            <ac:picMk id="39" creationId="{A997C858-00EA-A6AC-BAD8-52785D11C283}"/>
          </ac:picMkLst>
        </pc:picChg>
      </pc:sldChg>
      <pc:sldChg chg="addSp delSp modSp">
        <pc:chgData name="Karmakar, Sumit" userId="S::skarmakar@elogex.com::5d020034-ff2c-4e7e-8d00-e94708d613b2" providerId="AD" clId="Web-{9404EFB8-B54A-331F-1523-C9A44D625FF8}" dt="2024-02-26T17:36:03.377" v="115"/>
        <pc:sldMkLst>
          <pc:docMk/>
          <pc:sldMk cId="3899884770" sldId="2147480057"/>
        </pc:sldMkLst>
        <pc:grpChg chg="add">
          <ac:chgData name="Karmakar, Sumit" userId="S::skarmakar@elogex.com::5d020034-ff2c-4e7e-8d00-e94708d613b2" providerId="AD" clId="Web-{9404EFB8-B54A-331F-1523-C9A44D625FF8}" dt="2024-02-26T17:36:00.111" v="114"/>
          <ac:grpSpMkLst>
            <pc:docMk/>
            <pc:sldMk cId="3899884770" sldId="2147480057"/>
            <ac:grpSpMk id="22" creationId="{75389EA4-6E56-80B2-63D0-E538AAABF0B0}"/>
          </ac:grpSpMkLst>
        </pc:grpChg>
        <pc:grpChg chg="del">
          <ac:chgData name="Karmakar, Sumit" userId="S::skarmakar@elogex.com::5d020034-ff2c-4e7e-8d00-e94708d613b2" providerId="AD" clId="Web-{9404EFB8-B54A-331F-1523-C9A44D625FF8}" dt="2024-02-26T17:29:43.750" v="61"/>
          <ac:grpSpMkLst>
            <pc:docMk/>
            <pc:sldMk cId="3899884770" sldId="2147480057"/>
            <ac:grpSpMk id="23" creationId="{F32102A0-312A-9B06-9D01-E106A2723F76}"/>
          </ac:grpSpMkLst>
        </pc:grpChg>
        <pc:grpChg chg="del mod">
          <ac:chgData name="Karmakar, Sumit" userId="S::skarmakar@elogex.com::5d020034-ff2c-4e7e-8d00-e94708d613b2" providerId="AD" clId="Web-{9404EFB8-B54A-331F-1523-C9A44D625FF8}" dt="2024-02-26T17:36:03.377" v="115"/>
          <ac:grpSpMkLst>
            <pc:docMk/>
            <pc:sldMk cId="3899884770" sldId="2147480057"/>
            <ac:grpSpMk id="26" creationId="{F32102A0-312A-9B06-9D01-E106A2723F76}"/>
          </ac:grpSpMkLst>
        </pc:grpChg>
      </pc:sldChg>
      <pc:sldChg chg="add del">
        <pc:chgData name="Karmakar, Sumit" userId="S::skarmakar@elogex.com::5d020034-ff2c-4e7e-8d00-e94708d613b2" providerId="AD" clId="Web-{9404EFB8-B54A-331F-1523-C9A44D625FF8}" dt="2024-02-26T17:29:02.515" v="60"/>
        <pc:sldMkLst>
          <pc:docMk/>
          <pc:sldMk cId="2476771074" sldId="2147480058"/>
        </pc:sldMkLst>
      </pc:sldChg>
    </pc:docChg>
  </pc:docChgLst>
  <pc:docChgLst>
    <pc:chgData name="Karmakar, Sumit" userId="S::skarmakar@elogex.com::5d020034-ff2c-4e7e-8d00-e94708d613b2" providerId="AD" clId="Web-{6C06A0EF-E225-4B09-F876-BAFBC002EBEE}"/>
    <pc:docChg chg="addSld delSld modSld modSection">
      <pc:chgData name="Karmakar, Sumit" userId="S::skarmakar@elogex.com::5d020034-ff2c-4e7e-8d00-e94708d613b2" providerId="AD" clId="Web-{6C06A0EF-E225-4B09-F876-BAFBC002EBEE}" dt="2024-03-28T13:18:41.298" v="80" actId="20577"/>
      <pc:docMkLst>
        <pc:docMk/>
      </pc:docMkLst>
      <pc:sldChg chg="modSp">
        <pc:chgData name="Karmakar, Sumit" userId="S::skarmakar@elogex.com::5d020034-ff2c-4e7e-8d00-e94708d613b2" providerId="AD" clId="Web-{6C06A0EF-E225-4B09-F876-BAFBC002EBEE}" dt="2024-03-28T13:14:23.383" v="72" actId="20577"/>
        <pc:sldMkLst>
          <pc:docMk/>
          <pc:sldMk cId="3118094164" sldId="2147480101"/>
        </pc:sldMkLst>
        <pc:spChg chg="mod">
          <ac:chgData name="Karmakar, Sumit" userId="S::skarmakar@elogex.com::5d020034-ff2c-4e7e-8d00-e94708d613b2" providerId="AD" clId="Web-{6C06A0EF-E225-4B09-F876-BAFBC002EBEE}" dt="2024-03-28T13:14:23.383" v="72" actId="20577"/>
          <ac:spMkLst>
            <pc:docMk/>
            <pc:sldMk cId="3118094164" sldId="2147480101"/>
            <ac:spMk id="9" creationId="{7FBA4B87-97CE-C427-F2E6-4E29EF3AAD3C}"/>
          </ac:spMkLst>
        </pc:spChg>
      </pc:sldChg>
      <pc:sldChg chg="modSp add">
        <pc:chgData name="Karmakar, Sumit" userId="S::skarmakar@elogex.com::5d020034-ff2c-4e7e-8d00-e94708d613b2" providerId="AD" clId="Web-{6C06A0EF-E225-4B09-F876-BAFBC002EBEE}" dt="2024-03-28T13:16:00.605" v="76" actId="20577"/>
        <pc:sldMkLst>
          <pc:docMk/>
          <pc:sldMk cId="480133652" sldId="2147480109"/>
        </pc:sldMkLst>
        <pc:spChg chg="mod">
          <ac:chgData name="Karmakar, Sumit" userId="S::skarmakar@elogex.com::5d020034-ff2c-4e7e-8d00-e94708d613b2" providerId="AD" clId="Web-{6C06A0EF-E225-4B09-F876-BAFBC002EBEE}" dt="2024-03-28T13:16:00.605" v="76" actId="20577"/>
          <ac:spMkLst>
            <pc:docMk/>
            <pc:sldMk cId="480133652" sldId="2147480109"/>
            <ac:spMk id="4" creationId="{0316E24A-36E5-F9DC-64A3-504BD87305DA}"/>
          </ac:spMkLst>
        </pc:spChg>
      </pc:sldChg>
      <pc:sldChg chg="modSp">
        <pc:chgData name="Karmakar, Sumit" userId="S::skarmakar@elogex.com::5d020034-ff2c-4e7e-8d00-e94708d613b2" providerId="AD" clId="Web-{6C06A0EF-E225-4B09-F876-BAFBC002EBEE}" dt="2024-03-28T13:18:41.298" v="80" actId="20577"/>
        <pc:sldMkLst>
          <pc:docMk/>
          <pc:sldMk cId="2511647518" sldId="2147480110"/>
        </pc:sldMkLst>
        <pc:spChg chg="mod">
          <ac:chgData name="Karmakar, Sumit" userId="S::skarmakar@elogex.com::5d020034-ff2c-4e7e-8d00-e94708d613b2" providerId="AD" clId="Web-{6C06A0EF-E225-4B09-F876-BAFBC002EBEE}" dt="2024-03-28T13:18:41.298" v="80" actId="20577"/>
          <ac:spMkLst>
            <pc:docMk/>
            <pc:sldMk cId="2511647518" sldId="2147480110"/>
            <ac:spMk id="6" creationId="{2BF0ABF6-C04A-85B8-E4A7-8EC337656637}"/>
          </ac:spMkLst>
        </pc:spChg>
      </pc:sldChg>
      <pc:sldChg chg="del">
        <pc:chgData name="Karmakar, Sumit" userId="S::skarmakar@elogex.com::5d020034-ff2c-4e7e-8d00-e94708d613b2" providerId="AD" clId="Web-{6C06A0EF-E225-4B09-F876-BAFBC002EBEE}" dt="2024-03-28T13:11:12.361" v="0"/>
        <pc:sldMkLst>
          <pc:docMk/>
          <pc:sldMk cId="3342602019" sldId="2147480117"/>
        </pc:sldMkLst>
      </pc:sldChg>
      <pc:sldChg chg="del">
        <pc:chgData name="Karmakar, Sumit" userId="S::skarmakar@elogex.com::5d020034-ff2c-4e7e-8d00-e94708d613b2" providerId="AD" clId="Web-{6C06A0EF-E225-4B09-F876-BAFBC002EBEE}" dt="2024-03-28T13:11:13.877" v="2"/>
        <pc:sldMkLst>
          <pc:docMk/>
          <pc:sldMk cId="2273137630" sldId="2147480121"/>
        </pc:sldMkLst>
      </pc:sldChg>
      <pc:sldChg chg="del">
        <pc:chgData name="Karmakar, Sumit" userId="S::skarmakar@elogex.com::5d020034-ff2c-4e7e-8d00-e94708d613b2" providerId="AD" clId="Web-{6C06A0EF-E225-4B09-F876-BAFBC002EBEE}" dt="2024-03-28T13:11:12.971" v="1"/>
        <pc:sldMkLst>
          <pc:docMk/>
          <pc:sldMk cId="1903693486" sldId="2147480122"/>
        </pc:sldMkLst>
      </pc:sldChg>
      <pc:sldChg chg="modSp">
        <pc:chgData name="Karmakar, Sumit" userId="S::skarmakar@elogex.com::5d020034-ff2c-4e7e-8d00-e94708d613b2" providerId="AD" clId="Web-{6C06A0EF-E225-4B09-F876-BAFBC002EBEE}" dt="2024-03-28T13:17:38.608" v="79" actId="20577"/>
        <pc:sldMkLst>
          <pc:docMk/>
          <pc:sldMk cId="1943466375" sldId="2147480132"/>
        </pc:sldMkLst>
        <pc:spChg chg="mod">
          <ac:chgData name="Karmakar, Sumit" userId="S::skarmakar@elogex.com::5d020034-ff2c-4e7e-8d00-e94708d613b2" providerId="AD" clId="Web-{6C06A0EF-E225-4B09-F876-BAFBC002EBEE}" dt="2024-03-28T13:17:38.608" v="79" actId="20577"/>
          <ac:spMkLst>
            <pc:docMk/>
            <pc:sldMk cId="1943466375" sldId="2147480132"/>
            <ac:spMk id="6" creationId="{67198E3D-3C9A-5220-0DC7-94E7ACF46720}"/>
          </ac:spMkLst>
        </pc:spChg>
      </pc:sldChg>
    </pc:docChg>
  </pc:docChgLst>
  <pc:docChgLst>
    <pc:chgData name="Karmakar, Sumit" userId="S::skarmakar@elogex.com::5d020034-ff2c-4e7e-8d00-e94708d613b2" providerId="AD" clId="Web-{7B484889-D21D-52B5-6B71-A0A980F691B3}"/>
    <pc:docChg chg="addSld modSld sldOrd modSection">
      <pc:chgData name="Karmakar, Sumit" userId="S::skarmakar@elogex.com::5d020034-ff2c-4e7e-8d00-e94708d613b2" providerId="AD" clId="Web-{7B484889-D21D-52B5-6B71-A0A980F691B3}" dt="2024-03-28T11:42:45.626" v="396" actId="20577"/>
      <pc:docMkLst>
        <pc:docMk/>
      </pc:docMkLst>
      <pc:sldChg chg="ord">
        <pc:chgData name="Karmakar, Sumit" userId="S::skarmakar@elogex.com::5d020034-ff2c-4e7e-8d00-e94708d613b2" providerId="AD" clId="Web-{7B484889-D21D-52B5-6B71-A0A980F691B3}" dt="2024-03-28T11:11:59.309" v="4"/>
        <pc:sldMkLst>
          <pc:docMk/>
          <pc:sldMk cId="3342602019" sldId="2147480117"/>
        </pc:sldMkLst>
      </pc:sldChg>
      <pc:sldChg chg="ord">
        <pc:chgData name="Karmakar, Sumit" userId="S::skarmakar@elogex.com::5d020034-ff2c-4e7e-8d00-e94708d613b2" providerId="AD" clId="Web-{7B484889-D21D-52B5-6B71-A0A980F691B3}" dt="2024-03-28T11:11:59.309" v="2"/>
        <pc:sldMkLst>
          <pc:docMk/>
          <pc:sldMk cId="2273137630" sldId="2147480121"/>
        </pc:sldMkLst>
      </pc:sldChg>
      <pc:sldChg chg="ord">
        <pc:chgData name="Karmakar, Sumit" userId="S::skarmakar@elogex.com::5d020034-ff2c-4e7e-8d00-e94708d613b2" providerId="AD" clId="Web-{7B484889-D21D-52B5-6B71-A0A980F691B3}" dt="2024-03-28T11:11:59.309" v="3"/>
        <pc:sldMkLst>
          <pc:docMk/>
          <pc:sldMk cId="1903693486" sldId="2147480122"/>
        </pc:sldMkLst>
      </pc:sldChg>
      <pc:sldChg chg="ord">
        <pc:chgData name="Karmakar, Sumit" userId="S::skarmakar@elogex.com::5d020034-ff2c-4e7e-8d00-e94708d613b2" providerId="AD" clId="Web-{7B484889-D21D-52B5-6B71-A0A980F691B3}" dt="2024-03-28T11:33:32.123" v="367"/>
        <pc:sldMkLst>
          <pc:docMk/>
          <pc:sldMk cId="3502658628" sldId="2147480127"/>
        </pc:sldMkLst>
      </pc:sldChg>
      <pc:sldChg chg="ord">
        <pc:chgData name="Karmakar, Sumit" userId="S::skarmakar@elogex.com::5d020034-ff2c-4e7e-8d00-e94708d613b2" providerId="AD" clId="Web-{7B484889-D21D-52B5-6B71-A0A980F691B3}" dt="2024-03-28T11:33:32.123" v="366"/>
        <pc:sldMkLst>
          <pc:docMk/>
          <pc:sldMk cId="971165485" sldId="2147480128"/>
        </pc:sldMkLst>
      </pc:sldChg>
      <pc:sldChg chg="addSp delSp modSp">
        <pc:chgData name="Karmakar, Sumit" userId="S::skarmakar@elogex.com::5d020034-ff2c-4e7e-8d00-e94708d613b2" providerId="AD" clId="Web-{7B484889-D21D-52B5-6B71-A0A980F691B3}" dt="2024-03-28T11:31:59.010" v="363" actId="20577"/>
        <pc:sldMkLst>
          <pc:docMk/>
          <pc:sldMk cId="452994539" sldId="2147480130"/>
        </pc:sldMkLst>
        <pc:spChg chg="mod">
          <ac:chgData name="Karmakar, Sumit" userId="S::skarmakar@elogex.com::5d020034-ff2c-4e7e-8d00-e94708d613b2" providerId="AD" clId="Web-{7B484889-D21D-52B5-6B71-A0A980F691B3}" dt="2024-03-28T11:26:51.687" v="327" actId="1076"/>
          <ac:spMkLst>
            <pc:docMk/>
            <pc:sldMk cId="452994539" sldId="2147480130"/>
            <ac:spMk id="3" creationId="{F3DA6107-33E1-9438-D065-7B23A77E442B}"/>
          </ac:spMkLst>
        </pc:spChg>
        <pc:spChg chg="add mod">
          <ac:chgData name="Karmakar, Sumit" userId="S::skarmakar@elogex.com::5d020034-ff2c-4e7e-8d00-e94708d613b2" providerId="AD" clId="Web-{7B484889-D21D-52B5-6B71-A0A980F691B3}" dt="2024-03-28T11:26:41.593" v="319" actId="1076"/>
          <ac:spMkLst>
            <pc:docMk/>
            <pc:sldMk cId="452994539" sldId="2147480130"/>
            <ac:spMk id="4" creationId="{3FA4D4D7-997F-BE63-6699-1F9A65742FC8}"/>
          </ac:spMkLst>
        </pc:spChg>
        <pc:spChg chg="mod">
          <ac:chgData name="Karmakar, Sumit" userId="S::skarmakar@elogex.com::5d020034-ff2c-4e7e-8d00-e94708d613b2" providerId="AD" clId="Web-{7B484889-D21D-52B5-6B71-A0A980F691B3}" dt="2024-03-28T11:27:19.516" v="343" actId="1076"/>
          <ac:spMkLst>
            <pc:docMk/>
            <pc:sldMk cId="452994539" sldId="2147480130"/>
            <ac:spMk id="5" creationId="{9EC53D68-A263-06FE-93B4-B648803621B0}"/>
          </ac:spMkLst>
        </pc:spChg>
        <pc:spChg chg="add mod">
          <ac:chgData name="Karmakar, Sumit" userId="S::skarmakar@elogex.com::5d020034-ff2c-4e7e-8d00-e94708d613b2" providerId="AD" clId="Web-{7B484889-D21D-52B5-6B71-A0A980F691B3}" dt="2024-03-28T11:29:27.568" v="358" actId="20577"/>
          <ac:spMkLst>
            <pc:docMk/>
            <pc:sldMk cId="452994539" sldId="2147480130"/>
            <ac:spMk id="7" creationId="{2592571E-C527-D800-DE04-1503460587DD}"/>
          </ac:spMkLst>
        </pc:spChg>
        <pc:spChg chg="mod">
          <ac:chgData name="Karmakar, Sumit" userId="S::skarmakar@elogex.com::5d020034-ff2c-4e7e-8d00-e94708d613b2" providerId="AD" clId="Web-{7B484889-D21D-52B5-6B71-A0A980F691B3}" dt="2024-03-28T11:26:51.625" v="324" actId="1076"/>
          <ac:spMkLst>
            <pc:docMk/>
            <pc:sldMk cId="452994539" sldId="2147480130"/>
            <ac:spMk id="9" creationId="{07CE4040-D44C-B20B-3297-1B5F090F8C99}"/>
          </ac:spMkLst>
        </pc:spChg>
        <pc:spChg chg="mod">
          <ac:chgData name="Karmakar, Sumit" userId="S::skarmakar@elogex.com::5d020034-ff2c-4e7e-8d00-e94708d613b2" providerId="AD" clId="Web-{7B484889-D21D-52B5-6B71-A0A980F691B3}" dt="2024-03-28T11:30:26.960" v="359" actId="1076"/>
          <ac:spMkLst>
            <pc:docMk/>
            <pc:sldMk cId="452994539" sldId="2147480130"/>
            <ac:spMk id="11" creationId="{9B8733AF-1ACA-0817-500E-BF850E95ECC4}"/>
          </ac:spMkLst>
        </pc:spChg>
        <pc:spChg chg="mod">
          <ac:chgData name="Karmakar, Sumit" userId="S::skarmakar@elogex.com::5d020034-ff2c-4e7e-8d00-e94708d613b2" providerId="AD" clId="Web-{7B484889-D21D-52B5-6B71-A0A980F691B3}" dt="2024-03-28T11:27:41.798" v="348" actId="1076"/>
          <ac:spMkLst>
            <pc:docMk/>
            <pc:sldMk cId="452994539" sldId="2147480130"/>
            <ac:spMk id="20" creationId="{EF3CC311-68AE-AC78-C191-00D4A319D760}"/>
          </ac:spMkLst>
        </pc:spChg>
        <pc:spChg chg="mod">
          <ac:chgData name="Karmakar, Sumit" userId="S::skarmakar@elogex.com::5d020034-ff2c-4e7e-8d00-e94708d613b2" providerId="AD" clId="Web-{7B484889-D21D-52B5-6B71-A0A980F691B3}" dt="2024-03-28T11:31:59.010" v="363" actId="20577"/>
          <ac:spMkLst>
            <pc:docMk/>
            <pc:sldMk cId="452994539" sldId="2147480130"/>
            <ac:spMk id="23" creationId="{920ABBEB-F283-196D-8086-99FAA1F4F9B3}"/>
          </ac:spMkLst>
        </pc:spChg>
        <pc:spChg chg="mod">
          <ac:chgData name="Karmakar, Sumit" userId="S::skarmakar@elogex.com::5d020034-ff2c-4e7e-8d00-e94708d613b2" providerId="AD" clId="Web-{7B484889-D21D-52B5-6B71-A0A980F691B3}" dt="2024-03-28T11:30:26.976" v="360" actId="1076"/>
          <ac:spMkLst>
            <pc:docMk/>
            <pc:sldMk cId="452994539" sldId="2147480130"/>
            <ac:spMk id="29" creationId="{4E17A846-0BA2-FE67-6117-4A9F9C2AC2DA}"/>
          </ac:spMkLst>
        </pc:spChg>
        <pc:spChg chg="mod">
          <ac:chgData name="Karmakar, Sumit" userId="S::skarmakar@elogex.com::5d020034-ff2c-4e7e-8d00-e94708d613b2" providerId="AD" clId="Web-{7B484889-D21D-52B5-6B71-A0A980F691B3}" dt="2024-03-28T11:27:25.454" v="346" actId="1076"/>
          <ac:spMkLst>
            <pc:docMk/>
            <pc:sldMk cId="452994539" sldId="2147480130"/>
            <ac:spMk id="31" creationId="{2A2E292A-770E-6EEE-F097-5898A1C6FC1E}"/>
          </ac:spMkLst>
        </pc:spChg>
        <pc:spChg chg="mod">
          <ac:chgData name="Karmakar, Sumit" userId="S::skarmakar@elogex.com::5d020034-ff2c-4e7e-8d00-e94708d613b2" providerId="AD" clId="Web-{7B484889-D21D-52B5-6B71-A0A980F691B3}" dt="2024-03-28T11:26:51.703" v="328" actId="1076"/>
          <ac:spMkLst>
            <pc:docMk/>
            <pc:sldMk cId="452994539" sldId="2147480130"/>
            <ac:spMk id="36" creationId="{FF7EFBA6-7FEE-4E7C-4E1B-F79810FEA08C}"/>
          </ac:spMkLst>
        </pc:spChg>
        <pc:spChg chg="mod">
          <ac:chgData name="Karmakar, Sumit" userId="S::skarmakar@elogex.com::5d020034-ff2c-4e7e-8d00-e94708d613b2" providerId="AD" clId="Web-{7B484889-D21D-52B5-6B71-A0A980F691B3}" dt="2024-03-28T11:26:51.719" v="329" actId="1076"/>
          <ac:spMkLst>
            <pc:docMk/>
            <pc:sldMk cId="452994539" sldId="2147480130"/>
            <ac:spMk id="37" creationId="{3A78E755-226B-64CB-C001-C2A7DEA2CD4B}"/>
          </ac:spMkLst>
        </pc:spChg>
        <pc:picChg chg="add del mod">
          <ac:chgData name="Karmakar, Sumit" userId="S::skarmakar@elogex.com::5d020034-ff2c-4e7e-8d00-e94708d613b2" providerId="AD" clId="Web-{7B484889-D21D-52B5-6B71-A0A980F691B3}" dt="2024-03-28T11:16:00.259" v="85"/>
          <ac:picMkLst>
            <pc:docMk/>
            <pc:sldMk cId="452994539" sldId="2147480130"/>
            <ac:picMk id="6" creationId="{3D470884-CFE1-648D-7591-DFE22DA72A6D}"/>
          </ac:picMkLst>
        </pc:picChg>
        <pc:picChg chg="mod">
          <ac:chgData name="Karmakar, Sumit" userId="S::skarmakar@elogex.com::5d020034-ff2c-4e7e-8d00-e94708d613b2" providerId="AD" clId="Web-{7B484889-D21D-52B5-6B71-A0A980F691B3}" dt="2024-03-28T11:27:19.532" v="344" actId="1076"/>
          <ac:picMkLst>
            <pc:docMk/>
            <pc:sldMk cId="452994539" sldId="2147480130"/>
            <ac:picMk id="8" creationId="{1781B0B7-43CD-DBB4-66E6-BB6A6CA4A975}"/>
          </ac:picMkLst>
        </pc:picChg>
        <pc:picChg chg="add mod">
          <ac:chgData name="Karmakar, Sumit" userId="S::skarmakar@elogex.com::5d020034-ff2c-4e7e-8d00-e94708d613b2" providerId="AD" clId="Web-{7B484889-D21D-52B5-6B71-A0A980F691B3}" dt="2024-03-28T11:27:42.048" v="352" actId="1076"/>
          <ac:picMkLst>
            <pc:docMk/>
            <pc:sldMk cId="452994539" sldId="2147480130"/>
            <ac:picMk id="10" creationId="{1FC87D89-CFA0-0025-225E-674118A5AB6A}"/>
          </ac:picMkLst>
        </pc:picChg>
        <pc:picChg chg="add mod">
          <ac:chgData name="Karmakar, Sumit" userId="S::skarmakar@elogex.com::5d020034-ff2c-4e7e-8d00-e94708d613b2" providerId="AD" clId="Web-{7B484889-D21D-52B5-6B71-A0A980F691B3}" dt="2024-03-28T11:27:42.064" v="353" actId="1076"/>
          <ac:picMkLst>
            <pc:docMk/>
            <pc:sldMk cId="452994539" sldId="2147480130"/>
            <ac:picMk id="12" creationId="{0C5E442D-EEC3-7A8D-8DF0-060883341AEF}"/>
          </ac:picMkLst>
        </pc:picChg>
        <pc:picChg chg="mod">
          <ac:chgData name="Karmakar, Sumit" userId="S::skarmakar@elogex.com::5d020034-ff2c-4e7e-8d00-e94708d613b2" providerId="AD" clId="Web-{7B484889-D21D-52B5-6B71-A0A980F691B3}" dt="2024-03-28T11:27:07.282" v="336" actId="1076"/>
          <ac:picMkLst>
            <pc:docMk/>
            <pc:sldMk cId="452994539" sldId="2147480130"/>
            <ac:picMk id="13" creationId="{3C4DD23C-7239-D5D5-AE16-9D77AB671FEF}"/>
          </ac:picMkLst>
        </pc:picChg>
        <pc:picChg chg="mod">
          <ac:chgData name="Karmakar, Sumit" userId="S::skarmakar@elogex.com::5d020034-ff2c-4e7e-8d00-e94708d613b2" providerId="AD" clId="Web-{7B484889-D21D-52B5-6B71-A0A980F691B3}" dt="2024-03-28T11:27:19.501" v="342" actId="1076"/>
          <ac:picMkLst>
            <pc:docMk/>
            <pc:sldMk cId="452994539" sldId="2147480130"/>
            <ac:picMk id="15" creationId="{E69098DF-9CDE-7326-7E61-F70F19AAEC39}"/>
          </ac:picMkLst>
        </pc:picChg>
        <pc:picChg chg="mod">
          <ac:chgData name="Karmakar, Sumit" userId="S::skarmakar@elogex.com::5d020034-ff2c-4e7e-8d00-e94708d613b2" providerId="AD" clId="Web-{7B484889-D21D-52B5-6B71-A0A980F691B3}" dt="2024-03-28T11:30:27.010" v="362" actId="1076"/>
          <ac:picMkLst>
            <pc:docMk/>
            <pc:sldMk cId="452994539" sldId="2147480130"/>
            <ac:picMk id="17" creationId="{B4574D46-489B-0FD9-51E0-9E7C8C591B9A}"/>
          </ac:picMkLst>
        </pc:picChg>
        <pc:picChg chg="mod">
          <ac:chgData name="Karmakar, Sumit" userId="S::skarmakar@elogex.com::5d020034-ff2c-4e7e-8d00-e94708d613b2" providerId="AD" clId="Web-{7B484889-D21D-52B5-6B71-A0A980F691B3}" dt="2024-03-28T11:27:25.438" v="345" actId="1076"/>
          <ac:picMkLst>
            <pc:docMk/>
            <pc:sldMk cId="452994539" sldId="2147480130"/>
            <ac:picMk id="33" creationId="{CCCEEF42-824C-91BC-C8FA-A3CE14B23C9E}"/>
          </ac:picMkLst>
        </pc:picChg>
        <pc:picChg chg="mod">
          <ac:chgData name="Karmakar, Sumit" userId="S::skarmakar@elogex.com::5d020034-ff2c-4e7e-8d00-e94708d613b2" providerId="AD" clId="Web-{7B484889-D21D-52B5-6B71-A0A980F691B3}" dt="2024-03-28T11:27:41.814" v="349" actId="1076"/>
          <ac:picMkLst>
            <pc:docMk/>
            <pc:sldMk cId="452994539" sldId="2147480130"/>
            <ac:picMk id="35" creationId="{28C7CD9C-4A8F-0BB2-A3EA-F5634170334B}"/>
          </ac:picMkLst>
        </pc:picChg>
        <pc:picChg chg="mod">
          <ac:chgData name="Karmakar, Sumit" userId="S::skarmakar@elogex.com::5d020034-ff2c-4e7e-8d00-e94708d613b2" providerId="AD" clId="Web-{7B484889-D21D-52B5-6B71-A0A980F691B3}" dt="2024-03-28T11:27:41.830" v="350" actId="1076"/>
          <ac:picMkLst>
            <pc:docMk/>
            <pc:sldMk cId="452994539" sldId="2147480130"/>
            <ac:picMk id="38" creationId="{F8EE571C-8599-588A-3ABB-73143F46726C}"/>
          </ac:picMkLst>
        </pc:picChg>
        <pc:picChg chg="mod">
          <ac:chgData name="Karmakar, Sumit" userId="S::skarmakar@elogex.com::5d020034-ff2c-4e7e-8d00-e94708d613b2" providerId="AD" clId="Web-{7B484889-D21D-52B5-6B71-A0A980F691B3}" dt="2024-03-28T11:27:25.470" v="347" actId="1076"/>
          <ac:picMkLst>
            <pc:docMk/>
            <pc:sldMk cId="452994539" sldId="2147480130"/>
            <ac:picMk id="39" creationId="{7389973B-012B-A2FD-8E4C-13A282967B8C}"/>
          </ac:picMkLst>
        </pc:picChg>
        <pc:picChg chg="mod">
          <ac:chgData name="Karmakar, Sumit" userId="S::skarmakar@elogex.com::5d020034-ff2c-4e7e-8d00-e94708d613b2" providerId="AD" clId="Web-{7B484889-D21D-52B5-6B71-A0A980F691B3}" dt="2024-03-28T11:27:07.328" v="338" actId="1076"/>
          <ac:picMkLst>
            <pc:docMk/>
            <pc:sldMk cId="452994539" sldId="2147480130"/>
            <ac:picMk id="48" creationId="{C214F85E-9E03-BBF1-C7A1-9B77DDE3A3F9}"/>
          </ac:picMkLst>
        </pc:picChg>
        <pc:picChg chg="mod">
          <ac:chgData name="Karmakar, Sumit" userId="S::skarmakar@elogex.com::5d020034-ff2c-4e7e-8d00-e94708d613b2" providerId="AD" clId="Web-{7B484889-D21D-52B5-6B71-A0A980F691B3}" dt="2024-03-28T11:30:26.992" v="361" actId="1076"/>
          <ac:picMkLst>
            <pc:docMk/>
            <pc:sldMk cId="452994539" sldId="2147480130"/>
            <ac:picMk id="52" creationId="{BA4BA1F2-EA5A-2C6C-6D6C-0BB978DEA1C8}"/>
          </ac:picMkLst>
        </pc:picChg>
      </pc:sldChg>
      <pc:sldChg chg="modSp add ord">
        <pc:chgData name="Karmakar, Sumit" userId="S::skarmakar@elogex.com::5d020034-ff2c-4e7e-8d00-e94708d613b2" providerId="AD" clId="Web-{7B484889-D21D-52B5-6B71-A0A980F691B3}" dt="2024-03-28T11:36:37.145" v="381" actId="20577"/>
        <pc:sldMkLst>
          <pc:docMk/>
          <pc:sldMk cId="1943466375" sldId="2147480132"/>
        </pc:sldMkLst>
        <pc:spChg chg="mod">
          <ac:chgData name="Karmakar, Sumit" userId="S::skarmakar@elogex.com::5d020034-ff2c-4e7e-8d00-e94708d613b2" providerId="AD" clId="Web-{7B484889-D21D-52B5-6B71-A0A980F691B3}" dt="2024-03-28T11:36:00.315" v="379" actId="20577"/>
          <ac:spMkLst>
            <pc:docMk/>
            <pc:sldMk cId="1943466375" sldId="2147480132"/>
            <ac:spMk id="6" creationId="{67198E3D-3C9A-5220-0DC7-94E7ACF46720}"/>
          </ac:spMkLst>
        </pc:spChg>
        <pc:spChg chg="mod">
          <ac:chgData name="Karmakar, Sumit" userId="S::skarmakar@elogex.com::5d020034-ff2c-4e7e-8d00-e94708d613b2" providerId="AD" clId="Web-{7B484889-D21D-52B5-6B71-A0A980F691B3}" dt="2024-03-28T11:36:37.145" v="381" actId="20577"/>
          <ac:spMkLst>
            <pc:docMk/>
            <pc:sldMk cId="1943466375" sldId="2147480132"/>
            <ac:spMk id="7" creationId="{6B6625C7-C764-022A-AE1D-8A27119DEADF}"/>
          </ac:spMkLst>
        </pc:spChg>
      </pc:sldChg>
      <pc:sldChg chg="ord">
        <pc:chgData name="Karmakar, Sumit" userId="S::skarmakar@elogex.com::5d020034-ff2c-4e7e-8d00-e94708d613b2" providerId="AD" clId="Web-{7B484889-D21D-52B5-6B71-A0A980F691B3}" dt="2024-03-28T11:35:18.720" v="369"/>
        <pc:sldMkLst>
          <pc:docMk/>
          <pc:sldMk cId="3725083184" sldId="2147480133"/>
        </pc:sldMkLst>
      </pc:sldChg>
      <pc:sldChg chg="modSp">
        <pc:chgData name="Karmakar, Sumit" userId="S::skarmakar@elogex.com::5d020034-ff2c-4e7e-8d00-e94708d613b2" providerId="AD" clId="Web-{7B484889-D21D-52B5-6B71-A0A980F691B3}" dt="2024-03-28T11:42:45.626" v="396" actId="20577"/>
        <pc:sldMkLst>
          <pc:docMk/>
          <pc:sldMk cId="1287349681" sldId="2147480137"/>
        </pc:sldMkLst>
        <pc:spChg chg="mod">
          <ac:chgData name="Karmakar, Sumit" userId="S::skarmakar@elogex.com::5d020034-ff2c-4e7e-8d00-e94708d613b2" providerId="AD" clId="Web-{7B484889-D21D-52B5-6B71-A0A980F691B3}" dt="2024-03-28T11:42:45.626" v="396" actId="20577"/>
          <ac:spMkLst>
            <pc:docMk/>
            <pc:sldMk cId="1287349681" sldId="2147480137"/>
            <ac:spMk id="6" creationId="{ACA393EB-151A-701E-E8B1-131408E18CDC}"/>
          </ac:spMkLst>
        </pc:spChg>
      </pc:sldChg>
      <pc:sldChg chg="modSp add ord">
        <pc:chgData name="Karmakar, Sumit" userId="S::skarmakar@elogex.com::5d020034-ff2c-4e7e-8d00-e94708d613b2" providerId="AD" clId="Web-{7B484889-D21D-52B5-6B71-A0A980F691B3}" dt="2024-03-28T11:36:44.458" v="383" actId="20577"/>
        <pc:sldMkLst>
          <pc:docMk/>
          <pc:sldMk cId="954045621" sldId="2147480138"/>
        </pc:sldMkLst>
        <pc:spChg chg="mod">
          <ac:chgData name="Karmakar, Sumit" userId="S::skarmakar@elogex.com::5d020034-ff2c-4e7e-8d00-e94708d613b2" providerId="AD" clId="Web-{7B484889-D21D-52B5-6B71-A0A980F691B3}" dt="2024-03-28T11:35:40.752" v="374" actId="20577"/>
          <ac:spMkLst>
            <pc:docMk/>
            <pc:sldMk cId="954045621" sldId="2147480138"/>
            <ac:spMk id="3" creationId="{95EACCFC-1AB4-E705-39CF-082950901B82}"/>
          </ac:spMkLst>
        </pc:spChg>
        <pc:spChg chg="mod">
          <ac:chgData name="Karmakar, Sumit" userId="S::skarmakar@elogex.com::5d020034-ff2c-4e7e-8d00-e94708d613b2" providerId="AD" clId="Web-{7B484889-D21D-52B5-6B71-A0A980F691B3}" dt="2024-03-28T11:36:44.458" v="383" actId="20577"/>
          <ac:spMkLst>
            <pc:docMk/>
            <pc:sldMk cId="954045621" sldId="2147480138"/>
            <ac:spMk id="7" creationId="{6B6625C7-C764-022A-AE1D-8A27119DEADF}"/>
          </ac:spMkLst>
        </pc:spChg>
      </pc:sldChg>
      <pc:sldChg chg="modSp">
        <pc:chgData name="Karmakar, Sumit" userId="S::skarmakar@elogex.com::5d020034-ff2c-4e7e-8d00-e94708d613b2" providerId="AD" clId="Web-{7B484889-D21D-52B5-6B71-A0A980F691B3}" dt="2024-03-28T11:37:31.397" v="384" actId="1076"/>
        <pc:sldMkLst>
          <pc:docMk/>
          <pc:sldMk cId="2272208059" sldId="2147480139"/>
        </pc:sldMkLst>
        <pc:spChg chg="mod">
          <ac:chgData name="Karmakar, Sumit" userId="S::skarmakar@elogex.com::5d020034-ff2c-4e7e-8d00-e94708d613b2" providerId="AD" clId="Web-{7B484889-D21D-52B5-6B71-A0A980F691B3}" dt="2024-03-28T11:37:31.397" v="384" actId="1076"/>
          <ac:spMkLst>
            <pc:docMk/>
            <pc:sldMk cId="2272208059" sldId="2147480139"/>
            <ac:spMk id="37" creationId="{2BC1BB96-5E69-9E49-FFEF-B8486102AFD0}"/>
          </ac:spMkLst>
        </pc:spChg>
      </pc:sldChg>
    </pc:docChg>
  </pc:docChgLst>
  <pc:docChgLst>
    <pc:chgData name="Karmakar, Sumit" userId="S::skarmakar@elogex.com::5d020034-ff2c-4e7e-8d00-e94708d613b2" providerId="AD" clId="Web-{13B32FD7-EAF7-0D6B-0370-1C0EA12D55E2}"/>
    <pc:docChg chg="modSld">
      <pc:chgData name="Karmakar, Sumit" userId="S::skarmakar@elogex.com::5d020034-ff2c-4e7e-8d00-e94708d613b2" providerId="AD" clId="Web-{13B32FD7-EAF7-0D6B-0370-1C0EA12D55E2}" dt="2024-03-26T12:29:56.878" v="106" actId="20577"/>
      <pc:docMkLst>
        <pc:docMk/>
      </pc:docMkLst>
      <pc:sldChg chg="addSp delSp modSp">
        <pc:chgData name="Karmakar, Sumit" userId="S::skarmakar@elogex.com::5d020034-ff2c-4e7e-8d00-e94708d613b2" providerId="AD" clId="Web-{13B32FD7-EAF7-0D6B-0370-1C0EA12D55E2}" dt="2024-03-26T12:29:56.878" v="106" actId="20577"/>
        <pc:sldMkLst>
          <pc:docMk/>
          <pc:sldMk cId="2511647518" sldId="2147480110"/>
        </pc:sldMkLst>
        <pc:spChg chg="add del mod">
          <ac:chgData name="Karmakar, Sumit" userId="S::skarmakar@elogex.com::5d020034-ff2c-4e7e-8d00-e94708d613b2" providerId="AD" clId="Web-{13B32FD7-EAF7-0D6B-0370-1C0EA12D55E2}" dt="2024-03-26T12:26:26.619" v="61"/>
          <ac:spMkLst>
            <pc:docMk/>
            <pc:sldMk cId="2511647518" sldId="2147480110"/>
            <ac:spMk id="4" creationId="{A399B253-8F7B-D16B-1600-3D7AE26C323B}"/>
          </ac:spMkLst>
        </pc:spChg>
        <pc:spChg chg="add del mod">
          <ac:chgData name="Karmakar, Sumit" userId="S::skarmakar@elogex.com::5d020034-ff2c-4e7e-8d00-e94708d613b2" providerId="AD" clId="Web-{13B32FD7-EAF7-0D6B-0370-1C0EA12D55E2}" dt="2024-03-26T12:26:24.369" v="60"/>
          <ac:spMkLst>
            <pc:docMk/>
            <pc:sldMk cId="2511647518" sldId="2147480110"/>
            <ac:spMk id="5" creationId="{1B33687C-5E74-A982-F9C5-A884E44ED179}"/>
          </ac:spMkLst>
        </pc:spChg>
        <pc:spChg chg="add mod">
          <ac:chgData name="Karmakar, Sumit" userId="S::skarmakar@elogex.com::5d020034-ff2c-4e7e-8d00-e94708d613b2" providerId="AD" clId="Web-{13B32FD7-EAF7-0D6B-0370-1C0EA12D55E2}" dt="2024-03-26T12:29:56.878" v="106" actId="20577"/>
          <ac:spMkLst>
            <pc:docMk/>
            <pc:sldMk cId="2511647518" sldId="2147480110"/>
            <ac:spMk id="6" creationId="{2BF0ABF6-C04A-85B8-E4A7-8EC337656637}"/>
          </ac:spMkLst>
        </pc:spChg>
        <pc:spChg chg="del">
          <ac:chgData name="Karmakar, Sumit" userId="S::skarmakar@elogex.com::5d020034-ff2c-4e7e-8d00-e94708d613b2" providerId="AD" clId="Web-{13B32FD7-EAF7-0D6B-0370-1C0EA12D55E2}" dt="2024-03-26T12:22:26.020" v="12"/>
          <ac:spMkLst>
            <pc:docMk/>
            <pc:sldMk cId="2511647518" sldId="2147480110"/>
            <ac:spMk id="7" creationId="{3C738EEC-B9BD-7398-1235-887026C23A4D}"/>
          </ac:spMkLst>
        </pc:spChg>
        <pc:spChg chg="add mod">
          <ac:chgData name="Karmakar, Sumit" userId="S::skarmakar@elogex.com::5d020034-ff2c-4e7e-8d00-e94708d613b2" providerId="AD" clId="Web-{13B32FD7-EAF7-0D6B-0370-1C0EA12D55E2}" dt="2024-03-26T12:28:42.548" v="99" actId="20577"/>
          <ac:spMkLst>
            <pc:docMk/>
            <pc:sldMk cId="2511647518" sldId="2147480110"/>
            <ac:spMk id="8" creationId="{A959E77F-CF64-3333-84F1-2FB02F203F6E}"/>
          </ac:spMkLst>
        </pc:spChg>
        <pc:picChg chg="add del mod modCrop">
          <ac:chgData name="Karmakar, Sumit" userId="S::skarmakar@elogex.com::5d020034-ff2c-4e7e-8d00-e94708d613b2" providerId="AD" clId="Web-{13B32FD7-EAF7-0D6B-0370-1C0EA12D55E2}" dt="2024-03-26T12:24:34.898" v="21"/>
          <ac:picMkLst>
            <pc:docMk/>
            <pc:sldMk cId="2511647518" sldId="2147480110"/>
            <ac:picMk id="2" creationId="{C21EA7DC-0CEE-8BAB-3A3F-E6EEFAA528E3}"/>
          </ac:picMkLst>
        </pc:picChg>
      </pc:sldChg>
      <pc:sldChg chg="delSp modSp">
        <pc:chgData name="Karmakar, Sumit" userId="S::skarmakar@elogex.com::5d020034-ff2c-4e7e-8d00-e94708d613b2" providerId="AD" clId="Web-{13B32FD7-EAF7-0D6B-0370-1C0EA12D55E2}" dt="2024-03-26T12:18:37.641" v="10" actId="1076"/>
        <pc:sldMkLst>
          <pc:docMk/>
          <pc:sldMk cId="124787207" sldId="2147480125"/>
        </pc:sldMkLst>
        <pc:spChg chg="mod">
          <ac:chgData name="Karmakar, Sumit" userId="S::skarmakar@elogex.com::5d020034-ff2c-4e7e-8d00-e94708d613b2" providerId="AD" clId="Web-{13B32FD7-EAF7-0D6B-0370-1C0EA12D55E2}" dt="2024-03-26T12:18:33.093" v="6" actId="1076"/>
          <ac:spMkLst>
            <pc:docMk/>
            <pc:sldMk cId="124787207" sldId="2147480125"/>
            <ac:spMk id="11" creationId="{9B8733AF-1ACA-0817-500E-BF850E95ECC4}"/>
          </ac:spMkLst>
        </pc:spChg>
        <pc:spChg chg="mod">
          <ac:chgData name="Karmakar, Sumit" userId="S::skarmakar@elogex.com::5d020034-ff2c-4e7e-8d00-e94708d613b2" providerId="AD" clId="Web-{13B32FD7-EAF7-0D6B-0370-1C0EA12D55E2}" dt="2024-03-26T12:18:33.109" v="7" actId="1076"/>
          <ac:spMkLst>
            <pc:docMk/>
            <pc:sldMk cId="124787207" sldId="2147480125"/>
            <ac:spMk id="29" creationId="{4E17A846-0BA2-FE67-6117-4A9F9C2AC2DA}"/>
          </ac:spMkLst>
        </pc:spChg>
        <pc:picChg chg="mod">
          <ac:chgData name="Karmakar, Sumit" userId="S::skarmakar@elogex.com::5d020034-ff2c-4e7e-8d00-e94708d613b2" providerId="AD" clId="Web-{13B32FD7-EAF7-0D6B-0370-1C0EA12D55E2}" dt="2024-03-26T12:18:03.796" v="4" actId="1076"/>
          <ac:picMkLst>
            <pc:docMk/>
            <pc:sldMk cId="124787207" sldId="2147480125"/>
            <ac:picMk id="35" creationId="{28C7CD9C-4A8F-0BB2-A3EA-F5634170334B}"/>
          </ac:picMkLst>
        </pc:picChg>
        <pc:picChg chg="mod">
          <ac:chgData name="Karmakar, Sumit" userId="S::skarmakar@elogex.com::5d020034-ff2c-4e7e-8d00-e94708d613b2" providerId="AD" clId="Web-{13B32FD7-EAF7-0D6B-0370-1C0EA12D55E2}" dt="2024-03-26T12:18:09.218" v="5" actId="1076"/>
          <ac:picMkLst>
            <pc:docMk/>
            <pc:sldMk cId="124787207" sldId="2147480125"/>
            <ac:picMk id="38" creationId="{F8EE571C-8599-588A-3ABB-73143F46726C}"/>
          </ac:picMkLst>
        </pc:picChg>
        <pc:picChg chg="del">
          <ac:chgData name="Karmakar, Sumit" userId="S::skarmakar@elogex.com::5d020034-ff2c-4e7e-8d00-e94708d613b2" providerId="AD" clId="Web-{13B32FD7-EAF7-0D6B-0370-1C0EA12D55E2}" dt="2024-03-26T12:17:42.436" v="0"/>
          <ac:picMkLst>
            <pc:docMk/>
            <pc:sldMk cId="124787207" sldId="2147480125"/>
            <ac:picMk id="40" creationId="{2BAFA6A6-E3B9-3D37-893E-20491376F319}"/>
          </ac:picMkLst>
        </pc:picChg>
        <pc:picChg chg="mod">
          <ac:chgData name="Karmakar, Sumit" userId="S::skarmakar@elogex.com::5d020034-ff2c-4e7e-8d00-e94708d613b2" providerId="AD" clId="Web-{13B32FD7-EAF7-0D6B-0370-1C0EA12D55E2}" dt="2024-03-26T12:18:37.641" v="10" actId="1076"/>
          <ac:picMkLst>
            <pc:docMk/>
            <pc:sldMk cId="124787207" sldId="2147480125"/>
            <ac:picMk id="52" creationId="{BA4BA1F2-EA5A-2C6C-6D6C-0BB978DEA1C8}"/>
          </ac:picMkLst>
        </pc:picChg>
        <pc:picChg chg="mod">
          <ac:chgData name="Karmakar, Sumit" userId="S::skarmakar@elogex.com::5d020034-ff2c-4e7e-8d00-e94708d613b2" providerId="AD" clId="Web-{13B32FD7-EAF7-0D6B-0370-1C0EA12D55E2}" dt="2024-03-26T12:18:33.140" v="9" actId="1076"/>
          <ac:picMkLst>
            <pc:docMk/>
            <pc:sldMk cId="124787207" sldId="2147480125"/>
            <ac:picMk id="54" creationId="{5F4AE74D-BB62-4130-F0A2-3FAA4A7D8817}"/>
          </ac:picMkLst>
        </pc:picChg>
      </pc:sldChg>
    </pc:docChg>
  </pc:docChgLst>
  <pc:docChgLst>
    <pc:chgData name="Karmakar, Sumit" userId="S::skarmakar@elogex.com::5d020034-ff2c-4e7e-8d00-e94708d613b2" providerId="AD" clId="Web-{D61E26CA-9721-8D56-B7D9-7BAB776E07AE}"/>
    <pc:docChg chg="addSld delSld modSld sldOrd modSection">
      <pc:chgData name="Karmakar, Sumit" userId="S::skarmakar@elogex.com::5d020034-ff2c-4e7e-8d00-e94708d613b2" providerId="AD" clId="Web-{D61E26CA-9721-8D56-B7D9-7BAB776E07AE}" dt="2024-03-19T18:42:36.544" v="261"/>
      <pc:docMkLst>
        <pc:docMk/>
      </pc:docMkLst>
      <pc:sldChg chg="ord">
        <pc:chgData name="Karmakar, Sumit" userId="S::skarmakar@elogex.com::5d020034-ff2c-4e7e-8d00-e94708d613b2" providerId="AD" clId="Web-{D61E26CA-9721-8D56-B7D9-7BAB776E07AE}" dt="2024-03-19T18:41:59.089" v="257"/>
        <pc:sldMkLst>
          <pc:docMk/>
          <pc:sldMk cId="3961352546" sldId="2671"/>
        </pc:sldMkLst>
      </pc:sldChg>
      <pc:sldChg chg="ord">
        <pc:chgData name="Karmakar, Sumit" userId="S::skarmakar@elogex.com::5d020034-ff2c-4e7e-8d00-e94708d613b2" providerId="AD" clId="Web-{D61E26CA-9721-8D56-B7D9-7BAB776E07AE}" dt="2024-03-19T18:41:59.089" v="258"/>
        <pc:sldMkLst>
          <pc:docMk/>
          <pc:sldMk cId="4239253529" sldId="4781"/>
        </pc:sldMkLst>
      </pc:sldChg>
      <pc:sldChg chg="delSp modSp ord">
        <pc:chgData name="Karmakar, Sumit" userId="S::skarmakar@elogex.com::5d020034-ff2c-4e7e-8d00-e94708d613b2" providerId="AD" clId="Web-{D61E26CA-9721-8D56-B7D9-7BAB776E07AE}" dt="2024-03-19T18:41:59.089" v="259"/>
        <pc:sldMkLst>
          <pc:docMk/>
          <pc:sldMk cId="3043437281" sldId="2147471639"/>
        </pc:sldMkLst>
        <pc:spChg chg="mod">
          <ac:chgData name="Karmakar, Sumit" userId="S::skarmakar@elogex.com::5d020034-ff2c-4e7e-8d00-e94708d613b2" providerId="AD" clId="Web-{D61E26CA-9721-8D56-B7D9-7BAB776E07AE}" dt="2024-03-19T17:12:09.697" v="100" actId="20577"/>
          <ac:spMkLst>
            <pc:docMk/>
            <pc:sldMk cId="3043437281" sldId="2147471639"/>
            <ac:spMk id="4" creationId="{7818288B-FB17-A849-848D-0E4B238F1C8C}"/>
          </ac:spMkLst>
        </pc:spChg>
        <pc:spChg chg="del">
          <ac:chgData name="Karmakar, Sumit" userId="S::skarmakar@elogex.com::5d020034-ff2c-4e7e-8d00-e94708d613b2" providerId="AD" clId="Web-{D61E26CA-9721-8D56-B7D9-7BAB776E07AE}" dt="2024-03-19T17:14:26.922" v="129"/>
          <ac:spMkLst>
            <pc:docMk/>
            <pc:sldMk cId="3043437281" sldId="2147471639"/>
            <ac:spMk id="59" creationId="{4F6120AC-B788-9740-8E51-044012D25D6C}"/>
          </ac:spMkLst>
        </pc:spChg>
        <pc:spChg chg="del">
          <ac:chgData name="Karmakar, Sumit" userId="S::skarmakar@elogex.com::5d020034-ff2c-4e7e-8d00-e94708d613b2" providerId="AD" clId="Web-{D61E26CA-9721-8D56-B7D9-7BAB776E07AE}" dt="2024-03-19T17:12:47.543" v="101"/>
          <ac:spMkLst>
            <pc:docMk/>
            <pc:sldMk cId="3043437281" sldId="2147471639"/>
            <ac:spMk id="64" creationId="{82943D9B-8C60-3A74-24B9-AC31E1AFB7D8}"/>
          </ac:spMkLst>
        </pc:spChg>
      </pc:sldChg>
      <pc:sldChg chg="del">
        <pc:chgData name="Karmakar, Sumit" userId="S::skarmakar@elogex.com::5d020034-ff2c-4e7e-8d00-e94708d613b2" providerId="AD" clId="Web-{D61E26CA-9721-8D56-B7D9-7BAB776E07AE}" dt="2024-03-19T17:15:22.581" v="140"/>
        <pc:sldMkLst>
          <pc:docMk/>
          <pc:sldMk cId="1360639107" sldId="2147480056"/>
        </pc:sldMkLst>
      </pc:sldChg>
      <pc:sldChg chg="ord">
        <pc:chgData name="Karmakar, Sumit" userId="S::skarmakar@elogex.com::5d020034-ff2c-4e7e-8d00-e94708d613b2" providerId="AD" clId="Web-{D61E26CA-9721-8D56-B7D9-7BAB776E07AE}" dt="2024-03-19T18:36:58.173" v="247"/>
        <pc:sldMkLst>
          <pc:docMk/>
          <pc:sldMk cId="1887349041" sldId="2147480082"/>
        </pc:sldMkLst>
      </pc:sldChg>
      <pc:sldChg chg="del">
        <pc:chgData name="Karmakar, Sumit" userId="S::skarmakar@elogex.com::5d020034-ff2c-4e7e-8d00-e94708d613b2" providerId="AD" clId="Web-{D61E26CA-9721-8D56-B7D9-7BAB776E07AE}" dt="2024-03-19T17:13:55.108" v="127"/>
        <pc:sldMkLst>
          <pc:docMk/>
          <pc:sldMk cId="2428350765" sldId="2147480083"/>
        </pc:sldMkLst>
      </pc:sldChg>
      <pc:sldChg chg="ord">
        <pc:chgData name="Karmakar, Sumit" userId="S::skarmakar@elogex.com::5d020034-ff2c-4e7e-8d00-e94708d613b2" providerId="AD" clId="Web-{D61E26CA-9721-8D56-B7D9-7BAB776E07AE}" dt="2024-03-19T18:42:36.544" v="261"/>
        <pc:sldMkLst>
          <pc:docMk/>
          <pc:sldMk cId="3611435049" sldId="2147480097"/>
        </pc:sldMkLst>
      </pc:sldChg>
      <pc:sldChg chg="addSp delSp modSp">
        <pc:chgData name="Karmakar, Sumit" userId="S::skarmakar@elogex.com::5d020034-ff2c-4e7e-8d00-e94708d613b2" providerId="AD" clId="Web-{D61E26CA-9721-8D56-B7D9-7BAB776E07AE}" dt="2024-03-19T17:15:29.410" v="142"/>
        <pc:sldMkLst>
          <pc:docMk/>
          <pc:sldMk cId="2511647518" sldId="2147480110"/>
        </pc:sldMkLst>
        <pc:spChg chg="add mod">
          <ac:chgData name="Karmakar, Sumit" userId="S::skarmakar@elogex.com::5d020034-ff2c-4e7e-8d00-e94708d613b2" providerId="AD" clId="Web-{D61E26CA-9721-8D56-B7D9-7BAB776E07AE}" dt="2024-03-19T17:14:57.721" v="137" actId="20577"/>
          <ac:spMkLst>
            <pc:docMk/>
            <pc:sldMk cId="2511647518" sldId="2147480110"/>
            <ac:spMk id="3" creationId="{245AEFFC-310E-725E-C6BB-54C2096FD0BD}"/>
          </ac:spMkLst>
        </pc:spChg>
        <pc:spChg chg="add del mod">
          <ac:chgData name="Karmakar, Sumit" userId="S::skarmakar@elogex.com::5d020034-ff2c-4e7e-8d00-e94708d613b2" providerId="AD" clId="Web-{D61E26CA-9721-8D56-B7D9-7BAB776E07AE}" dt="2024-03-19T17:15:29.410" v="142"/>
          <ac:spMkLst>
            <pc:docMk/>
            <pc:sldMk cId="2511647518" sldId="2147480110"/>
            <ac:spMk id="5" creationId="{3E35D4EA-AE68-7D11-EE92-F756CE398E93}"/>
          </ac:spMkLst>
        </pc:spChg>
        <pc:spChg chg="add">
          <ac:chgData name="Karmakar, Sumit" userId="S::skarmakar@elogex.com::5d020034-ff2c-4e7e-8d00-e94708d613b2" providerId="AD" clId="Web-{D61E26CA-9721-8D56-B7D9-7BAB776E07AE}" dt="2024-03-19T17:15:12.315" v="139"/>
          <ac:spMkLst>
            <pc:docMk/>
            <pc:sldMk cId="2511647518" sldId="2147480110"/>
            <ac:spMk id="7" creationId="{3C738EEC-B9BD-7398-1235-887026C23A4D}"/>
          </ac:spMkLst>
        </pc:spChg>
        <pc:spChg chg="del">
          <ac:chgData name="Karmakar, Sumit" userId="S::skarmakar@elogex.com::5d020034-ff2c-4e7e-8d00-e94708d613b2" providerId="AD" clId="Web-{D61E26CA-9721-8D56-B7D9-7BAB776E07AE}" dt="2024-03-19T17:15:04.377" v="138"/>
          <ac:spMkLst>
            <pc:docMk/>
            <pc:sldMk cId="2511647518" sldId="2147480110"/>
            <ac:spMk id="9" creationId="{7FBA4B87-97CE-C427-F2E6-4E29EF3AAD3C}"/>
          </ac:spMkLst>
        </pc:spChg>
      </pc:sldChg>
      <pc:sldChg chg="ord">
        <pc:chgData name="Karmakar, Sumit" userId="S::skarmakar@elogex.com::5d020034-ff2c-4e7e-8d00-e94708d613b2" providerId="AD" clId="Web-{D61E26CA-9721-8D56-B7D9-7BAB776E07AE}" dt="2024-03-19T18:36:12.499" v="243"/>
        <pc:sldMkLst>
          <pc:docMk/>
          <pc:sldMk cId="1920257705" sldId="2147480112"/>
        </pc:sldMkLst>
      </pc:sldChg>
      <pc:sldChg chg="ord">
        <pc:chgData name="Karmakar, Sumit" userId="S::skarmakar@elogex.com::5d020034-ff2c-4e7e-8d00-e94708d613b2" providerId="AD" clId="Web-{D61E26CA-9721-8D56-B7D9-7BAB776E07AE}" dt="2024-03-19T18:40:17.523" v="254"/>
        <pc:sldMkLst>
          <pc:docMk/>
          <pc:sldMk cId="1765818760" sldId="2147480113"/>
        </pc:sldMkLst>
      </pc:sldChg>
      <pc:sldChg chg="addSp delSp modSp del">
        <pc:chgData name="Karmakar, Sumit" userId="S::skarmakar@elogex.com::5d020034-ff2c-4e7e-8d00-e94708d613b2" providerId="AD" clId="Web-{D61E26CA-9721-8D56-B7D9-7BAB776E07AE}" dt="2024-03-19T17:19:30.608" v="242"/>
        <pc:sldMkLst>
          <pc:docMk/>
          <pc:sldMk cId="3114691178" sldId="2147480114"/>
        </pc:sldMkLst>
        <pc:spChg chg="mod">
          <ac:chgData name="Karmakar, Sumit" userId="S::skarmakar@elogex.com::5d020034-ff2c-4e7e-8d00-e94708d613b2" providerId="AD" clId="Web-{D61E26CA-9721-8D56-B7D9-7BAB776E07AE}" dt="2024-03-19T17:16:35.475" v="195" actId="20577"/>
          <ac:spMkLst>
            <pc:docMk/>
            <pc:sldMk cId="3114691178" sldId="2147480114"/>
            <ac:spMk id="2" creationId="{5429BBFA-3801-9631-FFE5-70B7418F24FD}"/>
          </ac:spMkLst>
        </pc:spChg>
        <pc:spChg chg="del">
          <ac:chgData name="Karmakar, Sumit" userId="S::skarmakar@elogex.com::5d020034-ff2c-4e7e-8d00-e94708d613b2" providerId="AD" clId="Web-{D61E26CA-9721-8D56-B7D9-7BAB776E07AE}" dt="2024-03-19T17:16:08.193" v="190"/>
          <ac:spMkLst>
            <pc:docMk/>
            <pc:sldMk cId="3114691178" sldId="2147480114"/>
            <ac:spMk id="4" creationId="{7D4BF2ED-AC5B-0D24-516C-84EE34EF0F26}"/>
          </ac:spMkLst>
        </pc:spChg>
        <pc:spChg chg="del">
          <ac:chgData name="Karmakar, Sumit" userId="S::skarmakar@elogex.com::5d020034-ff2c-4e7e-8d00-e94708d613b2" providerId="AD" clId="Web-{D61E26CA-9721-8D56-B7D9-7BAB776E07AE}" dt="2024-03-19T17:16:08.193" v="188"/>
          <ac:spMkLst>
            <pc:docMk/>
            <pc:sldMk cId="3114691178" sldId="2147480114"/>
            <ac:spMk id="8" creationId="{9A8AFD97-6548-3F4A-4D20-68484CE3E0C6}"/>
          </ac:spMkLst>
        </pc:spChg>
        <pc:spChg chg="del">
          <ac:chgData name="Karmakar, Sumit" userId="S::skarmakar@elogex.com::5d020034-ff2c-4e7e-8d00-e94708d613b2" providerId="AD" clId="Web-{D61E26CA-9721-8D56-B7D9-7BAB776E07AE}" dt="2024-03-19T17:16:08.193" v="187"/>
          <ac:spMkLst>
            <pc:docMk/>
            <pc:sldMk cId="3114691178" sldId="2147480114"/>
            <ac:spMk id="9" creationId="{4920E92B-7718-8222-9BFE-94A6716A8881}"/>
          </ac:spMkLst>
        </pc:spChg>
        <pc:spChg chg="del">
          <ac:chgData name="Karmakar, Sumit" userId="S::skarmakar@elogex.com::5d020034-ff2c-4e7e-8d00-e94708d613b2" providerId="AD" clId="Web-{D61E26CA-9721-8D56-B7D9-7BAB776E07AE}" dt="2024-03-19T17:16:08.193" v="186"/>
          <ac:spMkLst>
            <pc:docMk/>
            <pc:sldMk cId="3114691178" sldId="2147480114"/>
            <ac:spMk id="12" creationId="{3C0CEDD4-EBFB-353C-5303-0FB361E05818}"/>
          </ac:spMkLst>
        </pc:spChg>
        <pc:spChg chg="del">
          <ac:chgData name="Karmakar, Sumit" userId="S::skarmakar@elogex.com::5d020034-ff2c-4e7e-8d00-e94708d613b2" providerId="AD" clId="Web-{D61E26CA-9721-8D56-B7D9-7BAB776E07AE}" dt="2024-03-19T17:16:08.193" v="185"/>
          <ac:spMkLst>
            <pc:docMk/>
            <pc:sldMk cId="3114691178" sldId="2147480114"/>
            <ac:spMk id="18" creationId="{91B30D9E-4251-EC41-7D02-76659175E10D}"/>
          </ac:spMkLst>
        </pc:spChg>
        <pc:spChg chg="del">
          <ac:chgData name="Karmakar, Sumit" userId="S::skarmakar@elogex.com::5d020034-ff2c-4e7e-8d00-e94708d613b2" providerId="AD" clId="Web-{D61E26CA-9721-8D56-B7D9-7BAB776E07AE}" dt="2024-03-19T17:16:08.193" v="184"/>
          <ac:spMkLst>
            <pc:docMk/>
            <pc:sldMk cId="3114691178" sldId="2147480114"/>
            <ac:spMk id="19" creationId="{58EE22D9-D66C-2075-3E64-FA6499E1196E}"/>
          </ac:spMkLst>
        </pc:spChg>
        <pc:spChg chg="del">
          <ac:chgData name="Karmakar, Sumit" userId="S::skarmakar@elogex.com::5d020034-ff2c-4e7e-8d00-e94708d613b2" providerId="AD" clId="Web-{D61E26CA-9721-8D56-B7D9-7BAB776E07AE}" dt="2024-03-19T17:16:08.193" v="183"/>
          <ac:spMkLst>
            <pc:docMk/>
            <pc:sldMk cId="3114691178" sldId="2147480114"/>
            <ac:spMk id="20" creationId="{A6CE2B40-6661-D9FD-362E-58C38727DCF2}"/>
          </ac:spMkLst>
        </pc:spChg>
        <pc:spChg chg="del">
          <ac:chgData name="Karmakar, Sumit" userId="S::skarmakar@elogex.com::5d020034-ff2c-4e7e-8d00-e94708d613b2" providerId="AD" clId="Web-{D61E26CA-9721-8D56-B7D9-7BAB776E07AE}" dt="2024-03-19T17:16:08.193" v="182"/>
          <ac:spMkLst>
            <pc:docMk/>
            <pc:sldMk cId="3114691178" sldId="2147480114"/>
            <ac:spMk id="21" creationId="{674277F3-C042-22B9-1C33-4BEEB500FE9D}"/>
          </ac:spMkLst>
        </pc:spChg>
        <pc:spChg chg="del">
          <ac:chgData name="Karmakar, Sumit" userId="S::skarmakar@elogex.com::5d020034-ff2c-4e7e-8d00-e94708d613b2" providerId="AD" clId="Web-{D61E26CA-9721-8D56-B7D9-7BAB776E07AE}" dt="2024-03-19T17:16:08.193" v="181"/>
          <ac:spMkLst>
            <pc:docMk/>
            <pc:sldMk cId="3114691178" sldId="2147480114"/>
            <ac:spMk id="22" creationId="{EE65AA3E-1D2C-06EC-6222-393E1D64B3E0}"/>
          </ac:spMkLst>
        </pc:spChg>
        <pc:spChg chg="del">
          <ac:chgData name="Karmakar, Sumit" userId="S::skarmakar@elogex.com::5d020034-ff2c-4e7e-8d00-e94708d613b2" providerId="AD" clId="Web-{D61E26CA-9721-8D56-B7D9-7BAB776E07AE}" dt="2024-03-19T17:16:08.193" v="180"/>
          <ac:spMkLst>
            <pc:docMk/>
            <pc:sldMk cId="3114691178" sldId="2147480114"/>
            <ac:spMk id="23" creationId="{31CC89F3-EB2C-B655-7F42-FE691354439C}"/>
          </ac:spMkLst>
        </pc:spChg>
        <pc:spChg chg="del">
          <ac:chgData name="Karmakar, Sumit" userId="S::skarmakar@elogex.com::5d020034-ff2c-4e7e-8d00-e94708d613b2" providerId="AD" clId="Web-{D61E26CA-9721-8D56-B7D9-7BAB776E07AE}" dt="2024-03-19T17:16:08.193" v="179"/>
          <ac:spMkLst>
            <pc:docMk/>
            <pc:sldMk cId="3114691178" sldId="2147480114"/>
            <ac:spMk id="24" creationId="{E851DD55-8C84-B0EF-B66C-453A4C2C0326}"/>
          </ac:spMkLst>
        </pc:spChg>
        <pc:spChg chg="del">
          <ac:chgData name="Karmakar, Sumit" userId="S::skarmakar@elogex.com::5d020034-ff2c-4e7e-8d00-e94708d613b2" providerId="AD" clId="Web-{D61E26CA-9721-8D56-B7D9-7BAB776E07AE}" dt="2024-03-19T17:16:08.193" v="174"/>
          <ac:spMkLst>
            <pc:docMk/>
            <pc:sldMk cId="3114691178" sldId="2147480114"/>
            <ac:spMk id="37" creationId="{C5FB6E55-1B8E-6DE2-30C2-9EE8DAED77F3}"/>
          </ac:spMkLst>
        </pc:spChg>
        <pc:spChg chg="del">
          <ac:chgData name="Karmakar, Sumit" userId="S::skarmakar@elogex.com::5d020034-ff2c-4e7e-8d00-e94708d613b2" providerId="AD" clId="Web-{D61E26CA-9721-8D56-B7D9-7BAB776E07AE}" dt="2024-03-19T17:16:08.193" v="173"/>
          <ac:spMkLst>
            <pc:docMk/>
            <pc:sldMk cId="3114691178" sldId="2147480114"/>
            <ac:spMk id="38" creationId="{11D1149B-6BB8-E5C3-36AD-14B387877A62}"/>
          </ac:spMkLst>
        </pc:spChg>
        <pc:spChg chg="del">
          <ac:chgData name="Karmakar, Sumit" userId="S::skarmakar@elogex.com::5d020034-ff2c-4e7e-8d00-e94708d613b2" providerId="AD" clId="Web-{D61E26CA-9721-8D56-B7D9-7BAB776E07AE}" dt="2024-03-19T17:16:08.193" v="170"/>
          <ac:spMkLst>
            <pc:docMk/>
            <pc:sldMk cId="3114691178" sldId="2147480114"/>
            <ac:spMk id="43" creationId="{CEC9A718-A993-FDB7-72C0-2A235CC11330}"/>
          </ac:spMkLst>
        </pc:spChg>
        <pc:spChg chg="del">
          <ac:chgData name="Karmakar, Sumit" userId="S::skarmakar@elogex.com::5d020034-ff2c-4e7e-8d00-e94708d613b2" providerId="AD" clId="Web-{D61E26CA-9721-8D56-B7D9-7BAB776E07AE}" dt="2024-03-19T17:16:08.193" v="169"/>
          <ac:spMkLst>
            <pc:docMk/>
            <pc:sldMk cId="3114691178" sldId="2147480114"/>
            <ac:spMk id="44" creationId="{AC458972-9D28-948A-0351-870DDCBBF36F}"/>
          </ac:spMkLst>
        </pc:spChg>
        <pc:spChg chg="del">
          <ac:chgData name="Karmakar, Sumit" userId="S::skarmakar@elogex.com::5d020034-ff2c-4e7e-8d00-e94708d613b2" providerId="AD" clId="Web-{D61E26CA-9721-8D56-B7D9-7BAB776E07AE}" dt="2024-03-19T17:16:08.193" v="189"/>
          <ac:spMkLst>
            <pc:docMk/>
            <pc:sldMk cId="3114691178" sldId="2147480114"/>
            <ac:spMk id="53" creationId="{21CDA126-CE71-8226-A1C3-4B3F2C86924E}"/>
          </ac:spMkLst>
        </pc:spChg>
        <pc:spChg chg="del">
          <ac:chgData name="Karmakar, Sumit" userId="S::skarmakar@elogex.com::5d020034-ff2c-4e7e-8d00-e94708d613b2" providerId="AD" clId="Web-{D61E26CA-9721-8D56-B7D9-7BAB776E07AE}" dt="2024-03-19T17:16:08.193" v="165"/>
          <ac:spMkLst>
            <pc:docMk/>
            <pc:sldMk cId="3114691178" sldId="2147480114"/>
            <ac:spMk id="61" creationId="{69290EC0-DD63-9CD7-BE84-7E3D85C38158}"/>
          </ac:spMkLst>
        </pc:spChg>
        <pc:spChg chg="del">
          <ac:chgData name="Karmakar, Sumit" userId="S::skarmakar@elogex.com::5d020034-ff2c-4e7e-8d00-e94708d613b2" providerId="AD" clId="Web-{D61E26CA-9721-8D56-B7D9-7BAB776E07AE}" dt="2024-03-19T17:16:08.193" v="164"/>
          <ac:spMkLst>
            <pc:docMk/>
            <pc:sldMk cId="3114691178" sldId="2147480114"/>
            <ac:spMk id="62" creationId="{D0298E2B-0E7B-38AA-DFAA-A6320C4591C2}"/>
          </ac:spMkLst>
        </pc:spChg>
        <pc:spChg chg="del">
          <ac:chgData name="Karmakar, Sumit" userId="S::skarmakar@elogex.com::5d020034-ff2c-4e7e-8d00-e94708d613b2" providerId="AD" clId="Web-{D61E26CA-9721-8D56-B7D9-7BAB776E07AE}" dt="2024-03-19T17:16:08.193" v="163"/>
          <ac:spMkLst>
            <pc:docMk/>
            <pc:sldMk cId="3114691178" sldId="2147480114"/>
            <ac:spMk id="63" creationId="{23D662CA-FC75-AE3B-81F9-620F85D254AD}"/>
          </ac:spMkLst>
        </pc:spChg>
        <pc:spChg chg="del">
          <ac:chgData name="Karmakar, Sumit" userId="S::skarmakar@elogex.com::5d020034-ff2c-4e7e-8d00-e94708d613b2" providerId="AD" clId="Web-{D61E26CA-9721-8D56-B7D9-7BAB776E07AE}" dt="2024-03-19T17:16:08.193" v="159"/>
          <ac:spMkLst>
            <pc:docMk/>
            <pc:sldMk cId="3114691178" sldId="2147480114"/>
            <ac:spMk id="79" creationId="{2EAD56B9-8A7E-BF47-79F2-AB010E670D57}"/>
          </ac:spMkLst>
        </pc:spChg>
        <pc:spChg chg="del">
          <ac:chgData name="Karmakar, Sumit" userId="S::skarmakar@elogex.com::5d020034-ff2c-4e7e-8d00-e94708d613b2" providerId="AD" clId="Web-{D61E26CA-9721-8D56-B7D9-7BAB776E07AE}" dt="2024-03-19T17:16:08.193" v="157"/>
          <ac:spMkLst>
            <pc:docMk/>
            <pc:sldMk cId="3114691178" sldId="2147480114"/>
            <ac:spMk id="87" creationId="{1FB4989B-574E-6579-DCEB-CFAEB695FA67}"/>
          </ac:spMkLst>
        </pc:spChg>
        <pc:spChg chg="del">
          <ac:chgData name="Karmakar, Sumit" userId="S::skarmakar@elogex.com::5d020034-ff2c-4e7e-8d00-e94708d613b2" providerId="AD" clId="Web-{D61E26CA-9721-8D56-B7D9-7BAB776E07AE}" dt="2024-03-19T17:16:08.193" v="156"/>
          <ac:spMkLst>
            <pc:docMk/>
            <pc:sldMk cId="3114691178" sldId="2147480114"/>
            <ac:spMk id="88" creationId="{E512E3A1-739B-2C3B-D1A1-632729E3975A}"/>
          </ac:spMkLst>
        </pc:spChg>
        <pc:spChg chg="del">
          <ac:chgData name="Karmakar, Sumit" userId="S::skarmakar@elogex.com::5d020034-ff2c-4e7e-8d00-e94708d613b2" providerId="AD" clId="Web-{D61E26CA-9721-8D56-B7D9-7BAB776E07AE}" dt="2024-03-19T17:16:08.193" v="153"/>
          <ac:spMkLst>
            <pc:docMk/>
            <pc:sldMk cId="3114691178" sldId="2147480114"/>
            <ac:spMk id="101" creationId="{BB9A562E-288C-E586-8EA9-71A20451A5CA}"/>
          </ac:spMkLst>
        </pc:spChg>
        <pc:spChg chg="del">
          <ac:chgData name="Karmakar, Sumit" userId="S::skarmakar@elogex.com::5d020034-ff2c-4e7e-8d00-e94708d613b2" providerId="AD" clId="Web-{D61E26CA-9721-8D56-B7D9-7BAB776E07AE}" dt="2024-03-19T17:16:08.193" v="152"/>
          <ac:spMkLst>
            <pc:docMk/>
            <pc:sldMk cId="3114691178" sldId="2147480114"/>
            <ac:spMk id="102" creationId="{6CD56641-AAC3-800F-86EB-1C5A6FC80FF4}"/>
          </ac:spMkLst>
        </pc:spChg>
        <pc:spChg chg="del">
          <ac:chgData name="Karmakar, Sumit" userId="S::skarmakar@elogex.com::5d020034-ff2c-4e7e-8d00-e94708d613b2" providerId="AD" clId="Web-{D61E26CA-9721-8D56-B7D9-7BAB776E07AE}" dt="2024-03-19T17:16:08.193" v="151"/>
          <ac:spMkLst>
            <pc:docMk/>
            <pc:sldMk cId="3114691178" sldId="2147480114"/>
            <ac:spMk id="103" creationId="{2736B58A-9EC5-8159-6DCD-C1400851552F}"/>
          </ac:spMkLst>
        </pc:spChg>
        <pc:spChg chg="del">
          <ac:chgData name="Karmakar, Sumit" userId="S::skarmakar@elogex.com::5d020034-ff2c-4e7e-8d00-e94708d613b2" providerId="AD" clId="Web-{D61E26CA-9721-8D56-B7D9-7BAB776E07AE}" dt="2024-03-19T17:16:08.177" v="150"/>
          <ac:spMkLst>
            <pc:docMk/>
            <pc:sldMk cId="3114691178" sldId="2147480114"/>
            <ac:spMk id="107" creationId="{E74B5A5C-6896-645E-557D-4823CBB26C7A}"/>
          </ac:spMkLst>
        </pc:spChg>
        <pc:spChg chg="del">
          <ac:chgData name="Karmakar, Sumit" userId="S::skarmakar@elogex.com::5d020034-ff2c-4e7e-8d00-e94708d613b2" providerId="AD" clId="Web-{D61E26CA-9721-8D56-B7D9-7BAB776E07AE}" dt="2024-03-19T17:16:08.177" v="149"/>
          <ac:spMkLst>
            <pc:docMk/>
            <pc:sldMk cId="3114691178" sldId="2147480114"/>
            <ac:spMk id="108" creationId="{8273D790-5762-4ECC-8068-40E72BEECADE}"/>
          </ac:spMkLst>
        </pc:spChg>
        <pc:spChg chg="del">
          <ac:chgData name="Karmakar, Sumit" userId="S::skarmakar@elogex.com::5d020034-ff2c-4e7e-8d00-e94708d613b2" providerId="AD" clId="Web-{D61E26CA-9721-8D56-B7D9-7BAB776E07AE}" dt="2024-03-19T17:16:08.177" v="148"/>
          <ac:spMkLst>
            <pc:docMk/>
            <pc:sldMk cId="3114691178" sldId="2147480114"/>
            <ac:spMk id="109" creationId="{0371E441-B796-4E41-3FB1-8A2EDFCEFF78}"/>
          </ac:spMkLst>
        </pc:spChg>
        <pc:spChg chg="del">
          <ac:chgData name="Karmakar, Sumit" userId="S::skarmakar@elogex.com::5d020034-ff2c-4e7e-8d00-e94708d613b2" providerId="AD" clId="Web-{D61E26CA-9721-8D56-B7D9-7BAB776E07AE}" dt="2024-03-19T17:16:08.177" v="147"/>
          <ac:spMkLst>
            <pc:docMk/>
            <pc:sldMk cId="3114691178" sldId="2147480114"/>
            <ac:spMk id="110" creationId="{E368AEDF-6EF1-0A5D-939F-C1948E929006}"/>
          </ac:spMkLst>
        </pc:spChg>
        <pc:spChg chg="del">
          <ac:chgData name="Karmakar, Sumit" userId="S::skarmakar@elogex.com::5d020034-ff2c-4e7e-8d00-e94708d613b2" providerId="AD" clId="Web-{D61E26CA-9721-8D56-B7D9-7BAB776E07AE}" dt="2024-03-19T17:16:08.177" v="146"/>
          <ac:spMkLst>
            <pc:docMk/>
            <pc:sldMk cId="3114691178" sldId="2147480114"/>
            <ac:spMk id="111" creationId="{C452A4ED-7FCE-7BEC-F2DC-6BC9C92512EE}"/>
          </ac:spMkLst>
        </pc:spChg>
        <pc:spChg chg="del">
          <ac:chgData name="Karmakar, Sumit" userId="S::skarmakar@elogex.com::5d020034-ff2c-4e7e-8d00-e94708d613b2" providerId="AD" clId="Web-{D61E26CA-9721-8D56-B7D9-7BAB776E07AE}" dt="2024-03-19T17:16:08.177" v="145"/>
          <ac:spMkLst>
            <pc:docMk/>
            <pc:sldMk cId="3114691178" sldId="2147480114"/>
            <ac:spMk id="112" creationId="{2F1298B4-CB41-4B91-7B66-093629709E8C}"/>
          </ac:spMkLst>
        </pc:spChg>
        <pc:spChg chg="del">
          <ac:chgData name="Karmakar, Sumit" userId="S::skarmakar@elogex.com::5d020034-ff2c-4e7e-8d00-e94708d613b2" providerId="AD" clId="Web-{D61E26CA-9721-8D56-B7D9-7BAB776E07AE}" dt="2024-03-19T17:16:08.177" v="144"/>
          <ac:spMkLst>
            <pc:docMk/>
            <pc:sldMk cId="3114691178" sldId="2147480114"/>
            <ac:spMk id="113" creationId="{568625C4-9098-C4EC-7E3F-984445F4C60F}"/>
          </ac:spMkLst>
        </pc:spChg>
        <pc:grpChg chg="add">
          <ac:chgData name="Karmakar, Sumit" userId="S::skarmakar@elogex.com::5d020034-ff2c-4e7e-8d00-e94708d613b2" providerId="AD" clId="Web-{D61E26CA-9721-8D56-B7D9-7BAB776E07AE}" dt="2024-03-19T17:16:50.820" v="197"/>
          <ac:grpSpMkLst>
            <pc:docMk/>
            <pc:sldMk cId="3114691178" sldId="2147480114"/>
            <ac:grpSpMk id="11" creationId="{94D39A26-23E6-6D62-A55D-F92954744D2D}"/>
          </ac:grpSpMkLst>
        </pc:grpChg>
        <pc:grpChg chg="add">
          <ac:chgData name="Karmakar, Sumit" userId="S::skarmakar@elogex.com::5d020034-ff2c-4e7e-8d00-e94708d613b2" providerId="AD" clId="Web-{D61E26CA-9721-8D56-B7D9-7BAB776E07AE}" dt="2024-03-19T17:16:50.851" v="198"/>
          <ac:grpSpMkLst>
            <pc:docMk/>
            <pc:sldMk cId="3114691178" sldId="2147480114"/>
            <ac:grpSpMk id="16" creationId="{388527DB-5741-CDC9-2A0F-2A8A2918520D}"/>
          </ac:grpSpMkLst>
        </pc:grpChg>
        <pc:grpChg chg="add">
          <ac:chgData name="Karmakar, Sumit" userId="S::skarmakar@elogex.com::5d020034-ff2c-4e7e-8d00-e94708d613b2" providerId="AD" clId="Web-{D61E26CA-9721-8D56-B7D9-7BAB776E07AE}" dt="2024-03-19T17:16:50.882" v="199"/>
          <ac:grpSpMkLst>
            <pc:docMk/>
            <pc:sldMk cId="3114691178" sldId="2147480114"/>
            <ac:grpSpMk id="29" creationId="{FA3C9B58-36C4-32E4-E284-42DF78710B8E}"/>
          </ac:grpSpMkLst>
        </pc:grpChg>
        <pc:grpChg chg="add">
          <ac:chgData name="Karmakar, Sumit" userId="S::skarmakar@elogex.com::5d020034-ff2c-4e7e-8d00-e94708d613b2" providerId="AD" clId="Web-{D61E26CA-9721-8D56-B7D9-7BAB776E07AE}" dt="2024-03-19T17:16:50.913" v="200"/>
          <ac:grpSpMkLst>
            <pc:docMk/>
            <pc:sldMk cId="3114691178" sldId="2147480114"/>
            <ac:grpSpMk id="35" creationId="{428052D9-C141-8579-A465-1F033F1D1768}"/>
          </ac:grpSpMkLst>
        </pc:grpChg>
        <pc:grpChg chg="add">
          <ac:chgData name="Karmakar, Sumit" userId="S::skarmakar@elogex.com::5d020034-ff2c-4e7e-8d00-e94708d613b2" providerId="AD" clId="Web-{D61E26CA-9721-8D56-B7D9-7BAB776E07AE}" dt="2024-03-19T17:16:50.945" v="201"/>
          <ac:grpSpMkLst>
            <pc:docMk/>
            <pc:sldMk cId="3114691178" sldId="2147480114"/>
            <ac:grpSpMk id="45" creationId="{C5C281E6-6357-53CC-C51B-A00365E76718}"/>
          </ac:grpSpMkLst>
        </pc:grpChg>
        <pc:grpChg chg="add">
          <ac:chgData name="Karmakar, Sumit" userId="S::skarmakar@elogex.com::5d020034-ff2c-4e7e-8d00-e94708d613b2" providerId="AD" clId="Web-{D61E26CA-9721-8D56-B7D9-7BAB776E07AE}" dt="2024-03-19T17:16:50.976" v="202"/>
          <ac:grpSpMkLst>
            <pc:docMk/>
            <pc:sldMk cId="3114691178" sldId="2147480114"/>
            <ac:grpSpMk id="51" creationId="{BF0235B1-3B21-A92C-A51E-E3812B90F9D4}"/>
          </ac:grpSpMkLst>
        </pc:grpChg>
        <pc:grpChg chg="add">
          <ac:chgData name="Karmakar, Sumit" userId="S::skarmakar@elogex.com::5d020034-ff2c-4e7e-8d00-e94708d613b2" providerId="AD" clId="Web-{D61E26CA-9721-8D56-B7D9-7BAB776E07AE}" dt="2024-03-19T17:16:51.007" v="203"/>
          <ac:grpSpMkLst>
            <pc:docMk/>
            <pc:sldMk cId="3114691178" sldId="2147480114"/>
            <ac:grpSpMk id="57" creationId="{5C65F9A1-03DA-2F6D-6C46-EC6A62374078}"/>
          </ac:grpSpMkLst>
        </pc:grpChg>
        <pc:grpChg chg="add">
          <ac:chgData name="Karmakar, Sumit" userId="S::skarmakar@elogex.com::5d020034-ff2c-4e7e-8d00-e94708d613b2" providerId="AD" clId="Web-{D61E26CA-9721-8D56-B7D9-7BAB776E07AE}" dt="2024-03-19T17:16:51.038" v="204"/>
          <ac:grpSpMkLst>
            <pc:docMk/>
            <pc:sldMk cId="3114691178" sldId="2147480114"/>
            <ac:grpSpMk id="65" creationId="{E3939EF5-9151-545B-C288-0CFE08762EE9}"/>
          </ac:grpSpMkLst>
        </pc:grpChg>
        <pc:grpChg chg="add">
          <ac:chgData name="Karmakar, Sumit" userId="S::skarmakar@elogex.com::5d020034-ff2c-4e7e-8d00-e94708d613b2" providerId="AD" clId="Web-{D61E26CA-9721-8D56-B7D9-7BAB776E07AE}" dt="2024-03-19T17:16:51.070" v="205"/>
          <ac:grpSpMkLst>
            <pc:docMk/>
            <pc:sldMk cId="3114691178" sldId="2147480114"/>
            <ac:grpSpMk id="70" creationId="{9D10C20D-FF3C-40AA-D8F5-764FCD8AB0B6}"/>
          </ac:grpSpMkLst>
        </pc:grpChg>
        <pc:grpChg chg="add">
          <ac:chgData name="Karmakar, Sumit" userId="S::skarmakar@elogex.com::5d020034-ff2c-4e7e-8d00-e94708d613b2" providerId="AD" clId="Web-{D61E26CA-9721-8D56-B7D9-7BAB776E07AE}" dt="2024-03-19T17:16:51.101" v="206"/>
          <ac:grpSpMkLst>
            <pc:docMk/>
            <pc:sldMk cId="3114691178" sldId="2147480114"/>
            <ac:grpSpMk id="75" creationId="{88D14A51-845C-1BDF-22BC-60CAB9A4C374}"/>
          </ac:grpSpMkLst>
        </pc:grpChg>
        <pc:grpChg chg="add">
          <ac:chgData name="Karmakar, Sumit" userId="S::skarmakar@elogex.com::5d020034-ff2c-4e7e-8d00-e94708d613b2" providerId="AD" clId="Web-{D61E26CA-9721-8D56-B7D9-7BAB776E07AE}" dt="2024-03-19T17:16:51.116" v="207"/>
          <ac:grpSpMkLst>
            <pc:docMk/>
            <pc:sldMk cId="3114691178" sldId="2147480114"/>
            <ac:grpSpMk id="81" creationId="{7AF8269B-5E0D-6E34-50E9-9565239B9F47}"/>
          </ac:grpSpMkLst>
        </pc:grpChg>
        <pc:grpChg chg="add">
          <ac:chgData name="Karmakar, Sumit" userId="S::skarmakar@elogex.com::5d020034-ff2c-4e7e-8d00-e94708d613b2" providerId="AD" clId="Web-{D61E26CA-9721-8D56-B7D9-7BAB776E07AE}" dt="2024-03-19T17:16:51.148" v="208"/>
          <ac:grpSpMkLst>
            <pc:docMk/>
            <pc:sldMk cId="3114691178" sldId="2147480114"/>
            <ac:grpSpMk id="85" creationId="{674E00F8-5419-9316-D856-C1CCB5D65C55}"/>
          </ac:grpSpMkLst>
        </pc:grpChg>
        <pc:grpChg chg="add">
          <ac:chgData name="Karmakar, Sumit" userId="S::skarmakar@elogex.com::5d020034-ff2c-4e7e-8d00-e94708d613b2" providerId="AD" clId="Web-{D61E26CA-9721-8D56-B7D9-7BAB776E07AE}" dt="2024-03-19T17:16:51.179" v="209"/>
          <ac:grpSpMkLst>
            <pc:docMk/>
            <pc:sldMk cId="3114691178" sldId="2147480114"/>
            <ac:grpSpMk id="93" creationId="{FF96FE7D-7A0D-3043-33D9-86A145E785C4}"/>
          </ac:grpSpMkLst>
        </pc:grpChg>
        <pc:grpChg chg="add">
          <ac:chgData name="Karmakar, Sumit" userId="S::skarmakar@elogex.com::5d020034-ff2c-4e7e-8d00-e94708d613b2" providerId="AD" clId="Web-{D61E26CA-9721-8D56-B7D9-7BAB776E07AE}" dt="2024-03-19T17:16:51.210" v="210"/>
          <ac:grpSpMkLst>
            <pc:docMk/>
            <pc:sldMk cId="3114691178" sldId="2147480114"/>
            <ac:grpSpMk id="97" creationId="{86421FCE-4D3D-7E2C-93D9-2C90B39300B3}"/>
          </ac:grpSpMkLst>
        </pc:grpChg>
        <pc:grpChg chg="add">
          <ac:chgData name="Karmakar, Sumit" userId="S::skarmakar@elogex.com::5d020034-ff2c-4e7e-8d00-e94708d613b2" providerId="AD" clId="Web-{D61E26CA-9721-8D56-B7D9-7BAB776E07AE}" dt="2024-03-19T17:16:51.241" v="211"/>
          <ac:grpSpMkLst>
            <pc:docMk/>
            <pc:sldMk cId="3114691178" sldId="2147480114"/>
            <ac:grpSpMk id="104" creationId="{728285D3-76B9-863D-BD3A-93AF2B1171F1}"/>
          </ac:grpSpMkLst>
        </pc:grpChg>
        <pc:grpChg chg="add">
          <ac:chgData name="Karmakar, Sumit" userId="S::skarmakar@elogex.com::5d020034-ff2c-4e7e-8d00-e94708d613b2" providerId="AD" clId="Web-{D61E26CA-9721-8D56-B7D9-7BAB776E07AE}" dt="2024-03-19T17:16:51.257" v="212"/>
          <ac:grpSpMkLst>
            <pc:docMk/>
            <pc:sldMk cId="3114691178" sldId="2147480114"/>
            <ac:grpSpMk id="115" creationId="{8030C895-805F-7671-A8BD-EA8D292FB4C8}"/>
          </ac:grpSpMkLst>
        </pc:grpChg>
        <pc:grpChg chg="add">
          <ac:chgData name="Karmakar, Sumit" userId="S::skarmakar@elogex.com::5d020034-ff2c-4e7e-8d00-e94708d613b2" providerId="AD" clId="Web-{D61E26CA-9721-8D56-B7D9-7BAB776E07AE}" dt="2024-03-19T17:16:51.288" v="213"/>
          <ac:grpSpMkLst>
            <pc:docMk/>
            <pc:sldMk cId="3114691178" sldId="2147480114"/>
            <ac:grpSpMk id="119" creationId="{801FBC23-5E9B-EBA6-D8C5-05B0C2207873}"/>
          </ac:grpSpMkLst>
        </pc:grpChg>
        <pc:grpChg chg="add">
          <ac:chgData name="Karmakar, Sumit" userId="S::skarmakar@elogex.com::5d020034-ff2c-4e7e-8d00-e94708d613b2" providerId="AD" clId="Web-{D61E26CA-9721-8D56-B7D9-7BAB776E07AE}" dt="2024-03-19T17:16:51.320" v="214"/>
          <ac:grpSpMkLst>
            <pc:docMk/>
            <pc:sldMk cId="3114691178" sldId="2147480114"/>
            <ac:grpSpMk id="123" creationId="{27B47E3C-61C0-99AF-5BEE-2A12E21D8313}"/>
          </ac:grpSpMkLst>
        </pc:grpChg>
        <pc:grpChg chg="add">
          <ac:chgData name="Karmakar, Sumit" userId="S::skarmakar@elogex.com::5d020034-ff2c-4e7e-8d00-e94708d613b2" providerId="AD" clId="Web-{D61E26CA-9721-8D56-B7D9-7BAB776E07AE}" dt="2024-03-19T17:16:51.351" v="215"/>
          <ac:grpSpMkLst>
            <pc:docMk/>
            <pc:sldMk cId="3114691178" sldId="2147480114"/>
            <ac:grpSpMk id="127" creationId="{73EAD0F9-9742-7C40-6E16-0BCE86A6B459}"/>
          </ac:grpSpMkLst>
        </pc:grpChg>
        <pc:grpChg chg="add">
          <ac:chgData name="Karmakar, Sumit" userId="S::skarmakar@elogex.com::5d020034-ff2c-4e7e-8d00-e94708d613b2" providerId="AD" clId="Web-{D61E26CA-9721-8D56-B7D9-7BAB776E07AE}" dt="2024-03-19T17:16:51.382" v="216"/>
          <ac:grpSpMkLst>
            <pc:docMk/>
            <pc:sldMk cId="3114691178" sldId="2147480114"/>
            <ac:grpSpMk id="131" creationId="{BA3BDE9E-8454-871D-64F5-4F9608E25A74}"/>
          </ac:grpSpMkLst>
        </pc:grpChg>
        <pc:graphicFrameChg chg="add mod modGraphic">
          <ac:chgData name="Karmakar, Sumit" userId="S::skarmakar@elogex.com::5d020034-ff2c-4e7e-8d00-e94708d613b2" providerId="AD" clId="Web-{D61E26CA-9721-8D56-B7D9-7BAB776E07AE}" dt="2024-03-19T17:19:23.030" v="241"/>
          <ac:graphicFrameMkLst>
            <pc:docMk/>
            <pc:sldMk cId="3114691178" sldId="2147480114"/>
            <ac:graphicFrameMk id="5" creationId="{DD127A59-4ACA-8D1F-6F37-AC0DC7CEFA6A}"/>
          </ac:graphicFrameMkLst>
        </pc:graphicFrameChg>
        <pc:cxnChg chg="del mod">
          <ac:chgData name="Karmakar, Sumit" userId="S::skarmakar@elogex.com::5d020034-ff2c-4e7e-8d00-e94708d613b2" providerId="AD" clId="Web-{D61E26CA-9721-8D56-B7D9-7BAB776E07AE}" dt="2024-03-19T17:16:08.193" v="178"/>
          <ac:cxnSpMkLst>
            <pc:docMk/>
            <pc:sldMk cId="3114691178" sldId="2147480114"/>
            <ac:cxnSpMk id="26" creationId="{E5D15895-2EB3-A137-3BCA-EF18D07BDD9D}"/>
          </ac:cxnSpMkLst>
        </pc:cxnChg>
        <pc:cxnChg chg="del mod">
          <ac:chgData name="Karmakar, Sumit" userId="S::skarmakar@elogex.com::5d020034-ff2c-4e7e-8d00-e94708d613b2" providerId="AD" clId="Web-{D61E26CA-9721-8D56-B7D9-7BAB776E07AE}" dt="2024-03-19T17:16:08.193" v="177"/>
          <ac:cxnSpMkLst>
            <pc:docMk/>
            <pc:sldMk cId="3114691178" sldId="2147480114"/>
            <ac:cxnSpMk id="27" creationId="{0BA0F07B-2033-D99C-8546-D403CA00FE1C}"/>
          </ac:cxnSpMkLst>
        </pc:cxnChg>
        <pc:cxnChg chg="del">
          <ac:chgData name="Karmakar, Sumit" userId="S::skarmakar@elogex.com::5d020034-ff2c-4e7e-8d00-e94708d613b2" providerId="AD" clId="Web-{D61E26CA-9721-8D56-B7D9-7BAB776E07AE}" dt="2024-03-19T17:16:08.193" v="176"/>
          <ac:cxnSpMkLst>
            <pc:docMk/>
            <pc:sldMk cId="3114691178" sldId="2147480114"/>
            <ac:cxnSpMk id="30" creationId="{30E0BCF3-E935-B96A-404E-CDE487B4350E}"/>
          </ac:cxnSpMkLst>
        </pc:cxnChg>
        <pc:cxnChg chg="del mod">
          <ac:chgData name="Karmakar, Sumit" userId="S::skarmakar@elogex.com::5d020034-ff2c-4e7e-8d00-e94708d613b2" providerId="AD" clId="Web-{D61E26CA-9721-8D56-B7D9-7BAB776E07AE}" dt="2024-03-19T17:16:08.193" v="175"/>
          <ac:cxnSpMkLst>
            <pc:docMk/>
            <pc:sldMk cId="3114691178" sldId="2147480114"/>
            <ac:cxnSpMk id="34" creationId="{C0036012-5DDB-CDC4-C88D-51F48935827F}"/>
          </ac:cxnSpMkLst>
        </pc:cxnChg>
        <pc:cxnChg chg="del mod">
          <ac:chgData name="Karmakar, Sumit" userId="S::skarmakar@elogex.com::5d020034-ff2c-4e7e-8d00-e94708d613b2" providerId="AD" clId="Web-{D61E26CA-9721-8D56-B7D9-7BAB776E07AE}" dt="2024-03-19T17:16:08.193" v="172"/>
          <ac:cxnSpMkLst>
            <pc:docMk/>
            <pc:sldMk cId="3114691178" sldId="2147480114"/>
            <ac:cxnSpMk id="39" creationId="{6A4AFD20-F302-BB91-3EC4-7A628A938F0C}"/>
          </ac:cxnSpMkLst>
        </pc:cxnChg>
        <pc:cxnChg chg="del mod">
          <ac:chgData name="Karmakar, Sumit" userId="S::skarmakar@elogex.com::5d020034-ff2c-4e7e-8d00-e94708d613b2" providerId="AD" clId="Web-{D61E26CA-9721-8D56-B7D9-7BAB776E07AE}" dt="2024-03-19T17:16:08.193" v="171"/>
          <ac:cxnSpMkLst>
            <pc:docMk/>
            <pc:sldMk cId="3114691178" sldId="2147480114"/>
            <ac:cxnSpMk id="42" creationId="{38EF021E-5BF3-06FF-8386-901D5D663D75}"/>
          </ac:cxnSpMkLst>
        </pc:cxnChg>
        <pc:cxnChg chg="del mod">
          <ac:chgData name="Karmakar, Sumit" userId="S::skarmakar@elogex.com::5d020034-ff2c-4e7e-8d00-e94708d613b2" providerId="AD" clId="Web-{D61E26CA-9721-8D56-B7D9-7BAB776E07AE}" dt="2024-03-19T17:16:08.193" v="168"/>
          <ac:cxnSpMkLst>
            <pc:docMk/>
            <pc:sldMk cId="3114691178" sldId="2147480114"/>
            <ac:cxnSpMk id="47" creationId="{5B9437E2-8384-4D33-6517-44872F062E9A}"/>
          </ac:cxnSpMkLst>
        </pc:cxnChg>
        <pc:cxnChg chg="del mod">
          <ac:chgData name="Karmakar, Sumit" userId="S::skarmakar@elogex.com::5d020034-ff2c-4e7e-8d00-e94708d613b2" providerId="AD" clId="Web-{D61E26CA-9721-8D56-B7D9-7BAB776E07AE}" dt="2024-03-19T17:16:08.193" v="167"/>
          <ac:cxnSpMkLst>
            <pc:docMk/>
            <pc:sldMk cId="3114691178" sldId="2147480114"/>
            <ac:cxnSpMk id="50" creationId="{3A5DFC1D-5241-2A5B-2763-07330303F70D}"/>
          </ac:cxnSpMkLst>
        </pc:cxnChg>
        <pc:cxnChg chg="del">
          <ac:chgData name="Karmakar, Sumit" userId="S::skarmakar@elogex.com::5d020034-ff2c-4e7e-8d00-e94708d613b2" providerId="AD" clId="Web-{D61E26CA-9721-8D56-B7D9-7BAB776E07AE}" dt="2024-03-19T17:16:08.193" v="166"/>
          <ac:cxnSpMkLst>
            <pc:docMk/>
            <pc:sldMk cId="3114691178" sldId="2147480114"/>
            <ac:cxnSpMk id="54" creationId="{C715A097-43BA-78C7-EB85-D60AE8341F32}"/>
          </ac:cxnSpMkLst>
        </pc:cxnChg>
        <pc:cxnChg chg="del mod">
          <ac:chgData name="Karmakar, Sumit" userId="S::skarmakar@elogex.com::5d020034-ff2c-4e7e-8d00-e94708d613b2" providerId="AD" clId="Web-{D61E26CA-9721-8D56-B7D9-7BAB776E07AE}" dt="2024-03-19T17:16:08.193" v="162"/>
          <ac:cxnSpMkLst>
            <pc:docMk/>
            <pc:sldMk cId="3114691178" sldId="2147480114"/>
            <ac:cxnSpMk id="64" creationId="{FB414208-2974-6A2C-EA4A-E3342514DF74}"/>
          </ac:cxnSpMkLst>
        </pc:cxnChg>
        <pc:cxnChg chg="del mod">
          <ac:chgData name="Karmakar, Sumit" userId="S::skarmakar@elogex.com::5d020034-ff2c-4e7e-8d00-e94708d613b2" providerId="AD" clId="Web-{D61E26CA-9721-8D56-B7D9-7BAB776E07AE}" dt="2024-03-19T17:16:08.193" v="161"/>
          <ac:cxnSpMkLst>
            <pc:docMk/>
            <pc:sldMk cId="3114691178" sldId="2147480114"/>
            <ac:cxnSpMk id="67" creationId="{F1C3D8F2-7512-CCFB-3C2C-64562F861106}"/>
          </ac:cxnSpMkLst>
        </pc:cxnChg>
        <pc:cxnChg chg="del mod">
          <ac:chgData name="Karmakar, Sumit" userId="S::skarmakar@elogex.com::5d020034-ff2c-4e7e-8d00-e94708d613b2" providerId="AD" clId="Web-{D61E26CA-9721-8D56-B7D9-7BAB776E07AE}" dt="2024-03-19T17:16:08.193" v="160"/>
          <ac:cxnSpMkLst>
            <pc:docMk/>
            <pc:sldMk cId="3114691178" sldId="2147480114"/>
            <ac:cxnSpMk id="73" creationId="{EAFD2E44-CD48-6AD2-93DF-DA8B91E8913C}"/>
          </ac:cxnSpMkLst>
        </pc:cxnChg>
        <pc:cxnChg chg="del mod">
          <ac:chgData name="Karmakar, Sumit" userId="S::skarmakar@elogex.com::5d020034-ff2c-4e7e-8d00-e94708d613b2" providerId="AD" clId="Web-{D61E26CA-9721-8D56-B7D9-7BAB776E07AE}" dt="2024-03-19T17:16:08.193" v="158"/>
          <ac:cxnSpMkLst>
            <pc:docMk/>
            <pc:sldMk cId="3114691178" sldId="2147480114"/>
            <ac:cxnSpMk id="80" creationId="{D4556A28-0806-BC88-34CA-00144D2586E1}"/>
          </ac:cxnSpMkLst>
        </pc:cxnChg>
        <pc:cxnChg chg="del mod">
          <ac:chgData name="Karmakar, Sumit" userId="S::skarmakar@elogex.com::5d020034-ff2c-4e7e-8d00-e94708d613b2" providerId="AD" clId="Web-{D61E26CA-9721-8D56-B7D9-7BAB776E07AE}" dt="2024-03-19T17:16:08.193" v="155"/>
          <ac:cxnSpMkLst>
            <pc:docMk/>
            <pc:sldMk cId="3114691178" sldId="2147480114"/>
            <ac:cxnSpMk id="89" creationId="{7EF07E63-BDB2-02E4-F0B2-4241E4634C01}"/>
          </ac:cxnSpMkLst>
        </pc:cxnChg>
        <pc:cxnChg chg="del mod">
          <ac:chgData name="Karmakar, Sumit" userId="S::skarmakar@elogex.com::5d020034-ff2c-4e7e-8d00-e94708d613b2" providerId="AD" clId="Web-{D61E26CA-9721-8D56-B7D9-7BAB776E07AE}" dt="2024-03-19T17:16:08.193" v="154"/>
          <ac:cxnSpMkLst>
            <pc:docMk/>
            <pc:sldMk cId="3114691178" sldId="2147480114"/>
            <ac:cxnSpMk id="92" creationId="{707960CB-CA74-A428-BFAF-C2F279389F5D}"/>
          </ac:cxnSpMkLst>
        </pc:cxnChg>
      </pc:sldChg>
      <pc:sldChg chg="ord">
        <pc:chgData name="Karmakar, Sumit" userId="S::skarmakar@elogex.com::5d020034-ff2c-4e7e-8d00-e94708d613b2" providerId="AD" clId="Web-{D61E26CA-9721-8D56-B7D9-7BAB776E07AE}" dt="2024-03-19T18:36:58.173" v="246"/>
        <pc:sldMkLst>
          <pc:docMk/>
          <pc:sldMk cId="3236129220" sldId="2147480115"/>
        </pc:sldMkLst>
      </pc:sldChg>
      <pc:sldChg chg="addSp delSp modSp add del replId">
        <pc:chgData name="Karmakar, Sumit" userId="S::skarmakar@elogex.com::5d020034-ff2c-4e7e-8d00-e94708d613b2" providerId="AD" clId="Web-{D61E26CA-9721-8D56-B7D9-7BAB776E07AE}" dt="2024-03-19T17:13:35.748" v="126"/>
        <pc:sldMkLst>
          <pc:docMk/>
          <pc:sldMk cId="458473134" sldId="2147480116"/>
        </pc:sldMkLst>
        <pc:spChg chg="mod">
          <ac:chgData name="Karmakar, Sumit" userId="S::skarmakar@elogex.com::5d020034-ff2c-4e7e-8d00-e94708d613b2" providerId="AD" clId="Web-{D61E26CA-9721-8D56-B7D9-7BAB776E07AE}" dt="2024-03-19T17:09:04.689" v="12" actId="14100"/>
          <ac:spMkLst>
            <pc:docMk/>
            <pc:sldMk cId="458473134" sldId="2147480116"/>
            <ac:spMk id="2" creationId="{0329E297-E798-08B1-A1CC-65371311D18E}"/>
          </ac:spMkLst>
        </pc:spChg>
        <pc:spChg chg="del">
          <ac:chgData name="Karmakar, Sumit" userId="S::skarmakar@elogex.com::5d020034-ff2c-4e7e-8d00-e94708d613b2" providerId="AD" clId="Web-{D61E26CA-9721-8D56-B7D9-7BAB776E07AE}" dt="2024-03-19T17:07:41.326" v="1"/>
          <ac:spMkLst>
            <pc:docMk/>
            <pc:sldMk cId="458473134" sldId="2147480116"/>
            <ac:spMk id="4" creationId="{0316E24A-36E5-F9DC-64A3-504BD87305DA}"/>
          </ac:spMkLst>
        </pc:spChg>
        <pc:spChg chg="add mod">
          <ac:chgData name="Karmakar, Sumit" userId="S::skarmakar@elogex.com::5d020034-ff2c-4e7e-8d00-e94708d613b2" providerId="AD" clId="Web-{D61E26CA-9721-8D56-B7D9-7BAB776E07AE}" dt="2024-03-19T17:09:29.753" v="32" actId="1076"/>
          <ac:spMkLst>
            <pc:docMk/>
            <pc:sldMk cId="458473134" sldId="2147480116"/>
            <ac:spMk id="15" creationId="{D37098AA-72A0-7C9F-18DD-91BF528A5644}"/>
          </ac:spMkLst>
        </pc:spChg>
        <pc:spChg chg="add mod">
          <ac:chgData name="Karmakar, Sumit" userId="S::skarmakar@elogex.com::5d020034-ff2c-4e7e-8d00-e94708d613b2" providerId="AD" clId="Web-{D61E26CA-9721-8D56-B7D9-7BAB776E07AE}" dt="2024-03-19T17:09:29.815" v="35" actId="1076"/>
          <ac:spMkLst>
            <pc:docMk/>
            <pc:sldMk cId="458473134" sldId="2147480116"/>
            <ac:spMk id="35" creationId="{029628B3-9464-54B7-0211-567DE1418F59}"/>
          </ac:spMkLst>
        </pc:spChg>
        <pc:spChg chg="add mod">
          <ac:chgData name="Karmakar, Sumit" userId="S::skarmakar@elogex.com::5d020034-ff2c-4e7e-8d00-e94708d613b2" providerId="AD" clId="Web-{D61E26CA-9721-8D56-B7D9-7BAB776E07AE}" dt="2024-03-19T17:09:29.831" v="36" actId="1076"/>
          <ac:spMkLst>
            <pc:docMk/>
            <pc:sldMk cId="458473134" sldId="2147480116"/>
            <ac:spMk id="37" creationId="{1687F3BB-9FD0-62EC-153A-45B187D770E9}"/>
          </ac:spMkLst>
        </pc:spChg>
        <pc:spChg chg="add mod">
          <ac:chgData name="Karmakar, Sumit" userId="S::skarmakar@elogex.com::5d020034-ff2c-4e7e-8d00-e94708d613b2" providerId="AD" clId="Web-{D61E26CA-9721-8D56-B7D9-7BAB776E07AE}" dt="2024-03-19T17:09:29.846" v="37" actId="1076"/>
          <ac:spMkLst>
            <pc:docMk/>
            <pc:sldMk cId="458473134" sldId="2147480116"/>
            <ac:spMk id="39" creationId="{A32669C4-39A9-6942-4941-4832A6805422}"/>
          </ac:spMkLst>
        </pc:spChg>
        <pc:spChg chg="add mod">
          <ac:chgData name="Karmakar, Sumit" userId="S::skarmakar@elogex.com::5d020034-ff2c-4e7e-8d00-e94708d613b2" providerId="AD" clId="Web-{D61E26CA-9721-8D56-B7D9-7BAB776E07AE}" dt="2024-03-19T17:09:29.862" v="38" actId="1076"/>
          <ac:spMkLst>
            <pc:docMk/>
            <pc:sldMk cId="458473134" sldId="2147480116"/>
            <ac:spMk id="41" creationId="{92FE8EC4-25F4-6172-550C-350C87D02F0B}"/>
          </ac:spMkLst>
        </pc:spChg>
        <pc:spChg chg="add mod">
          <ac:chgData name="Karmakar, Sumit" userId="S::skarmakar@elogex.com::5d020034-ff2c-4e7e-8d00-e94708d613b2" providerId="AD" clId="Web-{D61E26CA-9721-8D56-B7D9-7BAB776E07AE}" dt="2024-03-19T17:09:29.878" v="39" actId="1076"/>
          <ac:spMkLst>
            <pc:docMk/>
            <pc:sldMk cId="458473134" sldId="2147480116"/>
            <ac:spMk id="43" creationId="{01DF0A4D-C17D-AF9F-B107-5CAAA520D20C}"/>
          </ac:spMkLst>
        </pc:spChg>
        <pc:spChg chg="add mod">
          <ac:chgData name="Karmakar, Sumit" userId="S::skarmakar@elogex.com::5d020034-ff2c-4e7e-8d00-e94708d613b2" providerId="AD" clId="Web-{D61E26CA-9721-8D56-B7D9-7BAB776E07AE}" dt="2024-03-19T17:09:29.893" v="40" actId="1076"/>
          <ac:spMkLst>
            <pc:docMk/>
            <pc:sldMk cId="458473134" sldId="2147480116"/>
            <ac:spMk id="45" creationId="{8D64AF50-6C8A-C05D-0F57-6BBCCDC9648E}"/>
          </ac:spMkLst>
        </pc:spChg>
        <pc:spChg chg="add mod">
          <ac:chgData name="Karmakar, Sumit" userId="S::skarmakar@elogex.com::5d020034-ff2c-4e7e-8d00-e94708d613b2" providerId="AD" clId="Web-{D61E26CA-9721-8D56-B7D9-7BAB776E07AE}" dt="2024-03-19T17:09:29.909" v="41" actId="1076"/>
          <ac:spMkLst>
            <pc:docMk/>
            <pc:sldMk cId="458473134" sldId="2147480116"/>
            <ac:spMk id="47" creationId="{3EDC3DDE-5193-C274-6664-6E1AF77AFFA9}"/>
          </ac:spMkLst>
        </pc:spChg>
        <pc:spChg chg="add mod">
          <ac:chgData name="Karmakar, Sumit" userId="S::skarmakar@elogex.com::5d020034-ff2c-4e7e-8d00-e94708d613b2" providerId="AD" clId="Web-{D61E26CA-9721-8D56-B7D9-7BAB776E07AE}" dt="2024-03-19T17:09:29.925" v="42" actId="1076"/>
          <ac:spMkLst>
            <pc:docMk/>
            <pc:sldMk cId="458473134" sldId="2147480116"/>
            <ac:spMk id="49" creationId="{731DCEA5-8984-84BE-E787-3160364DB5AE}"/>
          </ac:spMkLst>
        </pc:spChg>
        <pc:spChg chg="add del mod">
          <ac:chgData name="Karmakar, Sumit" userId="S::skarmakar@elogex.com::5d020034-ff2c-4e7e-8d00-e94708d613b2" providerId="AD" clId="Web-{D61E26CA-9721-8D56-B7D9-7BAB776E07AE}" dt="2024-03-19T17:09:55.066" v="69"/>
          <ac:spMkLst>
            <pc:docMk/>
            <pc:sldMk cId="458473134" sldId="2147480116"/>
            <ac:spMk id="51" creationId="{EC264CD0-AE68-F1A5-1570-9332AB652612}"/>
          </ac:spMkLst>
        </pc:spChg>
        <pc:spChg chg="add del mod">
          <ac:chgData name="Karmakar, Sumit" userId="S::skarmakar@elogex.com::5d020034-ff2c-4e7e-8d00-e94708d613b2" providerId="AD" clId="Web-{D61E26CA-9721-8D56-B7D9-7BAB776E07AE}" dt="2024-03-19T17:09:55.066" v="68"/>
          <ac:spMkLst>
            <pc:docMk/>
            <pc:sldMk cId="458473134" sldId="2147480116"/>
            <ac:spMk id="53" creationId="{2C25B254-E354-034D-9ABB-9987B3E973E9}"/>
          </ac:spMkLst>
        </pc:spChg>
        <pc:spChg chg="add del mod">
          <ac:chgData name="Karmakar, Sumit" userId="S::skarmakar@elogex.com::5d020034-ff2c-4e7e-8d00-e94708d613b2" providerId="AD" clId="Web-{D61E26CA-9721-8D56-B7D9-7BAB776E07AE}" dt="2024-03-19T17:09:55.066" v="67"/>
          <ac:spMkLst>
            <pc:docMk/>
            <pc:sldMk cId="458473134" sldId="2147480116"/>
            <ac:spMk id="55" creationId="{3A012A72-8A00-B740-06BF-FD0DF7BC13AD}"/>
          </ac:spMkLst>
        </pc:spChg>
        <pc:spChg chg="add del mod">
          <ac:chgData name="Karmakar, Sumit" userId="S::skarmakar@elogex.com::5d020034-ff2c-4e7e-8d00-e94708d613b2" providerId="AD" clId="Web-{D61E26CA-9721-8D56-B7D9-7BAB776E07AE}" dt="2024-03-19T17:09:55.066" v="66"/>
          <ac:spMkLst>
            <pc:docMk/>
            <pc:sldMk cId="458473134" sldId="2147480116"/>
            <ac:spMk id="57" creationId="{ABCBD63E-8D41-1B2B-593F-B5032FD122F2}"/>
          </ac:spMkLst>
        </pc:spChg>
        <pc:spChg chg="add del mod">
          <ac:chgData name="Karmakar, Sumit" userId="S::skarmakar@elogex.com::5d020034-ff2c-4e7e-8d00-e94708d613b2" providerId="AD" clId="Web-{D61E26CA-9721-8D56-B7D9-7BAB776E07AE}" dt="2024-03-19T17:09:55.066" v="65"/>
          <ac:spMkLst>
            <pc:docMk/>
            <pc:sldMk cId="458473134" sldId="2147480116"/>
            <ac:spMk id="59" creationId="{3FDA58CB-6EE0-03C3-5BEF-2F0DF69810DD}"/>
          </ac:spMkLst>
        </pc:spChg>
        <pc:spChg chg="add del mod">
          <ac:chgData name="Karmakar, Sumit" userId="S::skarmakar@elogex.com::5d020034-ff2c-4e7e-8d00-e94708d613b2" providerId="AD" clId="Web-{D61E26CA-9721-8D56-B7D9-7BAB776E07AE}" dt="2024-03-19T17:09:55.066" v="64"/>
          <ac:spMkLst>
            <pc:docMk/>
            <pc:sldMk cId="458473134" sldId="2147480116"/>
            <ac:spMk id="61" creationId="{7DEE5EF0-3406-20C1-9AF0-9911532870C0}"/>
          </ac:spMkLst>
        </pc:spChg>
        <pc:spChg chg="add del mod">
          <ac:chgData name="Karmakar, Sumit" userId="S::skarmakar@elogex.com::5d020034-ff2c-4e7e-8d00-e94708d613b2" providerId="AD" clId="Web-{D61E26CA-9721-8D56-B7D9-7BAB776E07AE}" dt="2024-03-19T17:09:55.066" v="63"/>
          <ac:spMkLst>
            <pc:docMk/>
            <pc:sldMk cId="458473134" sldId="2147480116"/>
            <ac:spMk id="63" creationId="{F386C67D-A6D1-36FC-38FE-CCDD735E2183}"/>
          </ac:spMkLst>
        </pc:spChg>
        <pc:spChg chg="add del mod">
          <ac:chgData name="Karmakar, Sumit" userId="S::skarmakar@elogex.com::5d020034-ff2c-4e7e-8d00-e94708d613b2" providerId="AD" clId="Web-{D61E26CA-9721-8D56-B7D9-7BAB776E07AE}" dt="2024-03-19T17:09:55.066" v="62"/>
          <ac:spMkLst>
            <pc:docMk/>
            <pc:sldMk cId="458473134" sldId="2147480116"/>
            <ac:spMk id="65" creationId="{50EC8041-AD6D-F986-F615-4716133593DE}"/>
          </ac:spMkLst>
        </pc:spChg>
        <pc:spChg chg="add del mod">
          <ac:chgData name="Karmakar, Sumit" userId="S::skarmakar@elogex.com::5d020034-ff2c-4e7e-8d00-e94708d613b2" providerId="AD" clId="Web-{D61E26CA-9721-8D56-B7D9-7BAB776E07AE}" dt="2024-03-19T17:09:55.066" v="61"/>
          <ac:spMkLst>
            <pc:docMk/>
            <pc:sldMk cId="458473134" sldId="2147480116"/>
            <ac:spMk id="67" creationId="{9CA9D24B-A237-5C95-BC37-79E80B30FEC4}"/>
          </ac:spMkLst>
        </pc:spChg>
        <pc:spChg chg="add del mod">
          <ac:chgData name="Karmakar, Sumit" userId="S::skarmakar@elogex.com::5d020034-ff2c-4e7e-8d00-e94708d613b2" providerId="AD" clId="Web-{D61E26CA-9721-8D56-B7D9-7BAB776E07AE}" dt="2024-03-19T17:11:43.087" v="96"/>
          <ac:spMkLst>
            <pc:docMk/>
            <pc:sldMk cId="458473134" sldId="2147480116"/>
            <ac:spMk id="69" creationId="{A9E126B3-A6F0-7397-1F4C-00B7460F6C16}"/>
          </ac:spMkLst>
        </pc:spChg>
        <pc:spChg chg="add del">
          <ac:chgData name="Karmakar, Sumit" userId="S::skarmakar@elogex.com::5d020034-ff2c-4e7e-8d00-e94708d613b2" providerId="AD" clId="Web-{D61E26CA-9721-8D56-B7D9-7BAB776E07AE}" dt="2024-03-19T17:11:09.695" v="92"/>
          <ac:spMkLst>
            <pc:docMk/>
            <pc:sldMk cId="458473134" sldId="2147480116"/>
            <ac:spMk id="71" creationId="{82BA94CD-30E1-AE86-04E0-60A3EC7A2134}"/>
          </ac:spMkLst>
        </pc:spChg>
        <pc:spChg chg="add del">
          <ac:chgData name="Karmakar, Sumit" userId="S::skarmakar@elogex.com::5d020034-ff2c-4e7e-8d00-e94708d613b2" providerId="AD" clId="Web-{D61E26CA-9721-8D56-B7D9-7BAB776E07AE}" dt="2024-03-19T17:11:09.695" v="91"/>
          <ac:spMkLst>
            <pc:docMk/>
            <pc:sldMk cId="458473134" sldId="2147480116"/>
            <ac:spMk id="73" creationId="{2102D317-0BC1-F021-D6BA-0BA7E1BE0ED2}"/>
          </ac:spMkLst>
        </pc:spChg>
        <pc:spChg chg="add del">
          <ac:chgData name="Karmakar, Sumit" userId="S::skarmakar@elogex.com::5d020034-ff2c-4e7e-8d00-e94708d613b2" providerId="AD" clId="Web-{D61E26CA-9721-8D56-B7D9-7BAB776E07AE}" dt="2024-03-19T17:11:09.695" v="90"/>
          <ac:spMkLst>
            <pc:docMk/>
            <pc:sldMk cId="458473134" sldId="2147480116"/>
            <ac:spMk id="75" creationId="{DAD514BC-74D8-00AD-793A-091CC9A2A320}"/>
          </ac:spMkLst>
        </pc:spChg>
        <pc:spChg chg="add del">
          <ac:chgData name="Karmakar, Sumit" userId="S::skarmakar@elogex.com::5d020034-ff2c-4e7e-8d00-e94708d613b2" providerId="AD" clId="Web-{D61E26CA-9721-8D56-B7D9-7BAB776E07AE}" dt="2024-03-19T17:11:09.695" v="89"/>
          <ac:spMkLst>
            <pc:docMk/>
            <pc:sldMk cId="458473134" sldId="2147480116"/>
            <ac:spMk id="77" creationId="{AAAC6FD6-C9C4-1F59-ADB9-F376547B0686}"/>
          </ac:spMkLst>
        </pc:spChg>
        <pc:spChg chg="add del">
          <ac:chgData name="Karmakar, Sumit" userId="S::skarmakar@elogex.com::5d020034-ff2c-4e7e-8d00-e94708d613b2" providerId="AD" clId="Web-{D61E26CA-9721-8D56-B7D9-7BAB776E07AE}" dt="2024-03-19T17:11:09.695" v="88"/>
          <ac:spMkLst>
            <pc:docMk/>
            <pc:sldMk cId="458473134" sldId="2147480116"/>
            <ac:spMk id="79" creationId="{24775EB1-FEC9-7743-5192-B93C92574394}"/>
          </ac:spMkLst>
        </pc:spChg>
        <pc:spChg chg="add del">
          <ac:chgData name="Karmakar, Sumit" userId="S::skarmakar@elogex.com::5d020034-ff2c-4e7e-8d00-e94708d613b2" providerId="AD" clId="Web-{D61E26CA-9721-8D56-B7D9-7BAB776E07AE}" dt="2024-03-19T17:11:09.695" v="87"/>
          <ac:spMkLst>
            <pc:docMk/>
            <pc:sldMk cId="458473134" sldId="2147480116"/>
            <ac:spMk id="81" creationId="{A6EABE6D-DCA0-23B7-27A6-8CBD0ED8D4D3}"/>
          </ac:spMkLst>
        </pc:spChg>
        <pc:spChg chg="add del">
          <ac:chgData name="Karmakar, Sumit" userId="S::skarmakar@elogex.com::5d020034-ff2c-4e7e-8d00-e94708d613b2" providerId="AD" clId="Web-{D61E26CA-9721-8D56-B7D9-7BAB776E07AE}" dt="2024-03-19T17:11:09.695" v="86"/>
          <ac:spMkLst>
            <pc:docMk/>
            <pc:sldMk cId="458473134" sldId="2147480116"/>
            <ac:spMk id="83" creationId="{CB859CB1-A50B-3394-F609-9728FEE02A66}"/>
          </ac:spMkLst>
        </pc:spChg>
        <pc:spChg chg="add del">
          <ac:chgData name="Karmakar, Sumit" userId="S::skarmakar@elogex.com::5d020034-ff2c-4e7e-8d00-e94708d613b2" providerId="AD" clId="Web-{D61E26CA-9721-8D56-B7D9-7BAB776E07AE}" dt="2024-03-19T17:11:09.695" v="85"/>
          <ac:spMkLst>
            <pc:docMk/>
            <pc:sldMk cId="458473134" sldId="2147480116"/>
            <ac:spMk id="85" creationId="{04FFC05B-9F57-3560-8B50-7FE0EFFD10BA}"/>
          </ac:spMkLst>
        </pc:spChg>
        <pc:spChg chg="add mod">
          <ac:chgData name="Karmakar, Sumit" userId="S::skarmakar@elogex.com::5d020034-ff2c-4e7e-8d00-e94708d613b2" providerId="AD" clId="Web-{D61E26CA-9721-8D56-B7D9-7BAB776E07AE}" dt="2024-03-19T17:13:19.638" v="118" actId="14100"/>
          <ac:spMkLst>
            <pc:docMk/>
            <pc:sldMk cId="458473134" sldId="2147480116"/>
            <ac:spMk id="87" creationId="{D93A3976-7352-A0E2-4673-AB0DE5AD121E}"/>
          </ac:spMkLst>
        </pc:spChg>
        <pc:spChg chg="add mod">
          <ac:chgData name="Karmakar, Sumit" userId="S::skarmakar@elogex.com::5d020034-ff2c-4e7e-8d00-e94708d613b2" providerId="AD" clId="Web-{D61E26CA-9721-8D56-B7D9-7BAB776E07AE}" dt="2024-03-19T17:13:19.669" v="119" actId="14100"/>
          <ac:spMkLst>
            <pc:docMk/>
            <pc:sldMk cId="458473134" sldId="2147480116"/>
            <ac:spMk id="89" creationId="{2A8427AC-858D-3B9B-3625-4028CB53AEE3}"/>
          </ac:spMkLst>
        </pc:spChg>
        <pc:spChg chg="add mod">
          <ac:chgData name="Karmakar, Sumit" userId="S::skarmakar@elogex.com::5d020034-ff2c-4e7e-8d00-e94708d613b2" providerId="AD" clId="Web-{D61E26CA-9721-8D56-B7D9-7BAB776E07AE}" dt="2024-03-19T17:13:19.685" v="120" actId="14100"/>
          <ac:spMkLst>
            <pc:docMk/>
            <pc:sldMk cId="458473134" sldId="2147480116"/>
            <ac:spMk id="91" creationId="{E8857958-4847-CE79-68EF-56A4EF12E62F}"/>
          </ac:spMkLst>
        </pc:spChg>
        <pc:spChg chg="add mod">
          <ac:chgData name="Karmakar, Sumit" userId="S::skarmakar@elogex.com::5d020034-ff2c-4e7e-8d00-e94708d613b2" providerId="AD" clId="Web-{D61E26CA-9721-8D56-B7D9-7BAB776E07AE}" dt="2024-03-19T17:13:19.701" v="121" actId="14100"/>
          <ac:spMkLst>
            <pc:docMk/>
            <pc:sldMk cId="458473134" sldId="2147480116"/>
            <ac:spMk id="93" creationId="{4D703508-FB15-5E37-644F-C3339C0B0BDA}"/>
          </ac:spMkLst>
        </pc:spChg>
        <pc:spChg chg="add mod">
          <ac:chgData name="Karmakar, Sumit" userId="S::skarmakar@elogex.com::5d020034-ff2c-4e7e-8d00-e94708d613b2" providerId="AD" clId="Web-{D61E26CA-9721-8D56-B7D9-7BAB776E07AE}" dt="2024-03-19T17:13:19.716" v="122" actId="14100"/>
          <ac:spMkLst>
            <pc:docMk/>
            <pc:sldMk cId="458473134" sldId="2147480116"/>
            <ac:spMk id="95" creationId="{A80B6142-3484-FE40-095E-B3B9B8F955E2}"/>
          </ac:spMkLst>
        </pc:spChg>
        <pc:spChg chg="add mod">
          <ac:chgData name="Karmakar, Sumit" userId="S::skarmakar@elogex.com::5d020034-ff2c-4e7e-8d00-e94708d613b2" providerId="AD" clId="Web-{D61E26CA-9721-8D56-B7D9-7BAB776E07AE}" dt="2024-03-19T17:13:19.747" v="123" actId="14100"/>
          <ac:spMkLst>
            <pc:docMk/>
            <pc:sldMk cId="458473134" sldId="2147480116"/>
            <ac:spMk id="97" creationId="{7A2C11E1-85A9-C735-0EE8-5E8AB572DEAB}"/>
          </ac:spMkLst>
        </pc:spChg>
        <pc:spChg chg="add mod">
          <ac:chgData name="Karmakar, Sumit" userId="S::skarmakar@elogex.com::5d020034-ff2c-4e7e-8d00-e94708d613b2" providerId="AD" clId="Web-{D61E26CA-9721-8D56-B7D9-7BAB776E07AE}" dt="2024-03-19T17:13:19.763" v="124" actId="14100"/>
          <ac:spMkLst>
            <pc:docMk/>
            <pc:sldMk cId="458473134" sldId="2147480116"/>
            <ac:spMk id="99" creationId="{4D0736D2-4D6E-5F81-9958-010A3994548C}"/>
          </ac:spMkLst>
        </pc:spChg>
        <pc:spChg chg="add mod">
          <ac:chgData name="Karmakar, Sumit" userId="S::skarmakar@elogex.com::5d020034-ff2c-4e7e-8d00-e94708d613b2" providerId="AD" clId="Web-{D61E26CA-9721-8D56-B7D9-7BAB776E07AE}" dt="2024-03-19T17:13:19.779" v="125" actId="14100"/>
          <ac:spMkLst>
            <pc:docMk/>
            <pc:sldMk cId="458473134" sldId="2147480116"/>
            <ac:spMk id="101" creationId="{70647DAA-301B-646C-3C7E-CA7C3600A762}"/>
          </ac:spMkLst>
        </pc:spChg>
        <pc:grpChg chg="add mod">
          <ac:chgData name="Karmakar, Sumit" userId="S::skarmakar@elogex.com::5d020034-ff2c-4e7e-8d00-e94708d613b2" providerId="AD" clId="Web-{D61E26CA-9721-8D56-B7D9-7BAB776E07AE}" dt="2024-03-19T17:09:29.487" v="28" actId="1076"/>
          <ac:grpSpMkLst>
            <pc:docMk/>
            <pc:sldMk cId="458473134" sldId="2147480116"/>
            <ac:grpSpMk id="7" creationId="{49A7E6A7-B305-A62B-D03D-D6016021C872}"/>
          </ac:grpSpMkLst>
        </pc:grpChg>
        <pc:grpChg chg="add mod">
          <ac:chgData name="Karmakar, Sumit" userId="S::skarmakar@elogex.com::5d020034-ff2c-4e7e-8d00-e94708d613b2" providerId="AD" clId="Web-{D61E26CA-9721-8D56-B7D9-7BAB776E07AE}" dt="2024-03-19T17:09:29.800" v="34" actId="1076"/>
          <ac:grpSpMkLst>
            <pc:docMk/>
            <pc:sldMk cId="458473134" sldId="2147480116"/>
            <ac:grpSpMk id="33" creationId="{6F5599AA-B0E8-29EC-24A6-F99ED429C1C5}"/>
          </ac:grpSpMkLst>
        </pc:grpChg>
        <pc:picChg chg="add mod">
          <ac:chgData name="Karmakar, Sumit" userId="S::skarmakar@elogex.com::5d020034-ff2c-4e7e-8d00-e94708d613b2" providerId="AD" clId="Web-{D61E26CA-9721-8D56-B7D9-7BAB776E07AE}" dt="2024-03-19T17:09:29.706" v="29" actId="1076"/>
          <ac:picMkLst>
            <pc:docMk/>
            <pc:sldMk cId="458473134" sldId="2147480116"/>
            <ac:picMk id="9" creationId="{C1CA1AD0-40B1-9354-0FAF-E31957D4DF16}"/>
          </ac:picMkLst>
        </pc:picChg>
        <pc:picChg chg="add mod">
          <ac:chgData name="Karmakar, Sumit" userId="S::skarmakar@elogex.com::5d020034-ff2c-4e7e-8d00-e94708d613b2" providerId="AD" clId="Web-{D61E26CA-9721-8D56-B7D9-7BAB776E07AE}" dt="2024-03-19T17:09:29.721" v="30" actId="1076"/>
          <ac:picMkLst>
            <pc:docMk/>
            <pc:sldMk cId="458473134" sldId="2147480116"/>
            <ac:picMk id="11" creationId="{43670075-4EBE-653F-9AF5-07C5E2FCADDB}"/>
          </ac:picMkLst>
        </pc:picChg>
        <pc:picChg chg="add mod">
          <ac:chgData name="Karmakar, Sumit" userId="S::skarmakar@elogex.com::5d020034-ff2c-4e7e-8d00-e94708d613b2" providerId="AD" clId="Web-{D61E26CA-9721-8D56-B7D9-7BAB776E07AE}" dt="2024-03-19T17:09:29.737" v="31" actId="1076"/>
          <ac:picMkLst>
            <pc:docMk/>
            <pc:sldMk cId="458473134" sldId="2147480116"/>
            <ac:picMk id="13" creationId="{600FE637-80BF-A568-D6AB-F2F36DEDB85C}"/>
          </ac:picMkLst>
        </pc:picChg>
        <pc:picChg chg="add mod">
          <ac:chgData name="Karmakar, Sumit" userId="S::skarmakar@elogex.com::5d020034-ff2c-4e7e-8d00-e94708d613b2" providerId="AD" clId="Web-{D61E26CA-9721-8D56-B7D9-7BAB776E07AE}" dt="2024-03-19T17:09:29.768" v="33" actId="1076"/>
          <ac:picMkLst>
            <pc:docMk/>
            <pc:sldMk cId="458473134" sldId="2147480116"/>
            <ac:picMk id="17" creationId="{D3583598-6DF0-BD80-D011-41E8941C017B}"/>
          </ac:picMkLst>
        </pc:picChg>
      </pc:sldChg>
      <pc:sldChg chg="add replId">
        <pc:chgData name="Karmakar, Sumit" userId="S::skarmakar@elogex.com::5d020034-ff2c-4e7e-8d00-e94708d613b2" providerId="AD" clId="Web-{D61E26CA-9721-8D56-B7D9-7BAB776E07AE}" dt="2024-03-19T17:14:14.875" v="128"/>
        <pc:sldMkLst>
          <pc:docMk/>
          <pc:sldMk cId="1434896387" sldId="2147480116"/>
        </pc:sldMkLst>
      </pc:sldChg>
      <pc:sldChg chg="add ord replId">
        <pc:chgData name="Karmakar, Sumit" userId="S::skarmakar@elogex.com::5d020034-ff2c-4e7e-8d00-e94708d613b2" providerId="AD" clId="Web-{D61E26CA-9721-8D56-B7D9-7BAB776E07AE}" dt="2024-03-19T18:40:17.523" v="255"/>
        <pc:sldMkLst>
          <pc:docMk/>
          <pc:sldMk cId="3342602019" sldId="2147480117"/>
        </pc:sldMkLst>
      </pc:sldChg>
    </pc:docChg>
  </pc:docChgLst>
  <pc:docChgLst>
    <pc:chgData name="Karmakar, Sumit" userId="S::skarmakar@elogex.com::5d020034-ff2c-4e7e-8d00-e94708d613b2" providerId="AD" clId="Web-{9F3EB7AA-9878-567C-845E-10FC6A998655}"/>
    <pc:docChg chg="modSld">
      <pc:chgData name="Karmakar, Sumit" userId="S::skarmakar@elogex.com::5d020034-ff2c-4e7e-8d00-e94708d613b2" providerId="AD" clId="Web-{9F3EB7AA-9878-567C-845E-10FC6A998655}" dt="2024-03-27T20:36:40.159" v="29" actId="1076"/>
      <pc:docMkLst>
        <pc:docMk/>
      </pc:docMkLst>
      <pc:sldChg chg="modSp">
        <pc:chgData name="Karmakar, Sumit" userId="S::skarmakar@elogex.com::5d020034-ff2c-4e7e-8d00-e94708d613b2" providerId="AD" clId="Web-{9F3EB7AA-9878-567C-845E-10FC6A998655}" dt="2024-03-27T20:30:33.646" v="3" actId="20577"/>
        <pc:sldMkLst>
          <pc:docMk/>
          <pc:sldMk cId="3118094164" sldId="2147480101"/>
        </pc:sldMkLst>
        <pc:graphicFrameChg chg="modGraphic">
          <ac:chgData name="Karmakar, Sumit" userId="S::skarmakar@elogex.com::5d020034-ff2c-4e7e-8d00-e94708d613b2" providerId="AD" clId="Web-{9F3EB7AA-9878-567C-845E-10FC6A998655}" dt="2024-03-27T20:30:33.646" v="3" actId="20577"/>
          <ac:graphicFrameMkLst>
            <pc:docMk/>
            <pc:sldMk cId="3118094164" sldId="2147480101"/>
            <ac:graphicFrameMk id="3" creationId="{A0C264A5-87A4-39BA-F813-F8DBD0595773}"/>
          </ac:graphicFrameMkLst>
        </pc:graphicFrameChg>
      </pc:sldChg>
      <pc:sldChg chg="addSp delSp modSp">
        <pc:chgData name="Karmakar, Sumit" userId="S::skarmakar@elogex.com::5d020034-ff2c-4e7e-8d00-e94708d613b2" providerId="AD" clId="Web-{9F3EB7AA-9878-567C-845E-10FC6A998655}" dt="2024-03-27T20:36:40.159" v="29" actId="1076"/>
        <pc:sldMkLst>
          <pc:docMk/>
          <pc:sldMk cId="3725083184" sldId="2147480133"/>
        </pc:sldMkLst>
        <pc:spChg chg="mod">
          <ac:chgData name="Karmakar, Sumit" userId="S::skarmakar@elogex.com::5d020034-ff2c-4e7e-8d00-e94708d613b2" providerId="AD" clId="Web-{9F3EB7AA-9878-567C-845E-10FC6A998655}" dt="2024-03-27T20:36:17.065" v="20" actId="1076"/>
          <ac:spMkLst>
            <pc:docMk/>
            <pc:sldMk cId="3725083184" sldId="2147480133"/>
            <ac:spMk id="35" creationId="{74C26D05-C795-C12E-007D-BEDE2B06A004}"/>
          </ac:spMkLst>
        </pc:spChg>
        <pc:spChg chg="mod">
          <ac:chgData name="Karmakar, Sumit" userId="S::skarmakar@elogex.com::5d020034-ff2c-4e7e-8d00-e94708d613b2" providerId="AD" clId="Web-{9F3EB7AA-9878-567C-845E-10FC6A998655}" dt="2024-03-27T20:32:26.848" v="4"/>
          <ac:spMkLst>
            <pc:docMk/>
            <pc:sldMk cId="3725083184" sldId="2147480133"/>
            <ac:spMk id="38" creationId="{77B2D3DB-5ADF-E77D-F97B-9DD56C788BF8}"/>
          </ac:spMkLst>
        </pc:spChg>
        <pc:spChg chg="mod">
          <ac:chgData name="Karmakar, Sumit" userId="S::skarmakar@elogex.com::5d020034-ff2c-4e7e-8d00-e94708d613b2" providerId="AD" clId="Web-{9F3EB7AA-9878-567C-845E-10FC6A998655}" dt="2024-03-27T20:34:46.675" v="14"/>
          <ac:spMkLst>
            <pc:docMk/>
            <pc:sldMk cId="3725083184" sldId="2147480133"/>
            <ac:spMk id="41" creationId="{A0171EF1-92DF-26C4-A703-0CA292A43D11}"/>
          </ac:spMkLst>
        </pc:spChg>
        <pc:spChg chg="mod">
          <ac:chgData name="Karmakar, Sumit" userId="S::skarmakar@elogex.com::5d020034-ff2c-4e7e-8d00-e94708d613b2" providerId="AD" clId="Web-{9F3EB7AA-9878-567C-845E-10FC6A998655}" dt="2024-03-27T20:36:40.159" v="29" actId="1076"/>
          <ac:spMkLst>
            <pc:docMk/>
            <pc:sldMk cId="3725083184" sldId="2147480133"/>
            <ac:spMk id="43" creationId="{56DDF53B-8DA9-EA79-6FF4-EF06C0A150F3}"/>
          </ac:spMkLst>
        </pc:spChg>
        <pc:spChg chg="mod">
          <ac:chgData name="Karmakar, Sumit" userId="S::skarmakar@elogex.com::5d020034-ff2c-4e7e-8d00-e94708d613b2" providerId="AD" clId="Web-{9F3EB7AA-9878-567C-845E-10FC6A998655}" dt="2024-03-27T20:36:31.331" v="27" actId="1076"/>
          <ac:spMkLst>
            <pc:docMk/>
            <pc:sldMk cId="3725083184" sldId="2147480133"/>
            <ac:spMk id="44" creationId="{F774C9C0-345E-DD70-E937-924C62AA199F}"/>
          </ac:spMkLst>
        </pc:spChg>
        <pc:spChg chg="mod">
          <ac:chgData name="Karmakar, Sumit" userId="S::skarmakar@elogex.com::5d020034-ff2c-4e7e-8d00-e94708d613b2" providerId="AD" clId="Web-{9F3EB7AA-9878-567C-845E-10FC6A998655}" dt="2024-03-27T20:34:05.941" v="11"/>
          <ac:spMkLst>
            <pc:docMk/>
            <pc:sldMk cId="3725083184" sldId="2147480133"/>
            <ac:spMk id="47" creationId="{AC9BC062-D1DF-974B-37D5-88AF81FA8823}"/>
          </ac:spMkLst>
        </pc:spChg>
        <pc:grpChg chg="add del mod">
          <ac:chgData name="Karmakar, Sumit" userId="S::skarmakar@elogex.com::5d020034-ff2c-4e7e-8d00-e94708d613b2" providerId="AD" clId="Web-{9F3EB7AA-9878-567C-845E-10FC6A998655}" dt="2024-03-27T20:36:17.221" v="24" actId="1076"/>
          <ac:grpSpMkLst>
            <pc:docMk/>
            <pc:sldMk cId="3725083184" sldId="2147480133"/>
            <ac:grpSpMk id="36" creationId="{7100B253-BE57-4779-7852-C9975126182E}"/>
          </ac:grpSpMkLst>
        </pc:grpChg>
        <pc:grpChg chg="mod">
          <ac:chgData name="Karmakar, Sumit" userId="S::skarmakar@elogex.com::5d020034-ff2c-4e7e-8d00-e94708d613b2" providerId="AD" clId="Web-{9F3EB7AA-9878-567C-845E-10FC6A998655}" dt="2024-03-27T20:36:17.174" v="23" actId="1076"/>
          <ac:grpSpMkLst>
            <pc:docMk/>
            <pc:sldMk cId="3725083184" sldId="2147480133"/>
            <ac:grpSpMk id="39" creationId="{ABA14CCF-1364-6232-CDA1-885F9C80C71A}"/>
          </ac:grpSpMkLst>
        </pc:grpChg>
        <pc:grpChg chg="mod">
          <ac:chgData name="Karmakar, Sumit" userId="S::skarmakar@elogex.com::5d020034-ff2c-4e7e-8d00-e94708d613b2" providerId="AD" clId="Web-{9F3EB7AA-9878-567C-845E-10FC6A998655}" dt="2024-03-27T20:36:17.112" v="21" actId="1076"/>
          <ac:grpSpMkLst>
            <pc:docMk/>
            <pc:sldMk cId="3725083184" sldId="2147480133"/>
            <ac:grpSpMk id="42" creationId="{EAF060A9-0156-0A03-4E20-0C3C9EA2E8D0}"/>
          </ac:grpSpMkLst>
        </pc:grpChg>
        <pc:grpChg chg="mod">
          <ac:chgData name="Karmakar, Sumit" userId="S::skarmakar@elogex.com::5d020034-ff2c-4e7e-8d00-e94708d613b2" providerId="AD" clId="Web-{9F3EB7AA-9878-567C-845E-10FC6A998655}" dt="2024-03-27T20:36:26.096" v="25" actId="1076"/>
          <ac:grpSpMkLst>
            <pc:docMk/>
            <pc:sldMk cId="3725083184" sldId="2147480133"/>
            <ac:grpSpMk id="45" creationId="{6686D0F3-7D6C-F5B5-421B-C14ADD007920}"/>
          </ac:grpSpMkLst>
        </pc:grpChg>
        <pc:graphicFrameChg chg="modGraphic">
          <ac:chgData name="Karmakar, Sumit" userId="S::skarmakar@elogex.com::5d020034-ff2c-4e7e-8d00-e94708d613b2" providerId="AD" clId="Web-{9F3EB7AA-9878-567C-845E-10FC6A998655}" dt="2024-03-27T20:35:45.940" v="17"/>
          <ac:graphicFrameMkLst>
            <pc:docMk/>
            <pc:sldMk cId="3725083184" sldId="2147480133"/>
            <ac:graphicFrameMk id="17" creationId="{39C2D995-BEAD-B4F2-BAA5-251C62A1C594}"/>
          </ac:graphicFrameMkLst>
        </pc:graphicFrameChg>
      </pc:sldChg>
    </pc:docChg>
  </pc:docChgLst>
  <pc:docChgLst>
    <pc:chgData name="Karmakar, Sumit" userId="S::skarmakar@elogex.com::5d020034-ff2c-4e7e-8d00-e94708d613b2" providerId="AD" clId="Web-{59DCB584-F2F4-EAC5-E0F2-BA0EA104EB0F}"/>
    <pc:docChg chg="delSld modSection">
      <pc:chgData name="Karmakar, Sumit" userId="S::skarmakar@elogex.com::5d020034-ff2c-4e7e-8d00-e94708d613b2" providerId="AD" clId="Web-{59DCB584-F2F4-EAC5-E0F2-BA0EA104EB0F}" dt="2024-04-01T15:28:01.330" v="2"/>
      <pc:docMkLst>
        <pc:docMk/>
      </pc:docMkLst>
      <pc:sldChg chg="del">
        <pc:chgData name="Karmakar, Sumit" userId="S::skarmakar@elogex.com::5d020034-ff2c-4e7e-8d00-e94708d613b2" providerId="AD" clId="Web-{59DCB584-F2F4-EAC5-E0F2-BA0EA104EB0F}" dt="2024-04-01T15:28:00.049" v="1"/>
        <pc:sldMkLst>
          <pc:docMk/>
          <pc:sldMk cId="3502658628" sldId="2147480127"/>
        </pc:sldMkLst>
      </pc:sldChg>
      <pc:sldChg chg="del">
        <pc:chgData name="Karmakar, Sumit" userId="S::skarmakar@elogex.com::5d020034-ff2c-4e7e-8d00-e94708d613b2" providerId="AD" clId="Web-{59DCB584-F2F4-EAC5-E0F2-BA0EA104EB0F}" dt="2024-04-01T15:28:01.330" v="2"/>
        <pc:sldMkLst>
          <pc:docMk/>
          <pc:sldMk cId="971165485" sldId="2147480128"/>
        </pc:sldMkLst>
      </pc:sldChg>
      <pc:sldChg chg="del">
        <pc:chgData name="Karmakar, Sumit" userId="S::skarmakar@elogex.com::5d020034-ff2c-4e7e-8d00-e94708d613b2" providerId="AD" clId="Web-{59DCB584-F2F4-EAC5-E0F2-BA0EA104EB0F}" dt="2024-04-01T15:27:48.220" v="0"/>
        <pc:sldMkLst>
          <pc:docMk/>
          <pc:sldMk cId="3725083184" sldId="2147480133"/>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823FD70-44D7-47D7-8538-D37903DFB24C}" type="doc">
      <dgm:prSet loTypeId="urn:microsoft.com/office/officeart/2016/7/layout/RoundedRectangleTimeline" loCatId="timeline" qsTypeId="urn:microsoft.com/office/officeart/2005/8/quickstyle/simple1" qsCatId="simple" csTypeId="urn:microsoft.com/office/officeart/2005/8/colors/accent1_2" csCatId="accent1" phldr="1"/>
      <dgm:spPr/>
      <dgm:t>
        <a:bodyPr/>
        <a:lstStyle/>
        <a:p>
          <a:endParaRPr lang="en-US"/>
        </a:p>
      </dgm:t>
    </dgm:pt>
    <dgm:pt modelId="{B3F60AC3-5350-4BFD-A368-18515E1969DE}">
      <dgm:prSet phldrT="[Text]" phldr="0"/>
      <dgm:spPr/>
      <dgm:t>
        <a:bodyPr/>
        <a:lstStyle/>
        <a:p>
          <a:pPr rtl="0"/>
          <a:r>
            <a:rPr lang="en-US" b="0">
              <a:latin typeface="Arial"/>
              <a:ea typeface="Open Sans"/>
              <a:cs typeface="Open Sans"/>
            </a:rPr>
            <a:t>JAN 2024</a:t>
          </a:r>
        </a:p>
      </dgm:t>
    </dgm:pt>
    <dgm:pt modelId="{6D39587F-D6A8-4C86-93B3-149DB2FF0AD9}" type="parTrans" cxnId="{10BC5AA4-7845-4089-B8F1-516EA586FFC2}">
      <dgm:prSet/>
      <dgm:spPr/>
      <dgm:t>
        <a:bodyPr/>
        <a:lstStyle/>
        <a:p>
          <a:endParaRPr lang="en-US"/>
        </a:p>
      </dgm:t>
    </dgm:pt>
    <dgm:pt modelId="{09103E3D-90BA-4A34-826A-00899B53DA2C}" type="sibTrans" cxnId="{10BC5AA4-7845-4089-B8F1-516EA586FFC2}">
      <dgm:prSet/>
      <dgm:spPr/>
      <dgm:t>
        <a:bodyPr/>
        <a:lstStyle/>
        <a:p>
          <a:endParaRPr lang="en-US"/>
        </a:p>
      </dgm:t>
    </dgm:pt>
    <dgm:pt modelId="{6A7959D0-BB69-4122-8A6C-42096B7F4C8E}">
      <dgm:prSet phldrT="[Text]" phldr="0"/>
      <dgm:spPr/>
      <dgm:t>
        <a:bodyPr/>
        <a:lstStyle/>
        <a:p>
          <a:pPr rtl="0"/>
          <a:r>
            <a:rPr lang="en-US" b="0">
              <a:solidFill>
                <a:srgbClr val="00C085"/>
              </a:solidFill>
              <a:latin typeface="Arial"/>
              <a:ea typeface="Open Sans"/>
              <a:cs typeface="Open Sans"/>
            </a:rPr>
            <a:t>Project Kick-Off</a:t>
          </a:r>
        </a:p>
      </dgm:t>
    </dgm:pt>
    <dgm:pt modelId="{00C9371D-070C-482C-A26D-74CEC850FE8D}" type="parTrans" cxnId="{EDE04555-4045-479C-94E3-86B9800BEA90}">
      <dgm:prSet/>
      <dgm:spPr/>
      <dgm:t>
        <a:bodyPr/>
        <a:lstStyle/>
        <a:p>
          <a:endParaRPr lang="en-US"/>
        </a:p>
      </dgm:t>
    </dgm:pt>
    <dgm:pt modelId="{034D70B3-FE5D-4DE4-B2F8-527E6A033B13}" type="sibTrans" cxnId="{EDE04555-4045-479C-94E3-86B9800BEA90}">
      <dgm:prSet/>
      <dgm:spPr/>
      <dgm:t>
        <a:bodyPr/>
        <a:lstStyle/>
        <a:p>
          <a:endParaRPr lang="en-US"/>
        </a:p>
      </dgm:t>
    </dgm:pt>
    <dgm:pt modelId="{CF1D813F-9BE0-40DF-8C24-998893407965}">
      <dgm:prSet phldrT="[Text]" phldr="0"/>
      <dgm:spPr/>
      <dgm:t>
        <a:bodyPr/>
        <a:lstStyle/>
        <a:p>
          <a:pPr rtl="0"/>
          <a:r>
            <a:rPr lang="en-US" b="0">
              <a:latin typeface="Arial"/>
              <a:ea typeface="Open Sans"/>
              <a:cs typeface="Open Sans"/>
            </a:rPr>
            <a:t>FEB 2024</a:t>
          </a:r>
        </a:p>
      </dgm:t>
    </dgm:pt>
    <dgm:pt modelId="{2F031ECE-F243-4543-B3C9-3FB3865042C3}" type="parTrans" cxnId="{392DDC16-A9D7-4FBA-A69C-22EBC30E8B29}">
      <dgm:prSet/>
      <dgm:spPr/>
      <dgm:t>
        <a:bodyPr/>
        <a:lstStyle/>
        <a:p>
          <a:endParaRPr lang="en-US"/>
        </a:p>
      </dgm:t>
    </dgm:pt>
    <dgm:pt modelId="{7A8C42ED-F16B-47A9-8D09-52222581D92F}" type="sibTrans" cxnId="{392DDC16-A9D7-4FBA-A69C-22EBC30E8B29}">
      <dgm:prSet/>
      <dgm:spPr/>
      <dgm:t>
        <a:bodyPr/>
        <a:lstStyle/>
        <a:p>
          <a:endParaRPr lang="en-US"/>
        </a:p>
      </dgm:t>
    </dgm:pt>
    <dgm:pt modelId="{72728271-A8B5-4767-AE3D-A33FDBF457D1}">
      <dgm:prSet phldrT="[Text]" phldr="0"/>
      <dgm:spPr/>
      <dgm:t>
        <a:bodyPr/>
        <a:lstStyle/>
        <a:p>
          <a:pPr rtl="0"/>
          <a:r>
            <a:rPr lang="en-US" b="0">
              <a:latin typeface="Arial"/>
              <a:ea typeface="Open Sans"/>
              <a:cs typeface="Open Sans"/>
            </a:rPr>
            <a:t>MAR2024</a:t>
          </a:r>
        </a:p>
      </dgm:t>
    </dgm:pt>
    <dgm:pt modelId="{4F0C7940-C86D-4DC0-840F-7D743E1E6AD0}" type="parTrans" cxnId="{BE3B11BC-E09E-4732-B1E0-ABF4121DB7A6}">
      <dgm:prSet/>
      <dgm:spPr/>
      <dgm:t>
        <a:bodyPr/>
        <a:lstStyle/>
        <a:p>
          <a:endParaRPr lang="en-US"/>
        </a:p>
      </dgm:t>
    </dgm:pt>
    <dgm:pt modelId="{9DA05390-CA95-477A-BF4C-C1557177DA9F}" type="sibTrans" cxnId="{BE3B11BC-E09E-4732-B1E0-ABF4121DB7A6}">
      <dgm:prSet/>
      <dgm:spPr/>
      <dgm:t>
        <a:bodyPr/>
        <a:lstStyle/>
        <a:p>
          <a:endParaRPr lang="en-US"/>
        </a:p>
      </dgm:t>
    </dgm:pt>
    <dgm:pt modelId="{0934C228-24AC-4958-BAD2-579C5C5ECF0B}">
      <dgm:prSet phldrT="[Text]" phldr="0"/>
      <dgm:spPr/>
      <dgm:t>
        <a:bodyPr/>
        <a:lstStyle/>
        <a:p>
          <a:pPr rtl="0"/>
          <a:r>
            <a:rPr lang="en-US" b="0">
              <a:latin typeface="Arial"/>
              <a:ea typeface="Open Sans"/>
              <a:cs typeface="Open Sans"/>
            </a:rPr>
            <a:t>APR 2024</a:t>
          </a:r>
        </a:p>
      </dgm:t>
    </dgm:pt>
    <dgm:pt modelId="{0B352B3A-204F-40D9-8424-759389C13218}" type="parTrans" cxnId="{D131416F-265B-4C19-A296-788ACE255CE7}">
      <dgm:prSet/>
      <dgm:spPr/>
      <dgm:t>
        <a:bodyPr/>
        <a:lstStyle/>
        <a:p>
          <a:endParaRPr lang="en-US"/>
        </a:p>
      </dgm:t>
    </dgm:pt>
    <dgm:pt modelId="{B3E7CECF-59AF-44A1-9C34-008A0D940780}" type="sibTrans" cxnId="{D131416F-265B-4C19-A296-788ACE255CE7}">
      <dgm:prSet/>
      <dgm:spPr/>
      <dgm:t>
        <a:bodyPr/>
        <a:lstStyle/>
        <a:p>
          <a:endParaRPr lang="en-US"/>
        </a:p>
      </dgm:t>
    </dgm:pt>
    <dgm:pt modelId="{4364E18C-2CD6-4A1A-ADC4-16292AE301AE}">
      <dgm:prSet phldr="0"/>
      <dgm:spPr/>
      <dgm:t>
        <a:bodyPr/>
        <a:lstStyle/>
        <a:p>
          <a:pPr rtl="0"/>
          <a:r>
            <a:rPr lang="en-US" b="0">
              <a:latin typeface="Arial"/>
              <a:ea typeface="Open Sans"/>
              <a:cs typeface="Open Sans"/>
            </a:rPr>
            <a:t>MAY 2024</a:t>
          </a:r>
        </a:p>
      </dgm:t>
    </dgm:pt>
    <dgm:pt modelId="{0CEF4E47-1AB4-4DD6-B90C-330946BC1D05}" type="parTrans" cxnId="{51400D08-870C-4E6E-8F44-996323D1A978}">
      <dgm:prSet/>
      <dgm:spPr/>
    </dgm:pt>
    <dgm:pt modelId="{C509FC99-3223-45D0-9D3D-5CF7B5EAC217}" type="sibTrans" cxnId="{51400D08-870C-4E6E-8F44-996323D1A978}">
      <dgm:prSet/>
      <dgm:spPr/>
    </dgm:pt>
    <dgm:pt modelId="{DF00B630-86FF-43B3-8C31-E26A26768214}">
      <dgm:prSet phldr="0"/>
      <dgm:spPr/>
      <dgm:t>
        <a:bodyPr/>
        <a:lstStyle/>
        <a:p>
          <a:pPr rtl="0"/>
          <a:r>
            <a:rPr lang="en-US" b="0">
              <a:latin typeface="Arial"/>
              <a:ea typeface="Open Sans"/>
              <a:cs typeface="Open Sans"/>
            </a:rPr>
            <a:t>JUL 2024</a:t>
          </a:r>
        </a:p>
      </dgm:t>
    </dgm:pt>
    <dgm:pt modelId="{3349C173-708D-4990-8405-073AC843236E}" type="parTrans" cxnId="{D6828A56-82FA-4EA5-BE2A-EDCC9C68868A}">
      <dgm:prSet/>
      <dgm:spPr/>
    </dgm:pt>
    <dgm:pt modelId="{53AF7E47-78FC-4E2C-ABD4-69BB1D81FB11}" type="sibTrans" cxnId="{D6828A56-82FA-4EA5-BE2A-EDCC9C68868A}">
      <dgm:prSet/>
      <dgm:spPr/>
    </dgm:pt>
    <dgm:pt modelId="{0C136222-98D2-4095-8722-47FC2A4753CF}">
      <dgm:prSet phldr="0"/>
      <dgm:spPr/>
      <dgm:t>
        <a:bodyPr/>
        <a:lstStyle/>
        <a:p>
          <a:pPr rtl="0"/>
          <a:r>
            <a:rPr lang="en-US" b="0">
              <a:latin typeface="Arial"/>
              <a:ea typeface="Open Sans"/>
              <a:cs typeface="Open Sans"/>
            </a:rPr>
            <a:t>JUN 2024</a:t>
          </a:r>
        </a:p>
      </dgm:t>
    </dgm:pt>
    <dgm:pt modelId="{8319E524-C64B-4495-9CD4-FC44605A1364}" type="parTrans" cxnId="{57AFBC29-1E76-4A0F-BF2A-2D4B162BCE27}">
      <dgm:prSet/>
      <dgm:spPr/>
    </dgm:pt>
    <dgm:pt modelId="{B953A834-372A-43C8-B50C-D69935857DB7}" type="sibTrans" cxnId="{57AFBC29-1E76-4A0F-BF2A-2D4B162BCE27}">
      <dgm:prSet/>
      <dgm:spPr/>
    </dgm:pt>
    <dgm:pt modelId="{AA083E7E-FEE7-4403-88DF-1E336947BBBA}">
      <dgm:prSet phldr="0"/>
      <dgm:spPr/>
      <dgm:t>
        <a:bodyPr/>
        <a:lstStyle/>
        <a:p>
          <a:pPr rtl="0"/>
          <a:r>
            <a:rPr lang="en-US" b="0">
              <a:solidFill>
                <a:srgbClr val="00C085"/>
              </a:solidFill>
              <a:latin typeface="Arial"/>
              <a:ea typeface="Open Sans"/>
              <a:cs typeface="Open Sans"/>
            </a:rPr>
            <a:t>Onboarding Discussion</a:t>
          </a:r>
        </a:p>
      </dgm:t>
    </dgm:pt>
    <dgm:pt modelId="{F73F9F0D-2B03-4D9D-9E20-C6D2884AEC73}" type="parTrans" cxnId="{FA0085E2-E65C-43CC-B6D5-2F2FEF53C811}">
      <dgm:prSet/>
      <dgm:spPr/>
    </dgm:pt>
    <dgm:pt modelId="{930F0B78-EA9E-4680-8A10-79A48CCC276D}" type="sibTrans" cxnId="{FA0085E2-E65C-43CC-B6D5-2F2FEF53C811}">
      <dgm:prSet/>
      <dgm:spPr/>
    </dgm:pt>
    <dgm:pt modelId="{12E08EC1-AEBB-4C08-A26A-5770078E0FB2}">
      <dgm:prSet phldr="0"/>
      <dgm:spPr/>
      <dgm:t>
        <a:bodyPr/>
        <a:lstStyle/>
        <a:p>
          <a:pPr rtl="0"/>
          <a:r>
            <a:rPr lang="en-US" b="0">
              <a:solidFill>
                <a:srgbClr val="00C085"/>
              </a:solidFill>
              <a:latin typeface="Arial"/>
              <a:ea typeface="Open Sans"/>
              <a:cs typeface="Open Sans"/>
            </a:rPr>
            <a:t>Prepare Bayer Partners List </a:t>
          </a:r>
        </a:p>
      </dgm:t>
    </dgm:pt>
    <dgm:pt modelId="{05F0E55C-F997-4A12-8721-059E89DE88DC}" type="parTrans" cxnId="{9A2AF874-7506-4A9D-AB08-033BC7DBBBCA}">
      <dgm:prSet/>
      <dgm:spPr/>
    </dgm:pt>
    <dgm:pt modelId="{F681916B-4BE2-448B-982C-838228BF056E}" type="sibTrans" cxnId="{9A2AF874-7506-4A9D-AB08-033BC7DBBBCA}">
      <dgm:prSet/>
      <dgm:spPr/>
    </dgm:pt>
    <dgm:pt modelId="{8131D447-9B68-478E-9740-07F443A7B58D}">
      <dgm:prSet phldr="0"/>
      <dgm:spPr/>
      <dgm:t>
        <a:bodyPr/>
        <a:lstStyle/>
        <a:p>
          <a:pPr rtl="0"/>
          <a:r>
            <a:rPr lang="en-US" b="0">
              <a:solidFill>
                <a:srgbClr val="00C085"/>
              </a:solidFill>
              <a:latin typeface="Arial"/>
              <a:ea typeface="Open Sans"/>
              <a:cs typeface="Open Sans"/>
            </a:rPr>
            <a:t>ONE-Partner Vetting</a:t>
          </a:r>
        </a:p>
      </dgm:t>
    </dgm:pt>
    <dgm:pt modelId="{C5562241-B91D-41E4-94D4-9A1CFB0A1B94}" type="parTrans" cxnId="{FCFB6C14-0EF5-4FAB-AD78-CB23D5180CC9}">
      <dgm:prSet/>
      <dgm:spPr/>
    </dgm:pt>
    <dgm:pt modelId="{CEEF1FC5-C87A-4553-A4FF-76B25776AAA1}" type="sibTrans" cxnId="{FCFB6C14-0EF5-4FAB-AD78-CB23D5180CC9}">
      <dgm:prSet/>
      <dgm:spPr/>
    </dgm:pt>
    <dgm:pt modelId="{A29F2223-B095-4B9B-AC48-E11E2934B401}">
      <dgm:prSet phldr="0"/>
      <dgm:spPr/>
      <dgm:t>
        <a:bodyPr/>
        <a:lstStyle/>
        <a:p>
          <a:pPr rtl="0"/>
          <a:r>
            <a:rPr lang="en-US" b="0">
              <a:solidFill>
                <a:srgbClr val="00C085"/>
              </a:solidFill>
              <a:latin typeface="Arial"/>
              <a:ea typeface="Open Sans"/>
              <a:cs typeface="Open Sans"/>
            </a:rPr>
            <a:t>Bayer Partner Announcement Email</a:t>
          </a:r>
        </a:p>
      </dgm:t>
    </dgm:pt>
    <dgm:pt modelId="{5DE44310-7586-466C-A635-A82D735F8E23}" type="parTrans" cxnId="{986BE2E3-9864-4F5B-985C-218653D3B07E}">
      <dgm:prSet/>
      <dgm:spPr/>
    </dgm:pt>
    <dgm:pt modelId="{B570A186-57D9-4EDD-904C-CCD62795D92E}" type="sibTrans" cxnId="{986BE2E3-9864-4F5B-985C-218653D3B07E}">
      <dgm:prSet/>
      <dgm:spPr/>
    </dgm:pt>
    <dgm:pt modelId="{0247FCB0-B15C-4E01-A4B9-C1F4EBCD8C92}">
      <dgm:prSet phldr="0"/>
      <dgm:spPr/>
      <dgm:t>
        <a:bodyPr/>
        <a:lstStyle/>
        <a:p>
          <a:pPr rtl="0"/>
          <a:r>
            <a:rPr lang="en-US" b="0">
              <a:solidFill>
                <a:srgbClr val="00C085"/>
              </a:solidFill>
              <a:latin typeface="Arial"/>
              <a:ea typeface="Open Sans"/>
              <a:cs typeface="Open Sans"/>
            </a:rPr>
            <a:t>Bayer Partner Event Email</a:t>
          </a:r>
        </a:p>
      </dgm:t>
    </dgm:pt>
    <dgm:pt modelId="{E2F678C3-4294-4BFE-9C58-D492011F5138}" type="parTrans" cxnId="{F23D3FEA-0B03-46A5-8CC4-02BD915B2BE7}">
      <dgm:prSet/>
      <dgm:spPr/>
    </dgm:pt>
    <dgm:pt modelId="{8F74F065-7F02-413B-BF01-EAEA50EBFB10}" type="sibTrans" cxnId="{F23D3FEA-0B03-46A5-8CC4-02BD915B2BE7}">
      <dgm:prSet/>
      <dgm:spPr/>
    </dgm:pt>
    <dgm:pt modelId="{616978FB-EBEC-49C1-A6B3-FD2B3BA9672B}">
      <dgm:prSet phldr="0"/>
      <dgm:spPr/>
      <dgm:t>
        <a:bodyPr/>
        <a:lstStyle/>
        <a:p>
          <a:pPr rtl="0"/>
          <a:r>
            <a:rPr lang="en-US" b="0">
              <a:latin typeface="Arial"/>
              <a:ea typeface="Open Sans"/>
              <a:cs typeface="Open Sans"/>
            </a:rPr>
            <a:t>Start Partner Onboarding</a:t>
          </a:r>
        </a:p>
      </dgm:t>
    </dgm:pt>
    <dgm:pt modelId="{4D42FF7D-47B2-4DCF-9E61-2F7C65502BAE}" type="parTrans" cxnId="{A9A50A06-CD74-4F97-9DFE-A3032D9C3FC5}">
      <dgm:prSet/>
      <dgm:spPr/>
    </dgm:pt>
    <dgm:pt modelId="{BE9368A8-C5F4-41E5-8D4F-0D2824A49C94}" type="sibTrans" cxnId="{A9A50A06-CD74-4F97-9DFE-A3032D9C3FC5}">
      <dgm:prSet/>
      <dgm:spPr/>
    </dgm:pt>
    <dgm:pt modelId="{B225F0A8-C3ED-46AD-B1CA-7B32F04E2819}">
      <dgm:prSet phldr="0"/>
      <dgm:spPr/>
      <dgm:t>
        <a:bodyPr/>
        <a:lstStyle/>
        <a:p>
          <a:pPr rtl="0"/>
          <a:r>
            <a:rPr lang="en-US" b="0">
              <a:latin typeface="Arial"/>
              <a:ea typeface="Open Sans"/>
              <a:cs typeface="Open Sans"/>
            </a:rPr>
            <a:t>Cont. Partner Onboarding</a:t>
          </a:r>
        </a:p>
      </dgm:t>
    </dgm:pt>
    <dgm:pt modelId="{71AF9C40-BD2E-4FE7-B4BC-EAF20D34EC34}" type="parTrans" cxnId="{2DAEE462-9C4D-4E70-BDA2-EE3D073F1A38}">
      <dgm:prSet/>
      <dgm:spPr/>
    </dgm:pt>
    <dgm:pt modelId="{0338F913-D2E6-454D-A591-34B32ABC143E}" type="sibTrans" cxnId="{2DAEE462-9C4D-4E70-BDA2-EE3D073F1A38}">
      <dgm:prSet/>
      <dgm:spPr/>
    </dgm:pt>
    <dgm:pt modelId="{894B23DC-2F64-4CA9-B93F-158699E55F50}">
      <dgm:prSet phldr="0"/>
      <dgm:spPr/>
      <dgm:t>
        <a:bodyPr/>
        <a:lstStyle/>
        <a:p>
          <a:pPr rtl="0"/>
          <a:r>
            <a:rPr lang="en-US" b="0">
              <a:latin typeface="Arial"/>
              <a:ea typeface="Open Sans"/>
              <a:cs typeface="Open Sans"/>
            </a:rPr>
            <a:t>Start Hypercare Support</a:t>
          </a:r>
        </a:p>
      </dgm:t>
    </dgm:pt>
    <dgm:pt modelId="{D72806E2-D48D-488A-8185-D1C68A39FA66}" type="parTrans" cxnId="{8A9A8C30-831D-47D3-8936-194DF528BC43}">
      <dgm:prSet/>
      <dgm:spPr/>
    </dgm:pt>
    <dgm:pt modelId="{6D3A3E2F-7885-413D-B40A-1FD99D711F0A}" type="sibTrans" cxnId="{8A9A8C30-831D-47D3-8936-194DF528BC43}">
      <dgm:prSet/>
      <dgm:spPr/>
    </dgm:pt>
    <dgm:pt modelId="{95B7A0F2-4500-431D-883C-D6D1F19C36BC}">
      <dgm:prSet phldr="0"/>
      <dgm:spPr/>
      <dgm:t>
        <a:bodyPr/>
        <a:lstStyle/>
        <a:p>
          <a:pPr rtl="0"/>
          <a:r>
            <a:rPr lang="en-US" b="0">
              <a:latin typeface="Arial"/>
              <a:ea typeface="Open Sans"/>
              <a:cs typeface="Open Sans"/>
            </a:rPr>
            <a:t>Hypercare Support Cont.</a:t>
          </a:r>
        </a:p>
      </dgm:t>
    </dgm:pt>
    <dgm:pt modelId="{42581769-1A0D-4407-90F4-1C5A3CFA6A04}" type="parTrans" cxnId="{FE0ECFC4-DE6C-468F-BB61-465631B11C21}">
      <dgm:prSet/>
      <dgm:spPr/>
    </dgm:pt>
    <dgm:pt modelId="{0C01C235-8DFE-42D4-AD80-94840E27A574}" type="sibTrans" cxnId="{FE0ECFC4-DE6C-468F-BB61-465631B11C21}">
      <dgm:prSet/>
      <dgm:spPr/>
    </dgm:pt>
    <dgm:pt modelId="{CBDAF6E1-F354-4287-BA7A-4684A1056A96}">
      <dgm:prSet phldr="0"/>
      <dgm:spPr/>
      <dgm:t>
        <a:bodyPr/>
        <a:lstStyle/>
        <a:p>
          <a:pPr rtl="0"/>
          <a:r>
            <a:rPr lang="en-US" b="0">
              <a:latin typeface="Arial"/>
              <a:ea typeface="Open Sans"/>
              <a:cs typeface="Open Sans"/>
            </a:rPr>
            <a:t>Bayer Partner Event</a:t>
          </a:r>
        </a:p>
      </dgm:t>
    </dgm:pt>
    <dgm:pt modelId="{EDD6E6B6-0D1F-473B-9061-CA3B8E57ED75}" type="parTrans" cxnId="{960BC3FE-9922-4D39-A95B-229ED383A22B}">
      <dgm:prSet/>
      <dgm:spPr/>
    </dgm:pt>
    <dgm:pt modelId="{F398A45E-0E94-4ABF-81DE-30756E0D0EBA}" type="sibTrans" cxnId="{960BC3FE-9922-4D39-A95B-229ED383A22B}">
      <dgm:prSet/>
      <dgm:spPr/>
    </dgm:pt>
    <dgm:pt modelId="{0C758220-A7D7-4C2D-8C4D-13DA80F43F98}">
      <dgm:prSet phldr="0"/>
      <dgm:spPr/>
      <dgm:t>
        <a:bodyPr/>
        <a:lstStyle/>
        <a:p>
          <a:r>
            <a:rPr lang="en-US" b="0">
              <a:latin typeface="Arial"/>
              <a:ea typeface="Open Sans"/>
              <a:cs typeface="Open Sans"/>
            </a:rPr>
            <a:t>PROD Deployment</a:t>
          </a:r>
        </a:p>
      </dgm:t>
    </dgm:pt>
    <dgm:pt modelId="{816D262A-7DC0-4093-B7D5-5100AC498C2F}" type="parTrans" cxnId="{A25874EA-458E-4091-9D58-4F1C1AA58A06}">
      <dgm:prSet/>
      <dgm:spPr/>
    </dgm:pt>
    <dgm:pt modelId="{ACD7FAE1-D6B6-4F34-8043-47B1E10FA971}" type="sibTrans" cxnId="{A25874EA-458E-4091-9D58-4F1C1AA58A06}">
      <dgm:prSet/>
      <dgm:spPr/>
    </dgm:pt>
    <dgm:pt modelId="{2BA22D22-E69B-48A7-93E8-8B1DF4F04D37}">
      <dgm:prSet phldr="0"/>
      <dgm:spPr/>
      <dgm:t>
        <a:bodyPr/>
        <a:lstStyle/>
        <a:p>
          <a:pPr rtl="0"/>
          <a:r>
            <a:rPr lang="en-US" b="0">
              <a:solidFill>
                <a:schemeClr val="tx2">
                  <a:lumMod val="50000"/>
                  <a:lumOff val="50000"/>
                </a:schemeClr>
              </a:solidFill>
              <a:latin typeface="Arial"/>
              <a:ea typeface="Calibri"/>
              <a:cs typeface="Calibri"/>
            </a:rPr>
            <a:t>Complete Intake Form on POP Site</a:t>
          </a:r>
          <a:r>
            <a:rPr lang="en-US" b="0">
              <a:solidFill>
                <a:schemeClr val="tx2">
                  <a:lumMod val="50000"/>
                  <a:lumOff val="50000"/>
                </a:schemeClr>
              </a:solidFill>
              <a:latin typeface="Arial"/>
              <a:ea typeface="Open Sans Semibold"/>
              <a:cs typeface="Calibri"/>
            </a:rPr>
            <a:t> (</a:t>
          </a:r>
          <a:r>
            <a:rPr lang="en-US" b="0">
              <a:solidFill>
                <a:srgbClr val="7030A0"/>
              </a:solidFill>
              <a:latin typeface="Arial"/>
              <a:ea typeface="Open Sans Semibold"/>
              <a:cs typeface="Calibri"/>
            </a:rPr>
            <a:t>By Apr-19</a:t>
          </a:r>
          <a:r>
            <a:rPr lang="en-US" b="0">
              <a:solidFill>
                <a:schemeClr val="tx2">
                  <a:lumMod val="50000"/>
                  <a:lumOff val="50000"/>
                </a:schemeClr>
              </a:solidFill>
              <a:latin typeface="Arial"/>
              <a:ea typeface="Open Sans Semibold"/>
              <a:cs typeface="Calibri"/>
            </a:rPr>
            <a:t>)</a:t>
          </a:r>
        </a:p>
      </dgm:t>
    </dgm:pt>
    <dgm:pt modelId="{45C6C9CB-3922-4F23-8B26-F4C094ED0433}" type="parTrans" cxnId="{43E601FD-1435-41BC-8C23-78A5E3AACD83}">
      <dgm:prSet/>
      <dgm:spPr/>
    </dgm:pt>
    <dgm:pt modelId="{A72A6D45-1637-44CA-B8F8-F21530C5271A}" type="sibTrans" cxnId="{43E601FD-1435-41BC-8C23-78A5E3AACD83}">
      <dgm:prSet/>
      <dgm:spPr/>
    </dgm:pt>
    <dgm:pt modelId="{7B79383A-B8A7-4BA7-942E-89B88C6FC0EF}">
      <dgm:prSet phldr="0"/>
      <dgm:spPr/>
      <dgm:t>
        <a:bodyPr/>
        <a:lstStyle/>
        <a:p>
          <a:pPr rtl="0"/>
          <a:r>
            <a:rPr lang="en-US" b="0">
              <a:solidFill>
                <a:srgbClr val="000000"/>
              </a:solidFill>
              <a:latin typeface="Arial"/>
              <a:ea typeface="Open Sans"/>
              <a:cs typeface="Calibri"/>
            </a:rPr>
            <a:t>Partner Onboarding</a:t>
          </a:r>
          <a:r>
            <a:rPr lang="en-US" b="0">
              <a:latin typeface="Arial"/>
              <a:ea typeface="Open Sans"/>
              <a:cs typeface="Calibri"/>
            </a:rPr>
            <a:t> Cint.</a:t>
          </a:r>
          <a:endParaRPr lang="en-US" b="0">
            <a:latin typeface="Arial"/>
            <a:ea typeface="Open Sans"/>
            <a:cs typeface="Open Sans"/>
          </a:endParaRPr>
        </a:p>
      </dgm:t>
    </dgm:pt>
    <dgm:pt modelId="{1DAAB813-D528-430E-9434-892FED8F982A}" type="parTrans" cxnId="{08B33470-6D9F-4AEF-8978-C14027F5A0CC}">
      <dgm:prSet/>
      <dgm:spPr/>
    </dgm:pt>
    <dgm:pt modelId="{988497D0-F87A-404D-97D6-051DEAF506D8}" type="sibTrans" cxnId="{08B33470-6D9F-4AEF-8978-C14027F5A0CC}">
      <dgm:prSet/>
      <dgm:spPr/>
    </dgm:pt>
    <dgm:pt modelId="{0B191F79-F048-42B4-AC50-CB59753695B4}">
      <dgm:prSet phldr="0"/>
      <dgm:spPr/>
      <dgm:t>
        <a:bodyPr/>
        <a:lstStyle/>
        <a:p>
          <a:pPr rtl="0"/>
          <a:r>
            <a:rPr lang="en-US" b="0">
              <a:latin typeface="Arial"/>
              <a:ea typeface="Open Sans Semibold"/>
              <a:cs typeface="Calibri"/>
            </a:rPr>
            <a:t>Partner Onboarding Webinar</a:t>
          </a:r>
        </a:p>
      </dgm:t>
    </dgm:pt>
    <dgm:pt modelId="{9A1FB6E3-F904-4EE9-8D66-4782FCA4CA3F}" type="parTrans" cxnId="{717B2E2E-3017-4465-B7E3-0C99A8247FC5}">
      <dgm:prSet/>
      <dgm:spPr/>
    </dgm:pt>
    <dgm:pt modelId="{6DE8131A-96B7-4C77-966D-D889DCEFF8D6}" type="sibTrans" cxnId="{717B2E2E-3017-4465-B7E3-0C99A8247FC5}">
      <dgm:prSet/>
      <dgm:spPr/>
    </dgm:pt>
    <dgm:pt modelId="{C1AD3F43-D625-4B45-ACCC-18C9A44CCADB}">
      <dgm:prSet phldr="0"/>
      <dgm:spPr/>
      <dgm:t>
        <a:bodyPr/>
        <a:lstStyle/>
        <a:p>
          <a:pPr rtl="0"/>
          <a:r>
            <a:rPr lang="en-US" b="0">
              <a:latin typeface="Arial"/>
              <a:ea typeface="Open Sans"/>
              <a:cs typeface="Open Sans"/>
            </a:rPr>
            <a:t>Partner Training</a:t>
          </a:r>
          <a:endParaRPr lang="en-US" b="0">
            <a:latin typeface="Arial"/>
            <a:ea typeface="Open Sans"/>
            <a:cs typeface="Calibri"/>
          </a:endParaRPr>
        </a:p>
      </dgm:t>
    </dgm:pt>
    <dgm:pt modelId="{4587E8DF-C381-44D7-ADBA-EECCF086A90E}" type="parTrans" cxnId="{1EDE2EB3-821E-4993-8EE3-C3D1414444C7}">
      <dgm:prSet/>
      <dgm:spPr/>
    </dgm:pt>
    <dgm:pt modelId="{9183285E-D507-4FAC-A66D-AAD753B62BD5}" type="sibTrans" cxnId="{1EDE2EB3-821E-4993-8EE3-C3D1414444C7}">
      <dgm:prSet/>
      <dgm:spPr/>
    </dgm:pt>
    <dgm:pt modelId="{A75A1D64-749A-440F-92F1-521D793AFA47}" type="pres">
      <dgm:prSet presAssocID="{D823FD70-44D7-47D7-8538-D37903DFB24C}" presName="Name0" presStyleCnt="0">
        <dgm:presLayoutVars>
          <dgm:chMax/>
          <dgm:chPref/>
          <dgm:animLvl val="lvl"/>
        </dgm:presLayoutVars>
      </dgm:prSet>
      <dgm:spPr/>
    </dgm:pt>
    <dgm:pt modelId="{E4A1A823-5549-4056-BFDA-7DE0CCB523C6}" type="pres">
      <dgm:prSet presAssocID="{B3F60AC3-5350-4BFD-A368-18515E1969DE}" presName="composite1" presStyleCnt="0"/>
      <dgm:spPr/>
    </dgm:pt>
    <dgm:pt modelId="{BD55EA29-E235-4FFE-9DA4-8168797B97E8}" type="pres">
      <dgm:prSet presAssocID="{B3F60AC3-5350-4BFD-A368-18515E1969DE}" presName="parent1" presStyleLbl="alignNode1" presStyleIdx="0" presStyleCnt="7">
        <dgm:presLayoutVars>
          <dgm:chMax val="1"/>
          <dgm:chPref val="1"/>
          <dgm:bulletEnabled val="1"/>
        </dgm:presLayoutVars>
      </dgm:prSet>
      <dgm:spPr/>
    </dgm:pt>
    <dgm:pt modelId="{AB126117-1961-463F-AC22-F371253C3993}" type="pres">
      <dgm:prSet presAssocID="{B3F60AC3-5350-4BFD-A368-18515E1969DE}" presName="Childtext1" presStyleLbl="revTx" presStyleIdx="0" presStyleCnt="7">
        <dgm:presLayoutVars>
          <dgm:bulletEnabled val="1"/>
        </dgm:presLayoutVars>
      </dgm:prSet>
      <dgm:spPr/>
    </dgm:pt>
    <dgm:pt modelId="{FCDB31F2-0A3B-4B4E-A879-7FD49B1EB89C}" type="pres">
      <dgm:prSet presAssocID="{B3F60AC3-5350-4BFD-A368-18515E1969DE}" presName="ConnectLine1" presStyleLbl="sibTrans1D1" presStyleIdx="0" presStyleCnt="7"/>
      <dgm:spPr>
        <a:noFill/>
        <a:ln w="9525" cap="flat" cmpd="sng" algn="ctr">
          <a:solidFill>
            <a:schemeClr val="accent1">
              <a:hueOff val="0"/>
              <a:satOff val="0"/>
              <a:lumOff val="0"/>
              <a:alphaOff val="0"/>
            </a:schemeClr>
          </a:solidFill>
          <a:prstDash val="dash"/>
        </a:ln>
        <a:effectLst/>
      </dgm:spPr>
    </dgm:pt>
    <dgm:pt modelId="{8E3B9D22-7DBE-4B01-8C46-08491362BA17}" type="pres">
      <dgm:prSet presAssocID="{B3F60AC3-5350-4BFD-A368-18515E1969DE}" presName="ConnectLineEnd1" presStyleLbl="lnNode1" presStyleIdx="0" presStyleCnt="7"/>
      <dgm:spPr/>
    </dgm:pt>
    <dgm:pt modelId="{9B265539-A779-4D71-AFEC-6B3C9A54EE0F}" type="pres">
      <dgm:prSet presAssocID="{B3F60AC3-5350-4BFD-A368-18515E1969DE}" presName="EmptyPane1" presStyleCnt="0"/>
      <dgm:spPr/>
    </dgm:pt>
    <dgm:pt modelId="{2C2B137D-E3BC-49E6-9D67-B14058BAA2FF}" type="pres">
      <dgm:prSet presAssocID="{09103E3D-90BA-4A34-826A-00899B53DA2C}" presName="spaceBetweenRectangles1" presStyleCnt="0"/>
      <dgm:spPr/>
    </dgm:pt>
    <dgm:pt modelId="{867113B0-B521-4B1D-9422-46E892666B6A}" type="pres">
      <dgm:prSet presAssocID="{CF1D813F-9BE0-40DF-8C24-998893407965}" presName="composite1" presStyleCnt="0"/>
      <dgm:spPr/>
    </dgm:pt>
    <dgm:pt modelId="{DD6CCEEA-A955-4A70-A4ED-7B539A7E9C61}" type="pres">
      <dgm:prSet presAssocID="{CF1D813F-9BE0-40DF-8C24-998893407965}" presName="parent1" presStyleLbl="alignNode1" presStyleIdx="1" presStyleCnt="7">
        <dgm:presLayoutVars>
          <dgm:chMax val="1"/>
          <dgm:chPref val="1"/>
          <dgm:bulletEnabled val="1"/>
        </dgm:presLayoutVars>
      </dgm:prSet>
      <dgm:spPr/>
    </dgm:pt>
    <dgm:pt modelId="{2F94C14A-D042-4365-86B7-1D1BD838A2C5}" type="pres">
      <dgm:prSet presAssocID="{CF1D813F-9BE0-40DF-8C24-998893407965}" presName="Childtext1" presStyleLbl="revTx" presStyleIdx="1" presStyleCnt="7">
        <dgm:presLayoutVars>
          <dgm:bulletEnabled val="1"/>
        </dgm:presLayoutVars>
      </dgm:prSet>
      <dgm:spPr/>
    </dgm:pt>
    <dgm:pt modelId="{2D110591-673C-47DD-88ED-CE2077FE44AB}" type="pres">
      <dgm:prSet presAssocID="{CF1D813F-9BE0-40DF-8C24-998893407965}" presName="ConnectLine1" presStyleLbl="sibTrans1D1" presStyleIdx="1" presStyleCnt="7"/>
      <dgm:spPr>
        <a:noFill/>
        <a:ln w="9525" cap="flat" cmpd="sng" algn="ctr">
          <a:solidFill>
            <a:schemeClr val="accent1">
              <a:hueOff val="0"/>
              <a:satOff val="0"/>
              <a:lumOff val="0"/>
              <a:alphaOff val="0"/>
            </a:schemeClr>
          </a:solidFill>
          <a:prstDash val="dash"/>
        </a:ln>
        <a:effectLst/>
      </dgm:spPr>
    </dgm:pt>
    <dgm:pt modelId="{24BB4A27-4F46-4F1F-86C1-30030437D0B1}" type="pres">
      <dgm:prSet presAssocID="{CF1D813F-9BE0-40DF-8C24-998893407965}" presName="ConnectLineEnd1" presStyleLbl="lnNode1" presStyleIdx="1" presStyleCnt="7"/>
      <dgm:spPr/>
    </dgm:pt>
    <dgm:pt modelId="{7B15BDAE-5DCA-488D-8E6D-0EE2725ED817}" type="pres">
      <dgm:prSet presAssocID="{CF1D813F-9BE0-40DF-8C24-998893407965}" presName="EmptyPane1" presStyleCnt="0"/>
      <dgm:spPr/>
    </dgm:pt>
    <dgm:pt modelId="{EDB84695-E0EC-464A-ABE6-3C29A3BD2D9B}" type="pres">
      <dgm:prSet presAssocID="{7A8C42ED-F16B-47A9-8D09-52222581D92F}" presName="spaceBetweenRectangles1" presStyleCnt="0"/>
      <dgm:spPr/>
    </dgm:pt>
    <dgm:pt modelId="{2C98CEDA-FF9E-4713-A02E-3138828863EB}" type="pres">
      <dgm:prSet presAssocID="{72728271-A8B5-4767-AE3D-A33FDBF457D1}" presName="composite1" presStyleCnt="0"/>
      <dgm:spPr/>
    </dgm:pt>
    <dgm:pt modelId="{640F8F8E-F05B-49F3-B5AD-CE144E3515C4}" type="pres">
      <dgm:prSet presAssocID="{72728271-A8B5-4767-AE3D-A33FDBF457D1}" presName="parent1" presStyleLbl="alignNode1" presStyleIdx="2" presStyleCnt="7">
        <dgm:presLayoutVars>
          <dgm:chMax val="1"/>
          <dgm:chPref val="1"/>
          <dgm:bulletEnabled val="1"/>
        </dgm:presLayoutVars>
      </dgm:prSet>
      <dgm:spPr/>
    </dgm:pt>
    <dgm:pt modelId="{EBC4D38D-9F90-4EA0-BB8B-C1A35549053F}" type="pres">
      <dgm:prSet presAssocID="{72728271-A8B5-4767-AE3D-A33FDBF457D1}" presName="Childtext1" presStyleLbl="revTx" presStyleIdx="2" presStyleCnt="7">
        <dgm:presLayoutVars>
          <dgm:bulletEnabled val="1"/>
        </dgm:presLayoutVars>
      </dgm:prSet>
      <dgm:spPr/>
    </dgm:pt>
    <dgm:pt modelId="{13750397-4ED6-4503-840E-D44ED1A4B45C}" type="pres">
      <dgm:prSet presAssocID="{72728271-A8B5-4767-AE3D-A33FDBF457D1}" presName="ConnectLine1" presStyleLbl="sibTrans1D1" presStyleIdx="2" presStyleCnt="7"/>
      <dgm:spPr>
        <a:noFill/>
        <a:ln w="9525" cap="flat" cmpd="sng" algn="ctr">
          <a:solidFill>
            <a:schemeClr val="accent1">
              <a:hueOff val="0"/>
              <a:satOff val="0"/>
              <a:lumOff val="0"/>
              <a:alphaOff val="0"/>
            </a:schemeClr>
          </a:solidFill>
          <a:prstDash val="dash"/>
        </a:ln>
        <a:effectLst/>
      </dgm:spPr>
    </dgm:pt>
    <dgm:pt modelId="{49E53299-E2BB-43D2-BFFB-0736B6FB6000}" type="pres">
      <dgm:prSet presAssocID="{72728271-A8B5-4767-AE3D-A33FDBF457D1}" presName="ConnectLineEnd1" presStyleLbl="lnNode1" presStyleIdx="2" presStyleCnt="7"/>
      <dgm:spPr/>
    </dgm:pt>
    <dgm:pt modelId="{A056EE13-3E3C-4687-8017-79C0C6A7D9A4}" type="pres">
      <dgm:prSet presAssocID="{72728271-A8B5-4767-AE3D-A33FDBF457D1}" presName="EmptyPane1" presStyleCnt="0"/>
      <dgm:spPr/>
    </dgm:pt>
    <dgm:pt modelId="{27F02727-05FF-423E-8C32-F87F07E18B67}" type="pres">
      <dgm:prSet presAssocID="{9DA05390-CA95-477A-BF4C-C1557177DA9F}" presName="spaceBetweenRectangles1" presStyleCnt="0"/>
      <dgm:spPr/>
    </dgm:pt>
    <dgm:pt modelId="{1C84132A-F5C5-4612-B588-96305FEE56CB}" type="pres">
      <dgm:prSet presAssocID="{0934C228-24AC-4958-BAD2-579C5C5ECF0B}" presName="composite1" presStyleCnt="0"/>
      <dgm:spPr/>
    </dgm:pt>
    <dgm:pt modelId="{BA3773AC-C050-4F51-9CD9-9E478E5A7D9F}" type="pres">
      <dgm:prSet presAssocID="{0934C228-24AC-4958-BAD2-579C5C5ECF0B}" presName="parent1" presStyleLbl="alignNode1" presStyleIdx="3" presStyleCnt="7">
        <dgm:presLayoutVars>
          <dgm:chMax val="1"/>
          <dgm:chPref val="1"/>
          <dgm:bulletEnabled val="1"/>
        </dgm:presLayoutVars>
      </dgm:prSet>
      <dgm:spPr/>
    </dgm:pt>
    <dgm:pt modelId="{E4422301-E1E3-439B-9E0F-68D1C2BBA157}" type="pres">
      <dgm:prSet presAssocID="{0934C228-24AC-4958-BAD2-579C5C5ECF0B}" presName="Childtext1" presStyleLbl="revTx" presStyleIdx="3" presStyleCnt="7">
        <dgm:presLayoutVars>
          <dgm:bulletEnabled val="1"/>
        </dgm:presLayoutVars>
      </dgm:prSet>
      <dgm:spPr/>
    </dgm:pt>
    <dgm:pt modelId="{66E959B7-EB78-4841-9CA7-439964D36184}" type="pres">
      <dgm:prSet presAssocID="{0934C228-24AC-4958-BAD2-579C5C5ECF0B}" presName="ConnectLine1" presStyleLbl="sibTrans1D1" presStyleIdx="3" presStyleCnt="7"/>
      <dgm:spPr>
        <a:noFill/>
        <a:ln w="9525" cap="flat" cmpd="sng" algn="ctr">
          <a:solidFill>
            <a:schemeClr val="accent1">
              <a:hueOff val="0"/>
              <a:satOff val="0"/>
              <a:lumOff val="0"/>
              <a:alphaOff val="0"/>
            </a:schemeClr>
          </a:solidFill>
          <a:prstDash val="dash"/>
        </a:ln>
        <a:effectLst/>
      </dgm:spPr>
    </dgm:pt>
    <dgm:pt modelId="{CE8ECE16-266C-447C-B92C-8CD0D337697E}" type="pres">
      <dgm:prSet presAssocID="{0934C228-24AC-4958-BAD2-579C5C5ECF0B}" presName="ConnectLineEnd1" presStyleLbl="lnNode1" presStyleIdx="3" presStyleCnt="7"/>
      <dgm:spPr/>
    </dgm:pt>
    <dgm:pt modelId="{4F8F1012-7DD8-49E1-9DFC-81C851034A2C}" type="pres">
      <dgm:prSet presAssocID="{0934C228-24AC-4958-BAD2-579C5C5ECF0B}" presName="EmptyPane1" presStyleCnt="0"/>
      <dgm:spPr/>
    </dgm:pt>
    <dgm:pt modelId="{39D0EF0D-3C65-41BA-A683-65648E31475B}" type="pres">
      <dgm:prSet presAssocID="{B3E7CECF-59AF-44A1-9C34-008A0D940780}" presName="spaceBetweenRectangles1" presStyleCnt="0"/>
      <dgm:spPr/>
    </dgm:pt>
    <dgm:pt modelId="{EC6346F5-F74C-4305-8336-F0E47B9DA1BF}" type="pres">
      <dgm:prSet presAssocID="{4364E18C-2CD6-4A1A-ADC4-16292AE301AE}" presName="composite1" presStyleCnt="0"/>
      <dgm:spPr/>
    </dgm:pt>
    <dgm:pt modelId="{082004D2-97C4-421B-82CE-9A95EE030598}" type="pres">
      <dgm:prSet presAssocID="{4364E18C-2CD6-4A1A-ADC4-16292AE301AE}" presName="parent1" presStyleLbl="alignNode1" presStyleIdx="4" presStyleCnt="7">
        <dgm:presLayoutVars>
          <dgm:chMax val="1"/>
          <dgm:chPref val="1"/>
          <dgm:bulletEnabled val="1"/>
        </dgm:presLayoutVars>
      </dgm:prSet>
      <dgm:spPr/>
    </dgm:pt>
    <dgm:pt modelId="{A85663A9-4B3E-4AB5-A3FA-FF488D9B8EDC}" type="pres">
      <dgm:prSet presAssocID="{4364E18C-2CD6-4A1A-ADC4-16292AE301AE}" presName="Childtext1" presStyleLbl="revTx" presStyleIdx="4" presStyleCnt="7">
        <dgm:presLayoutVars>
          <dgm:bulletEnabled val="1"/>
        </dgm:presLayoutVars>
      </dgm:prSet>
      <dgm:spPr/>
    </dgm:pt>
    <dgm:pt modelId="{F8918865-9AED-4E5A-850F-B411E3EB5958}" type="pres">
      <dgm:prSet presAssocID="{4364E18C-2CD6-4A1A-ADC4-16292AE301AE}" presName="ConnectLine1" presStyleLbl="sibTrans1D1" presStyleIdx="4" presStyleCnt="7"/>
      <dgm:spPr>
        <a:noFill/>
        <a:ln w="9525" cap="flat" cmpd="sng" algn="ctr">
          <a:solidFill>
            <a:schemeClr val="accent1">
              <a:hueOff val="0"/>
              <a:satOff val="0"/>
              <a:lumOff val="0"/>
              <a:alphaOff val="0"/>
            </a:schemeClr>
          </a:solidFill>
          <a:prstDash val="dash"/>
        </a:ln>
        <a:effectLst/>
      </dgm:spPr>
    </dgm:pt>
    <dgm:pt modelId="{6007C1E5-F5E2-43CD-8B8F-E54DB2042E4B}" type="pres">
      <dgm:prSet presAssocID="{4364E18C-2CD6-4A1A-ADC4-16292AE301AE}" presName="ConnectLineEnd1" presStyleLbl="lnNode1" presStyleIdx="4" presStyleCnt="7"/>
      <dgm:spPr/>
    </dgm:pt>
    <dgm:pt modelId="{A9AF031B-79A6-4541-A204-B3BD70CEDC4F}" type="pres">
      <dgm:prSet presAssocID="{4364E18C-2CD6-4A1A-ADC4-16292AE301AE}" presName="EmptyPane1" presStyleCnt="0"/>
      <dgm:spPr/>
    </dgm:pt>
    <dgm:pt modelId="{795FAAB3-C39B-42D1-8C0C-13B2976F46A5}" type="pres">
      <dgm:prSet presAssocID="{C509FC99-3223-45D0-9D3D-5CF7B5EAC217}" presName="spaceBetweenRectangles1" presStyleCnt="0"/>
      <dgm:spPr/>
    </dgm:pt>
    <dgm:pt modelId="{93D9A5BF-5561-46C8-A3FC-C8D00638ED78}" type="pres">
      <dgm:prSet presAssocID="{0C136222-98D2-4095-8722-47FC2A4753CF}" presName="composite1" presStyleCnt="0"/>
      <dgm:spPr/>
    </dgm:pt>
    <dgm:pt modelId="{8F662E54-535F-4519-8473-6D530DB5A9CA}" type="pres">
      <dgm:prSet presAssocID="{0C136222-98D2-4095-8722-47FC2A4753CF}" presName="parent1" presStyleLbl="alignNode1" presStyleIdx="5" presStyleCnt="7">
        <dgm:presLayoutVars>
          <dgm:chMax val="1"/>
          <dgm:chPref val="1"/>
          <dgm:bulletEnabled val="1"/>
        </dgm:presLayoutVars>
      </dgm:prSet>
      <dgm:spPr/>
    </dgm:pt>
    <dgm:pt modelId="{49C1000A-A309-4A49-A2DD-5039FF6AF941}" type="pres">
      <dgm:prSet presAssocID="{0C136222-98D2-4095-8722-47FC2A4753CF}" presName="Childtext1" presStyleLbl="revTx" presStyleIdx="5" presStyleCnt="7">
        <dgm:presLayoutVars>
          <dgm:bulletEnabled val="1"/>
        </dgm:presLayoutVars>
      </dgm:prSet>
      <dgm:spPr/>
    </dgm:pt>
    <dgm:pt modelId="{1C5BB568-6EB3-4800-9A73-1D036AE66555}" type="pres">
      <dgm:prSet presAssocID="{0C136222-98D2-4095-8722-47FC2A4753CF}" presName="ConnectLine1" presStyleLbl="sibTrans1D1" presStyleIdx="5" presStyleCnt="7"/>
      <dgm:spPr>
        <a:noFill/>
        <a:ln w="9525" cap="flat" cmpd="sng" algn="ctr">
          <a:solidFill>
            <a:schemeClr val="accent1">
              <a:hueOff val="0"/>
              <a:satOff val="0"/>
              <a:lumOff val="0"/>
              <a:alphaOff val="0"/>
            </a:schemeClr>
          </a:solidFill>
          <a:prstDash val="dash"/>
        </a:ln>
        <a:effectLst/>
      </dgm:spPr>
    </dgm:pt>
    <dgm:pt modelId="{C2C4ABB1-38FF-4838-B9A4-667624602B7D}" type="pres">
      <dgm:prSet presAssocID="{0C136222-98D2-4095-8722-47FC2A4753CF}" presName="ConnectLineEnd1" presStyleLbl="lnNode1" presStyleIdx="5" presStyleCnt="7"/>
      <dgm:spPr/>
    </dgm:pt>
    <dgm:pt modelId="{BE156E1C-533F-40C9-AB12-14EF5450A8EE}" type="pres">
      <dgm:prSet presAssocID="{0C136222-98D2-4095-8722-47FC2A4753CF}" presName="EmptyPane1" presStyleCnt="0"/>
      <dgm:spPr/>
    </dgm:pt>
    <dgm:pt modelId="{9BF84148-01A5-4626-A45A-3F1BC76E4EF8}" type="pres">
      <dgm:prSet presAssocID="{B953A834-372A-43C8-B50C-D69935857DB7}" presName="spaceBetweenRectangles1" presStyleCnt="0"/>
      <dgm:spPr/>
    </dgm:pt>
    <dgm:pt modelId="{7EE4AE54-9519-4590-B081-4DD6B413C605}" type="pres">
      <dgm:prSet presAssocID="{DF00B630-86FF-43B3-8C31-E26A26768214}" presName="composite1" presStyleCnt="0"/>
      <dgm:spPr/>
    </dgm:pt>
    <dgm:pt modelId="{CC961D27-6DD7-46D2-84E8-628130B85BBE}" type="pres">
      <dgm:prSet presAssocID="{DF00B630-86FF-43B3-8C31-E26A26768214}" presName="parent1" presStyleLbl="alignNode1" presStyleIdx="6" presStyleCnt="7">
        <dgm:presLayoutVars>
          <dgm:chMax val="1"/>
          <dgm:chPref val="1"/>
          <dgm:bulletEnabled val="1"/>
        </dgm:presLayoutVars>
      </dgm:prSet>
      <dgm:spPr/>
    </dgm:pt>
    <dgm:pt modelId="{5B4A0BC9-152F-41E5-A4CF-CD87A00D3E48}" type="pres">
      <dgm:prSet presAssocID="{DF00B630-86FF-43B3-8C31-E26A26768214}" presName="Childtext1" presStyleLbl="revTx" presStyleIdx="6" presStyleCnt="7">
        <dgm:presLayoutVars>
          <dgm:bulletEnabled val="1"/>
        </dgm:presLayoutVars>
      </dgm:prSet>
      <dgm:spPr/>
    </dgm:pt>
    <dgm:pt modelId="{881546AB-28DB-4FB8-8899-A2C6B5B912B4}" type="pres">
      <dgm:prSet presAssocID="{DF00B630-86FF-43B3-8C31-E26A26768214}" presName="ConnectLine1" presStyleLbl="sibTrans1D1" presStyleIdx="6" presStyleCnt="7"/>
      <dgm:spPr>
        <a:noFill/>
        <a:ln w="9525" cap="flat" cmpd="sng" algn="ctr">
          <a:solidFill>
            <a:schemeClr val="accent1">
              <a:hueOff val="0"/>
              <a:satOff val="0"/>
              <a:lumOff val="0"/>
              <a:alphaOff val="0"/>
            </a:schemeClr>
          </a:solidFill>
          <a:prstDash val="dash"/>
        </a:ln>
        <a:effectLst/>
      </dgm:spPr>
    </dgm:pt>
    <dgm:pt modelId="{896685C5-77F5-4DA9-A0D2-F02351751296}" type="pres">
      <dgm:prSet presAssocID="{DF00B630-86FF-43B3-8C31-E26A26768214}" presName="ConnectLineEnd1" presStyleLbl="lnNode1" presStyleIdx="6" presStyleCnt="7"/>
      <dgm:spPr/>
    </dgm:pt>
    <dgm:pt modelId="{22BB8226-F310-4A60-906E-AD3A3CECFC24}" type="pres">
      <dgm:prSet presAssocID="{DF00B630-86FF-43B3-8C31-E26A26768214}" presName="EmptyPane1" presStyleCnt="0"/>
      <dgm:spPr/>
    </dgm:pt>
  </dgm:ptLst>
  <dgm:cxnLst>
    <dgm:cxn modelId="{A9A50A06-CD74-4F97-9DFE-A3032D9C3FC5}" srcId="{0934C228-24AC-4958-BAD2-579C5C5ECF0B}" destId="{616978FB-EBEC-49C1-A6B3-FD2B3BA9672B}" srcOrd="3" destOrd="0" parTransId="{4D42FF7D-47B2-4DCF-9E61-2F7C65502BAE}" sibTransId="{BE9368A8-C5F4-41E5-8D4F-0D2824A49C94}"/>
    <dgm:cxn modelId="{51400D08-870C-4E6E-8F44-996323D1A978}" srcId="{D823FD70-44D7-47D7-8538-D37903DFB24C}" destId="{4364E18C-2CD6-4A1A-ADC4-16292AE301AE}" srcOrd="4" destOrd="0" parTransId="{0CEF4E47-1AB4-4DD6-B90C-330946BC1D05}" sibTransId="{C509FC99-3223-45D0-9D3D-5CF7B5EAC217}"/>
    <dgm:cxn modelId="{1DBEC311-23E1-44B8-B569-24B946D57EEC}" type="presOf" srcId="{2BA22D22-E69B-48A7-93E8-8B1DF4F04D37}" destId="{E4422301-E1E3-439B-9E0F-68D1C2BBA157}" srcOrd="0" destOrd="1" presId="urn:microsoft.com/office/officeart/2016/7/layout/RoundedRectangleTimeline"/>
    <dgm:cxn modelId="{FCFB6C14-0EF5-4FAB-AD78-CB23D5180CC9}" srcId="{72728271-A8B5-4767-AE3D-A33FDBF457D1}" destId="{8131D447-9B68-478E-9740-07F443A7B58D}" srcOrd="0" destOrd="0" parTransId="{C5562241-B91D-41E4-94D4-9A1CFB0A1B94}" sibTransId="{CEEF1FC5-C87A-4553-A4FF-76B25776AAA1}"/>
    <dgm:cxn modelId="{392DDC16-A9D7-4FBA-A69C-22EBC30E8B29}" srcId="{D823FD70-44D7-47D7-8538-D37903DFB24C}" destId="{CF1D813F-9BE0-40DF-8C24-998893407965}" srcOrd="1" destOrd="0" parTransId="{2F031ECE-F243-4543-B3C9-3FB3865042C3}" sibTransId="{7A8C42ED-F16B-47A9-8D09-52222581D92F}"/>
    <dgm:cxn modelId="{19E5361B-1A0E-425A-AA96-A931E006CBC2}" type="presOf" srcId="{DF00B630-86FF-43B3-8C31-E26A26768214}" destId="{CC961D27-6DD7-46D2-84E8-628130B85BBE}" srcOrd="0" destOrd="0" presId="urn:microsoft.com/office/officeart/2016/7/layout/RoundedRectangleTimeline"/>
    <dgm:cxn modelId="{EF0B3F26-A2D0-4202-AC8E-62BC1F0511D9}" type="presOf" srcId="{0C136222-98D2-4095-8722-47FC2A4753CF}" destId="{8F662E54-535F-4519-8473-6D530DB5A9CA}" srcOrd="0" destOrd="0" presId="urn:microsoft.com/office/officeart/2016/7/layout/RoundedRectangleTimeline"/>
    <dgm:cxn modelId="{57AFBC29-1E76-4A0F-BF2A-2D4B162BCE27}" srcId="{D823FD70-44D7-47D7-8538-D37903DFB24C}" destId="{0C136222-98D2-4095-8722-47FC2A4753CF}" srcOrd="5" destOrd="0" parTransId="{8319E524-C64B-4495-9CD4-FC44605A1364}" sibTransId="{B953A834-372A-43C8-B50C-D69935857DB7}"/>
    <dgm:cxn modelId="{C576E22B-D4DE-4222-A905-32E94020DD50}" type="presOf" srcId="{12E08EC1-AEBB-4C08-A26A-5770078E0FB2}" destId="{2F94C14A-D042-4365-86B7-1D1BD838A2C5}" srcOrd="0" destOrd="1" presId="urn:microsoft.com/office/officeart/2016/7/layout/RoundedRectangleTimeline"/>
    <dgm:cxn modelId="{717B2E2E-3017-4465-B7E3-0C99A8247FC5}" srcId="{0934C228-24AC-4958-BAD2-579C5C5ECF0B}" destId="{0B191F79-F048-42B4-AC50-CB59753695B4}" srcOrd="2" destOrd="0" parTransId="{9A1FB6E3-F904-4EE9-8D66-4782FCA4CA3F}" sibTransId="{6DE8131A-96B7-4C77-966D-D889DCEFF8D6}"/>
    <dgm:cxn modelId="{8A9A8C30-831D-47D3-8936-194DF528BC43}" srcId="{0C136222-98D2-4095-8722-47FC2A4753CF}" destId="{894B23DC-2F64-4CA9-B93F-158699E55F50}" srcOrd="3" destOrd="0" parTransId="{D72806E2-D48D-488A-8185-D1C68A39FA66}" sibTransId="{6D3A3E2F-7885-413D-B40A-1FD99D711F0A}"/>
    <dgm:cxn modelId="{9CD57532-5AD6-43E5-A388-2120A32BDB87}" type="presOf" srcId="{7B79383A-B8A7-4BA7-942E-89B88C6FC0EF}" destId="{49C1000A-A309-4A49-A2DD-5039FF6AF941}" srcOrd="0" destOrd="0" presId="urn:microsoft.com/office/officeart/2016/7/layout/RoundedRectangleTimeline"/>
    <dgm:cxn modelId="{1FCB3835-8619-4988-B31B-569D0EF5BDE7}" type="presOf" srcId="{894B23DC-2F64-4CA9-B93F-158699E55F50}" destId="{49C1000A-A309-4A49-A2DD-5039FF6AF941}" srcOrd="0" destOrd="3" presId="urn:microsoft.com/office/officeart/2016/7/layout/RoundedRectangleTimeline"/>
    <dgm:cxn modelId="{1D2C8239-73D1-42A1-A41E-B00CA51A78A6}" type="presOf" srcId="{0247FCB0-B15C-4E01-A4B9-C1F4EBCD8C92}" destId="{EBC4D38D-9F90-4EA0-BB8B-C1A35549053F}" srcOrd="0" destOrd="2" presId="urn:microsoft.com/office/officeart/2016/7/layout/RoundedRectangleTimeline"/>
    <dgm:cxn modelId="{E99C2C5D-B1BB-4ABE-9EFA-18D799C4ECD5}" type="presOf" srcId="{6A7959D0-BB69-4122-8A6C-42096B7F4C8E}" destId="{AB126117-1961-463F-AC22-F371253C3993}" srcOrd="0" destOrd="0" presId="urn:microsoft.com/office/officeart/2016/7/layout/RoundedRectangleTimeline"/>
    <dgm:cxn modelId="{2DAEE462-9C4D-4E70-BDA2-EE3D073F1A38}" srcId="{4364E18C-2CD6-4A1A-ADC4-16292AE301AE}" destId="{B225F0A8-C3ED-46AD-B1CA-7B32F04E2819}" srcOrd="0" destOrd="0" parTransId="{71AF9C40-BD2E-4FE7-B4BC-EAF20D34EC34}" sibTransId="{0338F913-D2E6-454D-A591-34B32ABC143E}"/>
    <dgm:cxn modelId="{A7843F6E-3148-4B07-950C-FE1F18E584A2}" type="presOf" srcId="{B3F60AC3-5350-4BFD-A368-18515E1969DE}" destId="{BD55EA29-E235-4FFE-9DA4-8168797B97E8}" srcOrd="0" destOrd="0" presId="urn:microsoft.com/office/officeart/2016/7/layout/RoundedRectangleTimeline"/>
    <dgm:cxn modelId="{D131416F-265B-4C19-A296-788ACE255CE7}" srcId="{D823FD70-44D7-47D7-8538-D37903DFB24C}" destId="{0934C228-24AC-4958-BAD2-579C5C5ECF0B}" srcOrd="3" destOrd="0" parTransId="{0B352B3A-204F-40D9-8424-759389C13218}" sibTransId="{B3E7CECF-59AF-44A1-9C34-008A0D940780}"/>
    <dgm:cxn modelId="{08B33470-6D9F-4AEF-8978-C14027F5A0CC}" srcId="{0C136222-98D2-4095-8722-47FC2A4753CF}" destId="{7B79383A-B8A7-4BA7-942E-89B88C6FC0EF}" srcOrd="0" destOrd="0" parTransId="{1DAAB813-D528-430E-9434-892FED8F982A}" sibTransId="{988497D0-F87A-404D-97D6-051DEAF506D8}"/>
    <dgm:cxn modelId="{91675871-C0FA-4ED2-AE0F-ACC09E2212A7}" type="presOf" srcId="{0B191F79-F048-42B4-AC50-CB59753695B4}" destId="{E4422301-E1E3-439B-9E0F-68D1C2BBA157}" srcOrd="0" destOrd="2" presId="urn:microsoft.com/office/officeart/2016/7/layout/RoundedRectangleTimeline"/>
    <dgm:cxn modelId="{9A2AF874-7506-4A9D-AB08-033BC7DBBBCA}" srcId="{CF1D813F-9BE0-40DF-8C24-998893407965}" destId="{12E08EC1-AEBB-4C08-A26A-5770078E0FB2}" srcOrd="1" destOrd="0" parTransId="{05F0E55C-F997-4A12-8721-059E89DE88DC}" sibTransId="{F681916B-4BE2-448B-982C-838228BF056E}"/>
    <dgm:cxn modelId="{EDE04555-4045-479C-94E3-86B9800BEA90}" srcId="{B3F60AC3-5350-4BFD-A368-18515E1969DE}" destId="{6A7959D0-BB69-4122-8A6C-42096B7F4C8E}" srcOrd="0" destOrd="0" parTransId="{00C9371D-070C-482C-A26D-74CEC850FE8D}" sibTransId="{034D70B3-FE5D-4DE4-B2F8-527E6A033B13}"/>
    <dgm:cxn modelId="{D6828A56-82FA-4EA5-BE2A-EDCC9C68868A}" srcId="{D823FD70-44D7-47D7-8538-D37903DFB24C}" destId="{DF00B630-86FF-43B3-8C31-E26A26768214}" srcOrd="6" destOrd="0" parTransId="{3349C173-708D-4990-8405-073AC843236E}" sibTransId="{53AF7E47-78FC-4E2C-ABD4-69BB1D81FB11}"/>
    <dgm:cxn modelId="{35F17857-2934-452D-AA7B-470771ED5CFB}" type="presOf" srcId="{C1AD3F43-D625-4B45-ACCC-18C9A44CCADB}" destId="{49C1000A-A309-4A49-A2DD-5039FF6AF941}" srcOrd="0" destOrd="1" presId="urn:microsoft.com/office/officeart/2016/7/layout/RoundedRectangleTimeline"/>
    <dgm:cxn modelId="{69283D58-BBD5-4349-AC02-ADA6045E685C}" type="presOf" srcId="{4364E18C-2CD6-4A1A-ADC4-16292AE301AE}" destId="{082004D2-97C4-421B-82CE-9A95EE030598}" srcOrd="0" destOrd="0" presId="urn:microsoft.com/office/officeart/2016/7/layout/RoundedRectangleTimeline"/>
    <dgm:cxn modelId="{990BCA87-2C5D-44BA-8D85-4D5D713AC855}" type="presOf" srcId="{D823FD70-44D7-47D7-8538-D37903DFB24C}" destId="{A75A1D64-749A-440F-92F1-521D793AFA47}" srcOrd="0" destOrd="0" presId="urn:microsoft.com/office/officeart/2016/7/layout/RoundedRectangleTimeline"/>
    <dgm:cxn modelId="{ADF5B99B-DEDD-404A-A128-9E08905176D5}" type="presOf" srcId="{0934C228-24AC-4958-BAD2-579C5C5ECF0B}" destId="{BA3773AC-C050-4F51-9CD9-9E478E5A7D9F}" srcOrd="0" destOrd="0" presId="urn:microsoft.com/office/officeart/2016/7/layout/RoundedRectangleTimeline"/>
    <dgm:cxn modelId="{10BC5AA4-7845-4089-B8F1-516EA586FFC2}" srcId="{D823FD70-44D7-47D7-8538-D37903DFB24C}" destId="{B3F60AC3-5350-4BFD-A368-18515E1969DE}" srcOrd="0" destOrd="0" parTransId="{6D39587F-D6A8-4C86-93B3-149DB2FF0AD9}" sibTransId="{09103E3D-90BA-4A34-826A-00899B53DA2C}"/>
    <dgm:cxn modelId="{CEC648AF-2D2D-443A-98D7-6B85703337B5}" type="presOf" srcId="{CF1D813F-9BE0-40DF-8C24-998893407965}" destId="{DD6CCEEA-A955-4A70-A4ED-7B539A7E9C61}" srcOrd="0" destOrd="0" presId="urn:microsoft.com/office/officeart/2016/7/layout/RoundedRectangleTimeline"/>
    <dgm:cxn modelId="{1EDE2EB3-821E-4993-8EE3-C3D1414444C7}" srcId="{0C136222-98D2-4095-8722-47FC2A4753CF}" destId="{C1AD3F43-D625-4B45-ACCC-18C9A44CCADB}" srcOrd="1" destOrd="0" parTransId="{4587E8DF-C381-44D7-ADBA-EECCF086A90E}" sibTransId="{9183285E-D507-4FAC-A66D-AAD753B62BD5}"/>
    <dgm:cxn modelId="{BE3B11BC-E09E-4732-B1E0-ABF4121DB7A6}" srcId="{D823FD70-44D7-47D7-8538-D37903DFB24C}" destId="{72728271-A8B5-4767-AE3D-A33FDBF457D1}" srcOrd="2" destOrd="0" parTransId="{4F0C7940-C86D-4DC0-840F-7D743E1E6AD0}" sibTransId="{9DA05390-CA95-477A-BF4C-C1557177DA9F}"/>
    <dgm:cxn modelId="{DE61A6BC-AC87-4E95-BC26-D3F7210621F0}" type="presOf" srcId="{AA083E7E-FEE7-4403-88DF-1E336947BBBA}" destId="{2F94C14A-D042-4365-86B7-1D1BD838A2C5}" srcOrd="0" destOrd="0" presId="urn:microsoft.com/office/officeart/2016/7/layout/RoundedRectangleTimeline"/>
    <dgm:cxn modelId="{88BC0BBD-C941-4706-AAA4-A876632CC1B4}" type="presOf" srcId="{616978FB-EBEC-49C1-A6B3-FD2B3BA9672B}" destId="{E4422301-E1E3-439B-9E0F-68D1C2BBA157}" srcOrd="0" destOrd="3" presId="urn:microsoft.com/office/officeart/2016/7/layout/RoundedRectangleTimeline"/>
    <dgm:cxn modelId="{FE0ECFC4-DE6C-468F-BB61-465631B11C21}" srcId="{DF00B630-86FF-43B3-8C31-E26A26768214}" destId="{95B7A0F2-4500-431D-883C-D6D1F19C36BC}" srcOrd="0" destOrd="0" parTransId="{42581769-1A0D-4407-90F4-1C5A3CFA6A04}" sibTransId="{0C01C235-8DFE-42D4-AD80-94840E27A574}"/>
    <dgm:cxn modelId="{0E115DCE-CDA4-43BC-BC71-1B34F02DAFCC}" type="presOf" srcId="{8131D447-9B68-478E-9740-07F443A7B58D}" destId="{EBC4D38D-9F90-4EA0-BB8B-C1A35549053F}" srcOrd="0" destOrd="0" presId="urn:microsoft.com/office/officeart/2016/7/layout/RoundedRectangleTimeline"/>
    <dgm:cxn modelId="{B71863D3-B8A1-49DC-8BB6-93A0BF404EE2}" type="presOf" srcId="{B225F0A8-C3ED-46AD-B1CA-7B32F04E2819}" destId="{A85663A9-4B3E-4AB5-A3FA-FF488D9B8EDC}" srcOrd="0" destOrd="0" presId="urn:microsoft.com/office/officeart/2016/7/layout/RoundedRectangleTimeline"/>
    <dgm:cxn modelId="{FA0085E2-E65C-43CC-B6D5-2F2FEF53C811}" srcId="{CF1D813F-9BE0-40DF-8C24-998893407965}" destId="{AA083E7E-FEE7-4403-88DF-1E336947BBBA}" srcOrd="0" destOrd="0" parTransId="{F73F9F0D-2B03-4D9D-9E20-C6D2884AEC73}" sibTransId="{930F0B78-EA9E-4680-8A10-79A48CCC276D}"/>
    <dgm:cxn modelId="{986BE2E3-9864-4F5B-985C-218653D3B07E}" srcId="{72728271-A8B5-4767-AE3D-A33FDBF457D1}" destId="{A29F2223-B095-4B9B-AC48-E11E2934B401}" srcOrd="1" destOrd="0" parTransId="{5DE44310-7586-466C-A635-A82D735F8E23}" sibTransId="{B570A186-57D9-4EDD-904C-CCD62795D92E}"/>
    <dgm:cxn modelId="{F23D3FEA-0B03-46A5-8CC4-02BD915B2BE7}" srcId="{72728271-A8B5-4767-AE3D-A33FDBF457D1}" destId="{0247FCB0-B15C-4E01-A4B9-C1F4EBCD8C92}" srcOrd="2" destOrd="0" parTransId="{E2F678C3-4294-4BFE-9C58-D492011F5138}" sibTransId="{8F74F065-7F02-413B-BF01-EAEA50EBFB10}"/>
    <dgm:cxn modelId="{A25874EA-458E-4091-9D58-4F1C1AA58A06}" srcId="{0C136222-98D2-4095-8722-47FC2A4753CF}" destId="{0C758220-A7D7-4C2D-8C4D-13DA80F43F98}" srcOrd="2" destOrd="0" parTransId="{816D262A-7DC0-4093-B7D5-5100AC498C2F}" sibTransId="{ACD7FAE1-D6B6-4F34-8043-47B1E10FA971}"/>
    <dgm:cxn modelId="{13F061EB-3126-46A5-9D19-C87BABA2BCFE}" type="presOf" srcId="{CBDAF6E1-F354-4287-BA7A-4684A1056A96}" destId="{E4422301-E1E3-439B-9E0F-68D1C2BBA157}" srcOrd="0" destOrd="0" presId="urn:microsoft.com/office/officeart/2016/7/layout/RoundedRectangleTimeline"/>
    <dgm:cxn modelId="{8E1962F8-5E65-495B-842D-6DBB92AE2E89}" type="presOf" srcId="{A29F2223-B095-4B9B-AC48-E11E2934B401}" destId="{EBC4D38D-9F90-4EA0-BB8B-C1A35549053F}" srcOrd="0" destOrd="1" presId="urn:microsoft.com/office/officeart/2016/7/layout/RoundedRectangleTimeline"/>
    <dgm:cxn modelId="{75217BF8-9EFF-4C6F-8922-CD35BA9D6ADB}" type="presOf" srcId="{95B7A0F2-4500-431D-883C-D6D1F19C36BC}" destId="{5B4A0BC9-152F-41E5-A4CF-CD87A00D3E48}" srcOrd="0" destOrd="0" presId="urn:microsoft.com/office/officeart/2016/7/layout/RoundedRectangleTimeline"/>
    <dgm:cxn modelId="{F1CDB4F9-6D1B-411F-8D0D-3E52FACCEC31}" type="presOf" srcId="{72728271-A8B5-4767-AE3D-A33FDBF457D1}" destId="{640F8F8E-F05B-49F3-B5AD-CE144E3515C4}" srcOrd="0" destOrd="0" presId="urn:microsoft.com/office/officeart/2016/7/layout/RoundedRectangleTimeline"/>
    <dgm:cxn modelId="{D8ECB1FC-A400-4234-B736-3EEDD1629C4F}" type="presOf" srcId="{0C758220-A7D7-4C2D-8C4D-13DA80F43F98}" destId="{49C1000A-A309-4A49-A2DD-5039FF6AF941}" srcOrd="0" destOrd="2" presId="urn:microsoft.com/office/officeart/2016/7/layout/RoundedRectangleTimeline"/>
    <dgm:cxn modelId="{43E601FD-1435-41BC-8C23-78A5E3AACD83}" srcId="{0934C228-24AC-4958-BAD2-579C5C5ECF0B}" destId="{2BA22D22-E69B-48A7-93E8-8B1DF4F04D37}" srcOrd="1" destOrd="0" parTransId="{45C6C9CB-3922-4F23-8B26-F4C094ED0433}" sibTransId="{A72A6D45-1637-44CA-B8F8-F21530C5271A}"/>
    <dgm:cxn modelId="{960BC3FE-9922-4D39-A95B-229ED383A22B}" srcId="{0934C228-24AC-4958-BAD2-579C5C5ECF0B}" destId="{CBDAF6E1-F354-4287-BA7A-4684A1056A96}" srcOrd="0" destOrd="0" parTransId="{EDD6E6B6-0D1F-473B-9061-CA3B8E57ED75}" sibTransId="{F398A45E-0E94-4ABF-81DE-30756E0D0EBA}"/>
    <dgm:cxn modelId="{C6BC0DC9-B32F-4AE4-A854-44D745F4B1A1}" type="presParOf" srcId="{A75A1D64-749A-440F-92F1-521D793AFA47}" destId="{E4A1A823-5549-4056-BFDA-7DE0CCB523C6}" srcOrd="0" destOrd="0" presId="urn:microsoft.com/office/officeart/2016/7/layout/RoundedRectangleTimeline"/>
    <dgm:cxn modelId="{23A8B378-0E3B-43EB-B420-7C512932B55B}" type="presParOf" srcId="{E4A1A823-5549-4056-BFDA-7DE0CCB523C6}" destId="{BD55EA29-E235-4FFE-9DA4-8168797B97E8}" srcOrd="0" destOrd="0" presId="urn:microsoft.com/office/officeart/2016/7/layout/RoundedRectangleTimeline"/>
    <dgm:cxn modelId="{DFFAD1FD-7247-446D-ABC3-24AB6B219177}" type="presParOf" srcId="{E4A1A823-5549-4056-BFDA-7DE0CCB523C6}" destId="{AB126117-1961-463F-AC22-F371253C3993}" srcOrd="1" destOrd="0" presId="urn:microsoft.com/office/officeart/2016/7/layout/RoundedRectangleTimeline"/>
    <dgm:cxn modelId="{6D513696-E8E2-4A46-AA0C-563BFBFF0B64}" type="presParOf" srcId="{E4A1A823-5549-4056-BFDA-7DE0CCB523C6}" destId="{FCDB31F2-0A3B-4B4E-A879-7FD49B1EB89C}" srcOrd="2" destOrd="0" presId="urn:microsoft.com/office/officeart/2016/7/layout/RoundedRectangleTimeline"/>
    <dgm:cxn modelId="{285290FD-80D5-473D-9700-B678A29BDBD8}" type="presParOf" srcId="{E4A1A823-5549-4056-BFDA-7DE0CCB523C6}" destId="{8E3B9D22-7DBE-4B01-8C46-08491362BA17}" srcOrd="3" destOrd="0" presId="urn:microsoft.com/office/officeart/2016/7/layout/RoundedRectangleTimeline"/>
    <dgm:cxn modelId="{A4D06F3F-6579-4664-9BDB-1F41C46B6A26}" type="presParOf" srcId="{E4A1A823-5549-4056-BFDA-7DE0CCB523C6}" destId="{9B265539-A779-4D71-AFEC-6B3C9A54EE0F}" srcOrd="4" destOrd="0" presId="urn:microsoft.com/office/officeart/2016/7/layout/RoundedRectangleTimeline"/>
    <dgm:cxn modelId="{CE24FB15-72AE-495F-B9AB-F2F1AA747D9A}" type="presParOf" srcId="{A75A1D64-749A-440F-92F1-521D793AFA47}" destId="{2C2B137D-E3BC-49E6-9D67-B14058BAA2FF}" srcOrd="1" destOrd="0" presId="urn:microsoft.com/office/officeart/2016/7/layout/RoundedRectangleTimeline"/>
    <dgm:cxn modelId="{18A64B46-8A92-43E7-9285-671E379A58CB}" type="presParOf" srcId="{A75A1D64-749A-440F-92F1-521D793AFA47}" destId="{867113B0-B521-4B1D-9422-46E892666B6A}" srcOrd="2" destOrd="0" presId="urn:microsoft.com/office/officeart/2016/7/layout/RoundedRectangleTimeline"/>
    <dgm:cxn modelId="{16C04350-C018-455D-B5A9-7380ED3DCF8C}" type="presParOf" srcId="{867113B0-B521-4B1D-9422-46E892666B6A}" destId="{DD6CCEEA-A955-4A70-A4ED-7B539A7E9C61}" srcOrd="0" destOrd="0" presId="urn:microsoft.com/office/officeart/2016/7/layout/RoundedRectangleTimeline"/>
    <dgm:cxn modelId="{9F5C97F6-40A9-49E4-8551-E964B8895FD4}" type="presParOf" srcId="{867113B0-B521-4B1D-9422-46E892666B6A}" destId="{2F94C14A-D042-4365-86B7-1D1BD838A2C5}" srcOrd="1" destOrd="0" presId="urn:microsoft.com/office/officeart/2016/7/layout/RoundedRectangleTimeline"/>
    <dgm:cxn modelId="{77BA57A0-1313-4942-AF1B-5D076BB98295}" type="presParOf" srcId="{867113B0-B521-4B1D-9422-46E892666B6A}" destId="{2D110591-673C-47DD-88ED-CE2077FE44AB}" srcOrd="2" destOrd="0" presId="urn:microsoft.com/office/officeart/2016/7/layout/RoundedRectangleTimeline"/>
    <dgm:cxn modelId="{B49929F5-703D-4D5E-9577-16C93A879DB0}" type="presParOf" srcId="{867113B0-B521-4B1D-9422-46E892666B6A}" destId="{24BB4A27-4F46-4F1F-86C1-30030437D0B1}" srcOrd="3" destOrd="0" presId="urn:microsoft.com/office/officeart/2016/7/layout/RoundedRectangleTimeline"/>
    <dgm:cxn modelId="{E5A5D86B-81B3-4150-A278-7189CDF8B46C}" type="presParOf" srcId="{867113B0-B521-4B1D-9422-46E892666B6A}" destId="{7B15BDAE-5DCA-488D-8E6D-0EE2725ED817}" srcOrd="4" destOrd="0" presId="urn:microsoft.com/office/officeart/2016/7/layout/RoundedRectangleTimeline"/>
    <dgm:cxn modelId="{4BFDAD63-BD40-4C07-A5E8-B7D13F31F480}" type="presParOf" srcId="{A75A1D64-749A-440F-92F1-521D793AFA47}" destId="{EDB84695-E0EC-464A-ABE6-3C29A3BD2D9B}" srcOrd="3" destOrd="0" presId="urn:microsoft.com/office/officeart/2016/7/layout/RoundedRectangleTimeline"/>
    <dgm:cxn modelId="{0ABB2CA3-0308-4FCE-9945-C49F676E13BE}" type="presParOf" srcId="{A75A1D64-749A-440F-92F1-521D793AFA47}" destId="{2C98CEDA-FF9E-4713-A02E-3138828863EB}" srcOrd="4" destOrd="0" presId="urn:microsoft.com/office/officeart/2016/7/layout/RoundedRectangleTimeline"/>
    <dgm:cxn modelId="{F7DAC513-4769-4B77-97AA-34379D348151}" type="presParOf" srcId="{2C98CEDA-FF9E-4713-A02E-3138828863EB}" destId="{640F8F8E-F05B-49F3-B5AD-CE144E3515C4}" srcOrd="0" destOrd="0" presId="urn:microsoft.com/office/officeart/2016/7/layout/RoundedRectangleTimeline"/>
    <dgm:cxn modelId="{45E0617B-5F70-497B-819F-C3615F5FD401}" type="presParOf" srcId="{2C98CEDA-FF9E-4713-A02E-3138828863EB}" destId="{EBC4D38D-9F90-4EA0-BB8B-C1A35549053F}" srcOrd="1" destOrd="0" presId="urn:microsoft.com/office/officeart/2016/7/layout/RoundedRectangleTimeline"/>
    <dgm:cxn modelId="{58F3DC2E-2B66-4646-930B-97FE5B83B32C}" type="presParOf" srcId="{2C98CEDA-FF9E-4713-A02E-3138828863EB}" destId="{13750397-4ED6-4503-840E-D44ED1A4B45C}" srcOrd="2" destOrd="0" presId="urn:microsoft.com/office/officeart/2016/7/layout/RoundedRectangleTimeline"/>
    <dgm:cxn modelId="{DEA8C025-8776-4F8A-8DB6-098EA11D6A18}" type="presParOf" srcId="{2C98CEDA-FF9E-4713-A02E-3138828863EB}" destId="{49E53299-E2BB-43D2-BFFB-0736B6FB6000}" srcOrd="3" destOrd="0" presId="urn:microsoft.com/office/officeart/2016/7/layout/RoundedRectangleTimeline"/>
    <dgm:cxn modelId="{1180EC9D-B319-459C-9AD5-3411AA8A50C0}" type="presParOf" srcId="{2C98CEDA-FF9E-4713-A02E-3138828863EB}" destId="{A056EE13-3E3C-4687-8017-79C0C6A7D9A4}" srcOrd="4" destOrd="0" presId="urn:microsoft.com/office/officeart/2016/7/layout/RoundedRectangleTimeline"/>
    <dgm:cxn modelId="{212C13EE-A54A-4AC5-9A34-84E426880B5E}" type="presParOf" srcId="{A75A1D64-749A-440F-92F1-521D793AFA47}" destId="{27F02727-05FF-423E-8C32-F87F07E18B67}" srcOrd="5" destOrd="0" presId="urn:microsoft.com/office/officeart/2016/7/layout/RoundedRectangleTimeline"/>
    <dgm:cxn modelId="{9101997D-51E0-4F45-8989-018739E8C326}" type="presParOf" srcId="{A75A1D64-749A-440F-92F1-521D793AFA47}" destId="{1C84132A-F5C5-4612-B588-96305FEE56CB}" srcOrd="6" destOrd="0" presId="urn:microsoft.com/office/officeart/2016/7/layout/RoundedRectangleTimeline"/>
    <dgm:cxn modelId="{E5793E39-8A53-467D-BBEC-1047243C764E}" type="presParOf" srcId="{1C84132A-F5C5-4612-B588-96305FEE56CB}" destId="{BA3773AC-C050-4F51-9CD9-9E478E5A7D9F}" srcOrd="0" destOrd="0" presId="urn:microsoft.com/office/officeart/2016/7/layout/RoundedRectangleTimeline"/>
    <dgm:cxn modelId="{5115B2BC-A47D-411D-AA4C-F240B17E9194}" type="presParOf" srcId="{1C84132A-F5C5-4612-B588-96305FEE56CB}" destId="{E4422301-E1E3-439B-9E0F-68D1C2BBA157}" srcOrd="1" destOrd="0" presId="urn:microsoft.com/office/officeart/2016/7/layout/RoundedRectangleTimeline"/>
    <dgm:cxn modelId="{25B1445D-97C5-4B72-BD6F-BD6678599CBE}" type="presParOf" srcId="{1C84132A-F5C5-4612-B588-96305FEE56CB}" destId="{66E959B7-EB78-4841-9CA7-439964D36184}" srcOrd="2" destOrd="0" presId="urn:microsoft.com/office/officeart/2016/7/layout/RoundedRectangleTimeline"/>
    <dgm:cxn modelId="{44EAE3FE-C6F2-41E8-B6C3-63951986B9EF}" type="presParOf" srcId="{1C84132A-F5C5-4612-B588-96305FEE56CB}" destId="{CE8ECE16-266C-447C-B92C-8CD0D337697E}" srcOrd="3" destOrd="0" presId="urn:microsoft.com/office/officeart/2016/7/layout/RoundedRectangleTimeline"/>
    <dgm:cxn modelId="{7093F74C-CD51-4BAF-9658-4B2E80A138D0}" type="presParOf" srcId="{1C84132A-F5C5-4612-B588-96305FEE56CB}" destId="{4F8F1012-7DD8-49E1-9DFC-81C851034A2C}" srcOrd="4" destOrd="0" presId="urn:microsoft.com/office/officeart/2016/7/layout/RoundedRectangleTimeline"/>
    <dgm:cxn modelId="{6C54D05D-8EA5-4948-8B2D-23982D4FBE38}" type="presParOf" srcId="{A75A1D64-749A-440F-92F1-521D793AFA47}" destId="{39D0EF0D-3C65-41BA-A683-65648E31475B}" srcOrd="7" destOrd="0" presId="urn:microsoft.com/office/officeart/2016/7/layout/RoundedRectangleTimeline"/>
    <dgm:cxn modelId="{7EF719E6-21A4-432A-A79E-2BD1358404FA}" type="presParOf" srcId="{A75A1D64-749A-440F-92F1-521D793AFA47}" destId="{EC6346F5-F74C-4305-8336-F0E47B9DA1BF}" srcOrd="8" destOrd="0" presId="urn:microsoft.com/office/officeart/2016/7/layout/RoundedRectangleTimeline"/>
    <dgm:cxn modelId="{D95ACEF2-E139-4316-8592-FE9A181F976F}" type="presParOf" srcId="{EC6346F5-F74C-4305-8336-F0E47B9DA1BF}" destId="{082004D2-97C4-421B-82CE-9A95EE030598}" srcOrd="0" destOrd="0" presId="urn:microsoft.com/office/officeart/2016/7/layout/RoundedRectangleTimeline"/>
    <dgm:cxn modelId="{4D37A521-E7CF-4A51-9EEA-6574F41912C6}" type="presParOf" srcId="{EC6346F5-F74C-4305-8336-F0E47B9DA1BF}" destId="{A85663A9-4B3E-4AB5-A3FA-FF488D9B8EDC}" srcOrd="1" destOrd="0" presId="urn:microsoft.com/office/officeart/2016/7/layout/RoundedRectangleTimeline"/>
    <dgm:cxn modelId="{3D048625-367A-437F-B0F9-4B8396DDB0C7}" type="presParOf" srcId="{EC6346F5-F74C-4305-8336-F0E47B9DA1BF}" destId="{F8918865-9AED-4E5A-850F-B411E3EB5958}" srcOrd="2" destOrd="0" presId="urn:microsoft.com/office/officeart/2016/7/layout/RoundedRectangleTimeline"/>
    <dgm:cxn modelId="{E24A1109-663D-40D9-996B-8EB4026FD344}" type="presParOf" srcId="{EC6346F5-F74C-4305-8336-F0E47B9DA1BF}" destId="{6007C1E5-F5E2-43CD-8B8F-E54DB2042E4B}" srcOrd="3" destOrd="0" presId="urn:microsoft.com/office/officeart/2016/7/layout/RoundedRectangleTimeline"/>
    <dgm:cxn modelId="{6D7EB689-2DEB-4F80-9BE4-BDA10ADB8681}" type="presParOf" srcId="{EC6346F5-F74C-4305-8336-F0E47B9DA1BF}" destId="{A9AF031B-79A6-4541-A204-B3BD70CEDC4F}" srcOrd="4" destOrd="0" presId="urn:microsoft.com/office/officeart/2016/7/layout/RoundedRectangleTimeline"/>
    <dgm:cxn modelId="{FD6FDEAF-CD1D-44FA-9BAE-1DE543C1BE16}" type="presParOf" srcId="{A75A1D64-749A-440F-92F1-521D793AFA47}" destId="{795FAAB3-C39B-42D1-8C0C-13B2976F46A5}" srcOrd="9" destOrd="0" presId="urn:microsoft.com/office/officeart/2016/7/layout/RoundedRectangleTimeline"/>
    <dgm:cxn modelId="{3F0A51B5-5F36-4EE8-89D2-407CA26B1103}" type="presParOf" srcId="{A75A1D64-749A-440F-92F1-521D793AFA47}" destId="{93D9A5BF-5561-46C8-A3FC-C8D00638ED78}" srcOrd="10" destOrd="0" presId="urn:microsoft.com/office/officeart/2016/7/layout/RoundedRectangleTimeline"/>
    <dgm:cxn modelId="{B53F8B1F-5846-400F-A8E3-53C291D86A6E}" type="presParOf" srcId="{93D9A5BF-5561-46C8-A3FC-C8D00638ED78}" destId="{8F662E54-535F-4519-8473-6D530DB5A9CA}" srcOrd="0" destOrd="0" presId="urn:microsoft.com/office/officeart/2016/7/layout/RoundedRectangleTimeline"/>
    <dgm:cxn modelId="{A8FFD9DF-0878-4130-A1FB-17E99F4636E0}" type="presParOf" srcId="{93D9A5BF-5561-46C8-A3FC-C8D00638ED78}" destId="{49C1000A-A309-4A49-A2DD-5039FF6AF941}" srcOrd="1" destOrd="0" presId="urn:microsoft.com/office/officeart/2016/7/layout/RoundedRectangleTimeline"/>
    <dgm:cxn modelId="{65621D11-C0F1-4ED8-B152-1CC7A0BB462C}" type="presParOf" srcId="{93D9A5BF-5561-46C8-A3FC-C8D00638ED78}" destId="{1C5BB568-6EB3-4800-9A73-1D036AE66555}" srcOrd="2" destOrd="0" presId="urn:microsoft.com/office/officeart/2016/7/layout/RoundedRectangleTimeline"/>
    <dgm:cxn modelId="{A1DD4158-130C-47EB-8D1F-018B450EC9CA}" type="presParOf" srcId="{93D9A5BF-5561-46C8-A3FC-C8D00638ED78}" destId="{C2C4ABB1-38FF-4838-B9A4-667624602B7D}" srcOrd="3" destOrd="0" presId="urn:microsoft.com/office/officeart/2016/7/layout/RoundedRectangleTimeline"/>
    <dgm:cxn modelId="{78C322DF-AB33-4AF1-8150-537AE85C9E9F}" type="presParOf" srcId="{93D9A5BF-5561-46C8-A3FC-C8D00638ED78}" destId="{BE156E1C-533F-40C9-AB12-14EF5450A8EE}" srcOrd="4" destOrd="0" presId="urn:microsoft.com/office/officeart/2016/7/layout/RoundedRectangleTimeline"/>
    <dgm:cxn modelId="{92D101E8-10B6-467B-AB4F-8CEBB949C9D4}" type="presParOf" srcId="{A75A1D64-749A-440F-92F1-521D793AFA47}" destId="{9BF84148-01A5-4626-A45A-3F1BC76E4EF8}" srcOrd="11" destOrd="0" presId="urn:microsoft.com/office/officeart/2016/7/layout/RoundedRectangleTimeline"/>
    <dgm:cxn modelId="{CECD4605-FE80-41C5-BA69-5246FD1A94F5}" type="presParOf" srcId="{A75A1D64-749A-440F-92F1-521D793AFA47}" destId="{7EE4AE54-9519-4590-B081-4DD6B413C605}" srcOrd="12" destOrd="0" presId="urn:microsoft.com/office/officeart/2016/7/layout/RoundedRectangleTimeline"/>
    <dgm:cxn modelId="{6D4E09E6-E02A-402A-98DA-C1FF37D634E8}" type="presParOf" srcId="{7EE4AE54-9519-4590-B081-4DD6B413C605}" destId="{CC961D27-6DD7-46D2-84E8-628130B85BBE}" srcOrd="0" destOrd="0" presId="urn:microsoft.com/office/officeart/2016/7/layout/RoundedRectangleTimeline"/>
    <dgm:cxn modelId="{E5B45DAE-3863-478A-B791-200ADE8DBCB8}" type="presParOf" srcId="{7EE4AE54-9519-4590-B081-4DD6B413C605}" destId="{5B4A0BC9-152F-41E5-A4CF-CD87A00D3E48}" srcOrd="1" destOrd="0" presId="urn:microsoft.com/office/officeart/2016/7/layout/RoundedRectangleTimeline"/>
    <dgm:cxn modelId="{ABA4FDA4-C626-45D0-9BD1-B1661667215A}" type="presParOf" srcId="{7EE4AE54-9519-4590-B081-4DD6B413C605}" destId="{881546AB-28DB-4FB8-8899-A2C6B5B912B4}" srcOrd="2" destOrd="0" presId="urn:microsoft.com/office/officeart/2016/7/layout/RoundedRectangleTimeline"/>
    <dgm:cxn modelId="{3F3FE6E1-7CBA-47A1-A2CB-3C158F526DE8}" type="presParOf" srcId="{7EE4AE54-9519-4590-B081-4DD6B413C605}" destId="{896685C5-77F5-4DA9-A0D2-F02351751296}" srcOrd="3" destOrd="0" presId="urn:microsoft.com/office/officeart/2016/7/layout/RoundedRectangleTimeline"/>
    <dgm:cxn modelId="{81CFBBC0-03FA-4599-8823-84EFE0A48AF6}" type="presParOf" srcId="{7EE4AE54-9519-4590-B081-4DD6B413C605}" destId="{22BB8226-F310-4A60-906E-AD3A3CECFC24}" srcOrd="4" destOrd="0" presId="urn:microsoft.com/office/officeart/2016/7/layout/RoundedRectangleTimelin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55EA29-E235-4FFE-9DA4-8168797B97E8}">
      <dsp:nvSpPr>
        <dsp:cNvPr id="0" name=""/>
        <dsp:cNvSpPr/>
      </dsp:nvSpPr>
      <dsp:spPr>
        <a:xfrm rot="16200000">
          <a:off x="1135573" y="1282118"/>
          <a:ext cx="417373" cy="1609495"/>
        </a:xfrm>
        <a:prstGeom prst="round2Same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rtl="0">
            <a:lnSpc>
              <a:spcPct val="90000"/>
            </a:lnSpc>
            <a:spcBef>
              <a:spcPct val="0"/>
            </a:spcBef>
            <a:spcAft>
              <a:spcPct val="35000"/>
            </a:spcAft>
            <a:buNone/>
          </a:pPr>
          <a:r>
            <a:rPr lang="en-US" sz="1300" b="0" kern="1200">
              <a:latin typeface="Arial"/>
              <a:ea typeface="Open Sans"/>
              <a:cs typeface="Open Sans"/>
            </a:rPr>
            <a:t>JAN 2024</a:t>
          </a:r>
        </a:p>
      </dsp:txBody>
      <dsp:txXfrm rot="5400000">
        <a:off x="559886" y="1898553"/>
        <a:ext cx="1589121" cy="376625"/>
      </dsp:txXfrm>
    </dsp:sp>
    <dsp:sp modelId="{AB126117-1961-463F-AC22-F371253C3993}">
      <dsp:nvSpPr>
        <dsp:cNvPr id="0" name=""/>
        <dsp:cNvSpPr/>
      </dsp:nvSpPr>
      <dsp:spPr>
        <a:xfrm>
          <a:off x="3014" y="0"/>
          <a:ext cx="2682492" cy="14608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rtl="0">
            <a:lnSpc>
              <a:spcPct val="90000"/>
            </a:lnSpc>
            <a:spcBef>
              <a:spcPct val="0"/>
            </a:spcBef>
            <a:spcAft>
              <a:spcPct val="35000"/>
            </a:spcAft>
            <a:buNone/>
          </a:pPr>
          <a:r>
            <a:rPr lang="en-US" sz="1300" b="0" kern="1200">
              <a:solidFill>
                <a:srgbClr val="00C085"/>
              </a:solidFill>
              <a:latin typeface="Arial"/>
              <a:ea typeface="Open Sans"/>
              <a:cs typeface="Open Sans"/>
            </a:rPr>
            <a:t>Project Kick-Off</a:t>
          </a:r>
        </a:p>
      </dsp:txBody>
      <dsp:txXfrm>
        <a:off x="3014" y="0"/>
        <a:ext cx="2682492" cy="1460806"/>
      </dsp:txXfrm>
    </dsp:sp>
    <dsp:sp modelId="{FCDB31F2-0A3B-4B4E-A879-7FD49B1EB89C}">
      <dsp:nvSpPr>
        <dsp:cNvPr id="0" name=""/>
        <dsp:cNvSpPr/>
      </dsp:nvSpPr>
      <dsp:spPr>
        <a:xfrm>
          <a:off x="1344260" y="1544281"/>
          <a:ext cx="0" cy="333898"/>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8E3B9D22-7DBE-4B01-8C46-08491362BA17}">
      <dsp:nvSpPr>
        <dsp:cNvPr id="0" name=""/>
        <dsp:cNvSpPr/>
      </dsp:nvSpPr>
      <dsp:spPr>
        <a:xfrm>
          <a:off x="1302522" y="1460806"/>
          <a:ext cx="83474" cy="8347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D6CCEEA-A955-4A70-A4ED-7B539A7E9C61}">
      <dsp:nvSpPr>
        <dsp:cNvPr id="0" name=""/>
        <dsp:cNvSpPr/>
      </dsp:nvSpPr>
      <dsp:spPr>
        <a:xfrm>
          <a:off x="2149007" y="1878179"/>
          <a:ext cx="1609495" cy="41737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rtl="0">
            <a:lnSpc>
              <a:spcPct val="90000"/>
            </a:lnSpc>
            <a:spcBef>
              <a:spcPct val="0"/>
            </a:spcBef>
            <a:spcAft>
              <a:spcPct val="35000"/>
            </a:spcAft>
            <a:buNone/>
          </a:pPr>
          <a:r>
            <a:rPr lang="en-US" sz="1300" b="0" kern="1200">
              <a:latin typeface="Arial"/>
              <a:ea typeface="Open Sans"/>
              <a:cs typeface="Open Sans"/>
            </a:rPr>
            <a:t>FEB 2024</a:t>
          </a:r>
        </a:p>
      </dsp:txBody>
      <dsp:txXfrm>
        <a:off x="2149007" y="1878179"/>
        <a:ext cx="1609495" cy="417373"/>
      </dsp:txXfrm>
    </dsp:sp>
    <dsp:sp modelId="{2F94C14A-D042-4365-86B7-1D1BD838A2C5}">
      <dsp:nvSpPr>
        <dsp:cNvPr id="0" name=""/>
        <dsp:cNvSpPr/>
      </dsp:nvSpPr>
      <dsp:spPr>
        <a:xfrm>
          <a:off x="1612509" y="2712926"/>
          <a:ext cx="2682492" cy="14608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rtl="0">
            <a:lnSpc>
              <a:spcPct val="90000"/>
            </a:lnSpc>
            <a:spcBef>
              <a:spcPct val="0"/>
            </a:spcBef>
            <a:spcAft>
              <a:spcPct val="35000"/>
            </a:spcAft>
            <a:buNone/>
          </a:pPr>
          <a:r>
            <a:rPr lang="en-US" sz="1300" b="0" kern="1200">
              <a:solidFill>
                <a:srgbClr val="00C085"/>
              </a:solidFill>
              <a:latin typeface="Arial"/>
              <a:ea typeface="Open Sans"/>
              <a:cs typeface="Open Sans"/>
            </a:rPr>
            <a:t>Onboarding Discussion</a:t>
          </a:r>
        </a:p>
        <a:p>
          <a:pPr marL="0" lvl="0" indent="0" algn="ctr" defTabSz="577850" rtl="0">
            <a:lnSpc>
              <a:spcPct val="90000"/>
            </a:lnSpc>
            <a:spcBef>
              <a:spcPct val="0"/>
            </a:spcBef>
            <a:spcAft>
              <a:spcPct val="35000"/>
            </a:spcAft>
            <a:buNone/>
          </a:pPr>
          <a:r>
            <a:rPr lang="en-US" sz="1300" b="0" kern="1200">
              <a:solidFill>
                <a:srgbClr val="00C085"/>
              </a:solidFill>
              <a:latin typeface="Arial"/>
              <a:ea typeface="Open Sans"/>
              <a:cs typeface="Open Sans"/>
            </a:rPr>
            <a:t>Prepare Bayer Partners List </a:t>
          </a:r>
        </a:p>
      </dsp:txBody>
      <dsp:txXfrm>
        <a:off x="1612509" y="2712926"/>
        <a:ext cx="2682492" cy="1460806"/>
      </dsp:txXfrm>
    </dsp:sp>
    <dsp:sp modelId="{2D110591-673C-47DD-88ED-CE2077FE44AB}">
      <dsp:nvSpPr>
        <dsp:cNvPr id="0" name=""/>
        <dsp:cNvSpPr/>
      </dsp:nvSpPr>
      <dsp:spPr>
        <a:xfrm>
          <a:off x="2953755" y="2295553"/>
          <a:ext cx="0" cy="333898"/>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24BB4A27-4F46-4F1F-86C1-30030437D0B1}">
      <dsp:nvSpPr>
        <dsp:cNvPr id="0" name=""/>
        <dsp:cNvSpPr/>
      </dsp:nvSpPr>
      <dsp:spPr>
        <a:xfrm>
          <a:off x="2912018" y="2629451"/>
          <a:ext cx="83474" cy="8347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40F8F8E-F05B-49F3-B5AD-CE144E3515C4}">
      <dsp:nvSpPr>
        <dsp:cNvPr id="0" name=""/>
        <dsp:cNvSpPr/>
      </dsp:nvSpPr>
      <dsp:spPr>
        <a:xfrm>
          <a:off x="3758503" y="1878179"/>
          <a:ext cx="1609495" cy="41737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rtl="0">
            <a:lnSpc>
              <a:spcPct val="90000"/>
            </a:lnSpc>
            <a:spcBef>
              <a:spcPct val="0"/>
            </a:spcBef>
            <a:spcAft>
              <a:spcPct val="35000"/>
            </a:spcAft>
            <a:buNone/>
          </a:pPr>
          <a:r>
            <a:rPr lang="en-US" sz="1300" b="0" kern="1200">
              <a:latin typeface="Arial"/>
              <a:ea typeface="Open Sans"/>
              <a:cs typeface="Open Sans"/>
            </a:rPr>
            <a:t>MAR2024</a:t>
          </a:r>
        </a:p>
      </dsp:txBody>
      <dsp:txXfrm>
        <a:off x="3758503" y="1878179"/>
        <a:ext cx="1609495" cy="417373"/>
      </dsp:txXfrm>
    </dsp:sp>
    <dsp:sp modelId="{EBC4D38D-9F90-4EA0-BB8B-C1A35549053F}">
      <dsp:nvSpPr>
        <dsp:cNvPr id="0" name=""/>
        <dsp:cNvSpPr/>
      </dsp:nvSpPr>
      <dsp:spPr>
        <a:xfrm>
          <a:off x="3222004" y="0"/>
          <a:ext cx="2682492" cy="14608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rtl="0">
            <a:lnSpc>
              <a:spcPct val="90000"/>
            </a:lnSpc>
            <a:spcBef>
              <a:spcPct val="0"/>
            </a:spcBef>
            <a:spcAft>
              <a:spcPct val="35000"/>
            </a:spcAft>
            <a:buNone/>
          </a:pPr>
          <a:r>
            <a:rPr lang="en-US" sz="1300" b="0" kern="1200">
              <a:solidFill>
                <a:srgbClr val="00C085"/>
              </a:solidFill>
              <a:latin typeface="Arial"/>
              <a:ea typeface="Open Sans"/>
              <a:cs typeface="Open Sans"/>
            </a:rPr>
            <a:t>ONE-Partner Vetting</a:t>
          </a:r>
        </a:p>
        <a:p>
          <a:pPr marL="0" lvl="0" indent="0" algn="ctr" defTabSz="577850" rtl="0">
            <a:lnSpc>
              <a:spcPct val="90000"/>
            </a:lnSpc>
            <a:spcBef>
              <a:spcPct val="0"/>
            </a:spcBef>
            <a:spcAft>
              <a:spcPct val="35000"/>
            </a:spcAft>
            <a:buNone/>
          </a:pPr>
          <a:r>
            <a:rPr lang="en-US" sz="1300" b="0" kern="1200">
              <a:solidFill>
                <a:srgbClr val="00C085"/>
              </a:solidFill>
              <a:latin typeface="Arial"/>
              <a:ea typeface="Open Sans"/>
              <a:cs typeface="Open Sans"/>
            </a:rPr>
            <a:t>Bayer Partner Announcement Email</a:t>
          </a:r>
        </a:p>
        <a:p>
          <a:pPr marL="0" lvl="0" indent="0" algn="ctr" defTabSz="577850" rtl="0">
            <a:lnSpc>
              <a:spcPct val="90000"/>
            </a:lnSpc>
            <a:spcBef>
              <a:spcPct val="0"/>
            </a:spcBef>
            <a:spcAft>
              <a:spcPct val="35000"/>
            </a:spcAft>
            <a:buNone/>
          </a:pPr>
          <a:r>
            <a:rPr lang="en-US" sz="1300" b="0" kern="1200">
              <a:solidFill>
                <a:srgbClr val="00C085"/>
              </a:solidFill>
              <a:latin typeface="Arial"/>
              <a:ea typeface="Open Sans"/>
              <a:cs typeface="Open Sans"/>
            </a:rPr>
            <a:t>Bayer Partner Event Email</a:t>
          </a:r>
        </a:p>
      </dsp:txBody>
      <dsp:txXfrm>
        <a:off x="3222004" y="0"/>
        <a:ext cx="2682492" cy="1460806"/>
      </dsp:txXfrm>
    </dsp:sp>
    <dsp:sp modelId="{13750397-4ED6-4503-840E-D44ED1A4B45C}">
      <dsp:nvSpPr>
        <dsp:cNvPr id="0" name=""/>
        <dsp:cNvSpPr/>
      </dsp:nvSpPr>
      <dsp:spPr>
        <a:xfrm>
          <a:off x="4563251" y="1544281"/>
          <a:ext cx="0" cy="333898"/>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49E53299-E2BB-43D2-BFFB-0736B6FB6000}">
      <dsp:nvSpPr>
        <dsp:cNvPr id="0" name=""/>
        <dsp:cNvSpPr/>
      </dsp:nvSpPr>
      <dsp:spPr>
        <a:xfrm>
          <a:off x="4521513" y="1460806"/>
          <a:ext cx="83474" cy="8347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A3773AC-C050-4F51-9CD9-9E478E5A7D9F}">
      <dsp:nvSpPr>
        <dsp:cNvPr id="0" name=""/>
        <dsp:cNvSpPr/>
      </dsp:nvSpPr>
      <dsp:spPr>
        <a:xfrm>
          <a:off x="5367998" y="1878179"/>
          <a:ext cx="1609495" cy="41737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rtl="0">
            <a:lnSpc>
              <a:spcPct val="90000"/>
            </a:lnSpc>
            <a:spcBef>
              <a:spcPct val="0"/>
            </a:spcBef>
            <a:spcAft>
              <a:spcPct val="35000"/>
            </a:spcAft>
            <a:buNone/>
          </a:pPr>
          <a:r>
            <a:rPr lang="en-US" sz="1300" b="0" kern="1200">
              <a:latin typeface="Arial"/>
              <a:ea typeface="Open Sans"/>
              <a:cs typeface="Open Sans"/>
            </a:rPr>
            <a:t>APR 2024</a:t>
          </a:r>
        </a:p>
      </dsp:txBody>
      <dsp:txXfrm>
        <a:off x="5367998" y="1878179"/>
        <a:ext cx="1609495" cy="417373"/>
      </dsp:txXfrm>
    </dsp:sp>
    <dsp:sp modelId="{E4422301-E1E3-439B-9E0F-68D1C2BBA157}">
      <dsp:nvSpPr>
        <dsp:cNvPr id="0" name=""/>
        <dsp:cNvSpPr/>
      </dsp:nvSpPr>
      <dsp:spPr>
        <a:xfrm>
          <a:off x="4831500" y="2712926"/>
          <a:ext cx="2682492" cy="14608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rtl="0">
            <a:lnSpc>
              <a:spcPct val="90000"/>
            </a:lnSpc>
            <a:spcBef>
              <a:spcPct val="0"/>
            </a:spcBef>
            <a:spcAft>
              <a:spcPct val="35000"/>
            </a:spcAft>
            <a:buNone/>
          </a:pPr>
          <a:r>
            <a:rPr lang="en-US" sz="1300" b="0" kern="1200">
              <a:latin typeface="Arial"/>
              <a:ea typeface="Open Sans"/>
              <a:cs typeface="Open Sans"/>
            </a:rPr>
            <a:t>Bayer Partner Event</a:t>
          </a:r>
        </a:p>
        <a:p>
          <a:pPr marL="0" lvl="0" indent="0" algn="ctr" defTabSz="577850" rtl="0">
            <a:lnSpc>
              <a:spcPct val="90000"/>
            </a:lnSpc>
            <a:spcBef>
              <a:spcPct val="0"/>
            </a:spcBef>
            <a:spcAft>
              <a:spcPct val="35000"/>
            </a:spcAft>
            <a:buNone/>
          </a:pPr>
          <a:r>
            <a:rPr lang="en-US" sz="1300" b="0" kern="1200">
              <a:solidFill>
                <a:schemeClr val="tx2">
                  <a:lumMod val="50000"/>
                  <a:lumOff val="50000"/>
                </a:schemeClr>
              </a:solidFill>
              <a:latin typeface="Arial"/>
              <a:ea typeface="Calibri"/>
              <a:cs typeface="Calibri"/>
            </a:rPr>
            <a:t>Complete Intake Form on POP Site</a:t>
          </a:r>
          <a:r>
            <a:rPr lang="en-US" sz="1300" b="0" kern="1200">
              <a:solidFill>
                <a:schemeClr val="tx2">
                  <a:lumMod val="50000"/>
                  <a:lumOff val="50000"/>
                </a:schemeClr>
              </a:solidFill>
              <a:latin typeface="Arial"/>
              <a:ea typeface="Open Sans Semibold"/>
              <a:cs typeface="Calibri"/>
            </a:rPr>
            <a:t> (</a:t>
          </a:r>
          <a:r>
            <a:rPr lang="en-US" sz="1300" b="0" kern="1200">
              <a:solidFill>
                <a:srgbClr val="7030A0"/>
              </a:solidFill>
              <a:latin typeface="Arial"/>
              <a:ea typeface="Open Sans Semibold"/>
              <a:cs typeface="Calibri"/>
            </a:rPr>
            <a:t>By Apr-19</a:t>
          </a:r>
          <a:r>
            <a:rPr lang="en-US" sz="1300" b="0" kern="1200">
              <a:solidFill>
                <a:schemeClr val="tx2">
                  <a:lumMod val="50000"/>
                  <a:lumOff val="50000"/>
                </a:schemeClr>
              </a:solidFill>
              <a:latin typeface="Arial"/>
              <a:ea typeface="Open Sans Semibold"/>
              <a:cs typeface="Calibri"/>
            </a:rPr>
            <a:t>)</a:t>
          </a:r>
        </a:p>
        <a:p>
          <a:pPr marL="0" lvl="0" indent="0" algn="ctr" defTabSz="577850" rtl="0">
            <a:lnSpc>
              <a:spcPct val="90000"/>
            </a:lnSpc>
            <a:spcBef>
              <a:spcPct val="0"/>
            </a:spcBef>
            <a:spcAft>
              <a:spcPct val="35000"/>
            </a:spcAft>
            <a:buNone/>
          </a:pPr>
          <a:r>
            <a:rPr lang="en-US" sz="1300" b="0" kern="1200">
              <a:latin typeface="Arial"/>
              <a:ea typeface="Open Sans Semibold"/>
              <a:cs typeface="Calibri"/>
            </a:rPr>
            <a:t>Partner Onboarding Webinar</a:t>
          </a:r>
        </a:p>
        <a:p>
          <a:pPr marL="0" lvl="0" indent="0" algn="ctr" defTabSz="577850" rtl="0">
            <a:lnSpc>
              <a:spcPct val="90000"/>
            </a:lnSpc>
            <a:spcBef>
              <a:spcPct val="0"/>
            </a:spcBef>
            <a:spcAft>
              <a:spcPct val="35000"/>
            </a:spcAft>
            <a:buNone/>
          </a:pPr>
          <a:r>
            <a:rPr lang="en-US" sz="1300" b="0" kern="1200">
              <a:latin typeface="Arial"/>
              <a:ea typeface="Open Sans"/>
              <a:cs typeface="Open Sans"/>
            </a:rPr>
            <a:t>Start Partner Onboarding</a:t>
          </a:r>
        </a:p>
      </dsp:txBody>
      <dsp:txXfrm>
        <a:off x="4831500" y="2712926"/>
        <a:ext cx="2682492" cy="1460806"/>
      </dsp:txXfrm>
    </dsp:sp>
    <dsp:sp modelId="{66E959B7-EB78-4841-9CA7-439964D36184}">
      <dsp:nvSpPr>
        <dsp:cNvPr id="0" name=""/>
        <dsp:cNvSpPr/>
      </dsp:nvSpPr>
      <dsp:spPr>
        <a:xfrm>
          <a:off x="6172746" y="2295553"/>
          <a:ext cx="0" cy="333898"/>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CE8ECE16-266C-447C-B92C-8CD0D337697E}">
      <dsp:nvSpPr>
        <dsp:cNvPr id="0" name=""/>
        <dsp:cNvSpPr/>
      </dsp:nvSpPr>
      <dsp:spPr>
        <a:xfrm>
          <a:off x="6131009" y="2629451"/>
          <a:ext cx="83474" cy="8347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82004D2-97C4-421B-82CE-9A95EE030598}">
      <dsp:nvSpPr>
        <dsp:cNvPr id="0" name=""/>
        <dsp:cNvSpPr/>
      </dsp:nvSpPr>
      <dsp:spPr>
        <a:xfrm>
          <a:off x="6977494" y="1878179"/>
          <a:ext cx="1609495" cy="41737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rtl="0">
            <a:lnSpc>
              <a:spcPct val="90000"/>
            </a:lnSpc>
            <a:spcBef>
              <a:spcPct val="0"/>
            </a:spcBef>
            <a:spcAft>
              <a:spcPct val="35000"/>
            </a:spcAft>
            <a:buNone/>
          </a:pPr>
          <a:r>
            <a:rPr lang="en-US" sz="1300" b="0" kern="1200">
              <a:latin typeface="Arial"/>
              <a:ea typeface="Open Sans"/>
              <a:cs typeface="Open Sans"/>
            </a:rPr>
            <a:t>MAY 2024</a:t>
          </a:r>
        </a:p>
      </dsp:txBody>
      <dsp:txXfrm>
        <a:off x="6977494" y="1878179"/>
        <a:ext cx="1609495" cy="417373"/>
      </dsp:txXfrm>
    </dsp:sp>
    <dsp:sp modelId="{A85663A9-4B3E-4AB5-A3FA-FF488D9B8EDC}">
      <dsp:nvSpPr>
        <dsp:cNvPr id="0" name=""/>
        <dsp:cNvSpPr/>
      </dsp:nvSpPr>
      <dsp:spPr>
        <a:xfrm>
          <a:off x="6440995" y="0"/>
          <a:ext cx="2682492" cy="14608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rtl="0">
            <a:lnSpc>
              <a:spcPct val="90000"/>
            </a:lnSpc>
            <a:spcBef>
              <a:spcPct val="0"/>
            </a:spcBef>
            <a:spcAft>
              <a:spcPct val="35000"/>
            </a:spcAft>
            <a:buNone/>
          </a:pPr>
          <a:r>
            <a:rPr lang="en-US" sz="1300" b="0" kern="1200">
              <a:latin typeface="Arial"/>
              <a:ea typeface="Open Sans"/>
              <a:cs typeface="Open Sans"/>
            </a:rPr>
            <a:t>Cont. Partner Onboarding</a:t>
          </a:r>
        </a:p>
      </dsp:txBody>
      <dsp:txXfrm>
        <a:off x="6440995" y="0"/>
        <a:ext cx="2682492" cy="1460806"/>
      </dsp:txXfrm>
    </dsp:sp>
    <dsp:sp modelId="{F8918865-9AED-4E5A-850F-B411E3EB5958}">
      <dsp:nvSpPr>
        <dsp:cNvPr id="0" name=""/>
        <dsp:cNvSpPr/>
      </dsp:nvSpPr>
      <dsp:spPr>
        <a:xfrm>
          <a:off x="7782241" y="1544281"/>
          <a:ext cx="0" cy="333898"/>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6007C1E5-F5E2-43CD-8B8F-E54DB2042E4B}">
      <dsp:nvSpPr>
        <dsp:cNvPr id="0" name=""/>
        <dsp:cNvSpPr/>
      </dsp:nvSpPr>
      <dsp:spPr>
        <a:xfrm>
          <a:off x="7740504" y="1460806"/>
          <a:ext cx="83474" cy="8347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F662E54-535F-4519-8473-6D530DB5A9CA}">
      <dsp:nvSpPr>
        <dsp:cNvPr id="0" name=""/>
        <dsp:cNvSpPr/>
      </dsp:nvSpPr>
      <dsp:spPr>
        <a:xfrm>
          <a:off x="8586989" y="1878179"/>
          <a:ext cx="1609495" cy="41737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rtl="0">
            <a:lnSpc>
              <a:spcPct val="90000"/>
            </a:lnSpc>
            <a:spcBef>
              <a:spcPct val="0"/>
            </a:spcBef>
            <a:spcAft>
              <a:spcPct val="35000"/>
            </a:spcAft>
            <a:buNone/>
          </a:pPr>
          <a:r>
            <a:rPr lang="en-US" sz="1300" b="0" kern="1200">
              <a:latin typeface="Arial"/>
              <a:ea typeface="Open Sans"/>
              <a:cs typeface="Open Sans"/>
            </a:rPr>
            <a:t>JUN 2024</a:t>
          </a:r>
        </a:p>
      </dsp:txBody>
      <dsp:txXfrm>
        <a:off x="8586989" y="1878179"/>
        <a:ext cx="1609495" cy="417373"/>
      </dsp:txXfrm>
    </dsp:sp>
    <dsp:sp modelId="{49C1000A-A309-4A49-A2DD-5039FF6AF941}">
      <dsp:nvSpPr>
        <dsp:cNvPr id="0" name=""/>
        <dsp:cNvSpPr/>
      </dsp:nvSpPr>
      <dsp:spPr>
        <a:xfrm>
          <a:off x="8050491" y="2712926"/>
          <a:ext cx="2682492" cy="14608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rtl="0">
            <a:lnSpc>
              <a:spcPct val="90000"/>
            </a:lnSpc>
            <a:spcBef>
              <a:spcPct val="0"/>
            </a:spcBef>
            <a:spcAft>
              <a:spcPct val="35000"/>
            </a:spcAft>
            <a:buNone/>
          </a:pPr>
          <a:r>
            <a:rPr lang="en-US" sz="1300" b="0" kern="1200">
              <a:solidFill>
                <a:srgbClr val="000000"/>
              </a:solidFill>
              <a:latin typeface="Arial"/>
              <a:ea typeface="Open Sans"/>
              <a:cs typeface="Calibri"/>
            </a:rPr>
            <a:t>Partner Onboarding</a:t>
          </a:r>
          <a:r>
            <a:rPr lang="en-US" sz="1300" b="0" kern="1200">
              <a:latin typeface="Arial"/>
              <a:ea typeface="Open Sans"/>
              <a:cs typeface="Calibri"/>
            </a:rPr>
            <a:t> Cint.</a:t>
          </a:r>
          <a:endParaRPr lang="en-US" sz="1300" b="0" kern="1200">
            <a:latin typeface="Arial"/>
            <a:ea typeface="Open Sans"/>
            <a:cs typeface="Open Sans"/>
          </a:endParaRPr>
        </a:p>
        <a:p>
          <a:pPr marL="0" lvl="0" indent="0" algn="ctr" defTabSz="577850" rtl="0">
            <a:lnSpc>
              <a:spcPct val="90000"/>
            </a:lnSpc>
            <a:spcBef>
              <a:spcPct val="0"/>
            </a:spcBef>
            <a:spcAft>
              <a:spcPct val="35000"/>
            </a:spcAft>
            <a:buNone/>
          </a:pPr>
          <a:r>
            <a:rPr lang="en-US" sz="1300" b="0" kern="1200">
              <a:latin typeface="Arial"/>
              <a:ea typeface="Open Sans"/>
              <a:cs typeface="Open Sans"/>
            </a:rPr>
            <a:t>Partner Training</a:t>
          </a:r>
          <a:endParaRPr lang="en-US" sz="1300" b="0" kern="1200">
            <a:latin typeface="Arial"/>
            <a:ea typeface="Open Sans"/>
            <a:cs typeface="Calibri"/>
          </a:endParaRPr>
        </a:p>
        <a:p>
          <a:pPr marL="0" lvl="0" indent="0" algn="ctr" defTabSz="577850">
            <a:lnSpc>
              <a:spcPct val="90000"/>
            </a:lnSpc>
            <a:spcBef>
              <a:spcPct val="0"/>
            </a:spcBef>
            <a:spcAft>
              <a:spcPct val="35000"/>
            </a:spcAft>
            <a:buNone/>
          </a:pPr>
          <a:r>
            <a:rPr lang="en-US" sz="1300" b="0" kern="1200">
              <a:latin typeface="Arial"/>
              <a:ea typeface="Open Sans"/>
              <a:cs typeface="Open Sans"/>
            </a:rPr>
            <a:t>PROD Deployment</a:t>
          </a:r>
        </a:p>
        <a:p>
          <a:pPr marL="0" lvl="0" indent="0" algn="ctr" defTabSz="577850" rtl="0">
            <a:lnSpc>
              <a:spcPct val="90000"/>
            </a:lnSpc>
            <a:spcBef>
              <a:spcPct val="0"/>
            </a:spcBef>
            <a:spcAft>
              <a:spcPct val="35000"/>
            </a:spcAft>
            <a:buNone/>
          </a:pPr>
          <a:r>
            <a:rPr lang="en-US" sz="1300" b="0" kern="1200">
              <a:latin typeface="Arial"/>
              <a:ea typeface="Open Sans"/>
              <a:cs typeface="Open Sans"/>
            </a:rPr>
            <a:t>Start Hypercare Support</a:t>
          </a:r>
        </a:p>
      </dsp:txBody>
      <dsp:txXfrm>
        <a:off x="8050491" y="2712926"/>
        <a:ext cx="2682492" cy="1460806"/>
      </dsp:txXfrm>
    </dsp:sp>
    <dsp:sp modelId="{1C5BB568-6EB3-4800-9A73-1D036AE66555}">
      <dsp:nvSpPr>
        <dsp:cNvPr id="0" name=""/>
        <dsp:cNvSpPr/>
      </dsp:nvSpPr>
      <dsp:spPr>
        <a:xfrm>
          <a:off x="9391737" y="2295553"/>
          <a:ext cx="0" cy="333898"/>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C2C4ABB1-38FF-4838-B9A4-667624602B7D}">
      <dsp:nvSpPr>
        <dsp:cNvPr id="0" name=""/>
        <dsp:cNvSpPr/>
      </dsp:nvSpPr>
      <dsp:spPr>
        <a:xfrm>
          <a:off x="9350000" y="2629451"/>
          <a:ext cx="83474" cy="8347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C961D27-6DD7-46D2-84E8-628130B85BBE}">
      <dsp:nvSpPr>
        <dsp:cNvPr id="0" name=""/>
        <dsp:cNvSpPr/>
      </dsp:nvSpPr>
      <dsp:spPr>
        <a:xfrm rot="5400000">
          <a:off x="10792546" y="1282118"/>
          <a:ext cx="417373" cy="1609495"/>
        </a:xfrm>
        <a:prstGeom prst="round2Same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rtl="0">
            <a:lnSpc>
              <a:spcPct val="90000"/>
            </a:lnSpc>
            <a:spcBef>
              <a:spcPct val="0"/>
            </a:spcBef>
            <a:spcAft>
              <a:spcPct val="35000"/>
            </a:spcAft>
            <a:buNone/>
          </a:pPr>
          <a:r>
            <a:rPr lang="en-US" sz="1300" b="0" kern="1200">
              <a:latin typeface="Arial"/>
              <a:ea typeface="Open Sans"/>
              <a:cs typeface="Open Sans"/>
            </a:rPr>
            <a:t>JUL 2024</a:t>
          </a:r>
        </a:p>
      </dsp:txBody>
      <dsp:txXfrm rot="-5400000">
        <a:off x="10196485" y="1898553"/>
        <a:ext cx="1589121" cy="376625"/>
      </dsp:txXfrm>
    </dsp:sp>
    <dsp:sp modelId="{5B4A0BC9-152F-41E5-A4CF-CD87A00D3E48}">
      <dsp:nvSpPr>
        <dsp:cNvPr id="0" name=""/>
        <dsp:cNvSpPr/>
      </dsp:nvSpPr>
      <dsp:spPr>
        <a:xfrm>
          <a:off x="9659986" y="0"/>
          <a:ext cx="2682492" cy="14608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rtl="0">
            <a:lnSpc>
              <a:spcPct val="90000"/>
            </a:lnSpc>
            <a:spcBef>
              <a:spcPct val="0"/>
            </a:spcBef>
            <a:spcAft>
              <a:spcPct val="35000"/>
            </a:spcAft>
            <a:buNone/>
          </a:pPr>
          <a:r>
            <a:rPr lang="en-US" sz="1300" b="0" kern="1200">
              <a:latin typeface="Arial"/>
              <a:ea typeface="Open Sans"/>
              <a:cs typeface="Open Sans"/>
            </a:rPr>
            <a:t>Hypercare Support Cont.</a:t>
          </a:r>
        </a:p>
      </dsp:txBody>
      <dsp:txXfrm>
        <a:off x="9659986" y="0"/>
        <a:ext cx="2682492" cy="1460806"/>
      </dsp:txXfrm>
    </dsp:sp>
    <dsp:sp modelId="{881546AB-28DB-4FB8-8899-A2C6B5B912B4}">
      <dsp:nvSpPr>
        <dsp:cNvPr id="0" name=""/>
        <dsp:cNvSpPr/>
      </dsp:nvSpPr>
      <dsp:spPr>
        <a:xfrm>
          <a:off x="11001232" y="1544281"/>
          <a:ext cx="0" cy="333898"/>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896685C5-77F5-4DA9-A0D2-F02351751296}">
      <dsp:nvSpPr>
        <dsp:cNvPr id="0" name=""/>
        <dsp:cNvSpPr/>
      </dsp:nvSpPr>
      <dsp:spPr>
        <a:xfrm>
          <a:off x="10959495" y="1460806"/>
          <a:ext cx="83474" cy="8347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16/7/layout/RoundedRectangleTimeline">
  <dgm:title val="Rounded Rectangle Timeline"/>
  <dgm:desc val="Use to show a list of events in chronological order. An invisible box contains the description while the date is shown in rectangles, except for the first and last node where the corners of the rectangle are rounded. It can display large amount of text and long descriptive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parent" val="18"/>
      <dgm:constr type="primFontSz" for="des" forName="Childtext" val="18"/>
      <dgm:constr type="primFontSz" for="des" forName="Childtext" refType="primFontSz" refFor="des" refForName="parent" op="lte"/>
      <dgm:constr type="w" for="ch" forName="composite" refType="w"/>
      <dgm:constr type="h" for="ch" forName="composite" refType="h"/>
      <dgm:constr type="w" for="ch" forName="spaceBetweenRectangles" refType="w" refFor="ch" refForName="composite" fact="-0.4"/>
      <dgm:constr type="w" for="ch" ptType="sibTrans" op="equ"/>
      <dgm:constr type="primFontSz" for="des" forName="parent" op="equ"/>
      <dgm:constr type="primFontSz" for="des" forName="Childtext" op="equ"/>
      <dgm:constr type="primFontSz" for="des" forName="parent1" val="18"/>
      <dgm:constr type="primFontSz" for="des" forName="Childtext1" val="18"/>
      <dgm:constr type="primFontSz" for="des" forName="Childtext1" refType="primFontSz" refFor="des" refForName="parent1" op="lte"/>
      <dgm:constr type="w" for="ch" forName="composite1" refType="w"/>
      <dgm:constr type="h" for="ch" forName="composite1" refType="h"/>
      <dgm:constr type="w" for="ch" forName="spaceBetweenRectangles1" refType="w" refFor="ch" refForName="composite1" fact="-0.4"/>
      <dgm:constr type="primFontSz" for="des" forName="parent1" op="equ"/>
      <dgm:constr type="primFontSz" for="des" forName="Childtext1" op="equ"/>
    </dgm:constrLst>
    <dgm:choose name="layoutByNodeCnt">
      <dgm:if name="twoOrLessNodes" axis="ch" ptType="node" func="cnt" op="lte" val="2">
        <dgm:forEach name="nodesForEach" axis="ch" ptType="node">
          <dgm:layoutNode name="composite">
            <dgm:alg type="composite"/>
            <dgm:shape xmlns:r="http://schemas.openxmlformats.org/officeDocument/2006/relationships" r:blip="">
              <dgm:adjLst/>
            </dgm:shape>
            <dgm:choose name="casesForFirstAndLastNode1">
              <dgm:if name="startNode1" axis="self" ptType="node" func="pos" op="equ" val="1">
                <dgm:choose name="removeLineWhenOnlyOneNode1">
                  <dgm:if name="ifOnlyOneNode1" axis="followSib" ptType="node" func="cnt" op="equ" val="0">
                    <dgm:constrLst>
                      <dgm:constr type="w" for="ch" forName="parent" refType="w" fact="0.95"/>
                      <dgm:constr type="l" for="ch" forName="parent" refType="w" fact="0.025"/>
                      <dgm:constr type="t" for="ch" forName="parent" refType="h" fact="0.45"/>
                      <dgm:constr type="h" for="ch" forName="parent" refType="h" fact="0.1"/>
                      <dgm:constr type="l" for="ch" forName="Childtext" refType="w" fact="0.025"/>
                      <dgm:constr type="w" for="ch" forName="Childtext" refType="w" fact="0.95"/>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if>
                  <dgm:else name="ifMoreThanOne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else>
                </dgm:choose>
              </dgm:if>
              <dgm:else name="notStart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t" for="ch" forName="Childtext" refType="h" fact="0.65"/>
                  <dgm:constr type="w" for="ch" forName="ConnectLine"/>
                  <dgm:constr type="h" for="ch" forName="ConnectLine" refType="h" fact="0.08"/>
                  <dgm:constr type="t" for="ch" forName="ConnectLine" refType="h" fact="0.55"/>
                  <dgm:constr type="ctrX" for="ch" forName="ConnectLine" refType="w" fact="0.5"/>
                  <dgm:constr type="w" for="ch" forName="ConnectLineEnd" refType="h" fact="0.02"/>
                  <dgm:constr type="h" for="ch" forName="ConnectLineEnd" refType="h" fact="0.02"/>
                  <dgm:constr type="b" for="ch" forName="ConnectLineEnd" refType="h" fact="0.65"/>
                  <dgm:constr type="ctrX" for="ch" forName="ConnectLineEnd" refType="w" fact="0.5"/>
                  <dgm:constr type="w" for="ch" forName="EmptyPane" refType="w"/>
                  <dgm:constr type="h" for="ch" forName="EmptyPane" refType="h" fact="0.45"/>
                </dgm:constrLst>
              </dgm:else>
            </dgm:choose>
            <dgm:layoutNode name="parent"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
                <dgm:if name="startNode" axis="self" ptType="node" func="pos" op="equ" val="1">
                  <dgm:choose name="removeLineWhenOnlyOneNode">
                    <dgm:if name="ifOnlyOneNode" axis="followSib" ptType="node" func="cnt" op="equ" val="0">
                      <dgm:shape xmlns:r="http://schemas.openxmlformats.org/officeDocument/2006/relationships" type="roundRect" r:blip="">
                        <dgm:adjLst/>
                      </dgm:shape>
                    </dgm:if>
                    <dgm:else name="ifMoreThanOneNode">
                      <dgm:choose name="Name18">
                        <dgm:if name="Name19" func="var" arg="dir" op="equ" val="norm">
                          <dgm:shape xmlns:r="http://schemas.openxmlformats.org/officeDocument/2006/relationships" rot="-90" type="round2SameRect" r:blip="">
                            <dgm:adjLst/>
                          </dgm:shape>
                        </dgm:if>
                        <dgm:else name="Name20">
                          <dgm:shape xmlns:r="http://schemas.openxmlformats.org/officeDocument/2006/relationships" rot="90" type="round2SameRect" r:blip="">
                            <dgm:adjLst/>
                          </dgm:shape>
                        </dgm:else>
                      </dgm:choose>
                    </dgm:else>
                  </dgm:choose>
                </dgm:if>
                <dgm:else name="notStartNode">
                  <dgm:choose name="Name22">
                    <dgm:if name="Name23" axis="self" ptType="node" func="revPos" op="equ" val="1">
                      <dgm:choose name="Name24">
                        <dgm:if name="Name25" func="var" arg="dir" op="equ" val="norm">
                          <dgm:shape xmlns:r="http://schemas.openxmlformats.org/officeDocument/2006/relationships" rot="90" type="round2SameRect" r:blip="">
                            <dgm:adjLst/>
                          </dgm:shape>
                        </dgm:if>
                        <dgm:else name="Name26">
                          <dgm:shape xmlns:r="http://schemas.openxmlformats.org/officeDocument/2006/relationships" rot="-90" type="round2SameRect" r:blip="">
                            <dgm:adjLst/>
                          </dgm:shape>
                        </dgm:else>
                      </dgm:choose>
                    </dgm:if>
                    <dgm:else name="Name27">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 styleLbl="revTx">
              <dgm:varLst>
                <dgm:bulletEnabled val="1"/>
              </dgm:varLst>
              <dgm:choose name="casesForTxtDirLogic">
                <dgm:if name="Name77"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 styleLbl="lnNode1">
              <dgm:alg type="sp"/>
              <dgm:shape xmlns:r="http://schemas.openxmlformats.org/officeDocument/2006/relationships" type="ellipse" r:blip="">
                <dgm:adjLst/>
              </dgm:shape>
              <dgm:presOf/>
              <dgm:constrLst/>
            </dgm:layoutNode>
            <dgm:layoutNode name="EmptyPane">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if>
      <dgm:else name="moreThanTwoNodes">
        <dgm:forEach name="nodesForEach1" axis="ch" ptType="node">
          <dgm:layoutNode name="composite1">
            <dgm:alg type="composite"/>
            <dgm:shape xmlns:r="http://schemas.openxmlformats.org/officeDocument/2006/relationships" r:blip="">
              <dgm:adjLst/>
            </dgm:shape>
            <dgm:choose name="casesForSnakingLogic21">
              <dgm:if name="oddNode21" axis="self" ptType="node" func="posOdd" op="equ" val="1">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w" for="ch" forName="ConnectLine1"/>
                  <dgm:constr type="h" for="ch" forName="ConnectLine1" refType="h" fact="0.08"/>
                  <dgm:constr type="t" for="ch" forName="ConnectLine1" refType="h" fact="0.37"/>
                  <dgm:constr type="ctrX" for="ch" forName="ConnectLine1" refType="w" fact="0.5"/>
                  <dgm:constr type="w" for="ch" forName="ConnectLineEnd1" refType="h" fact="0.02"/>
                  <dgm:constr type="h" for="ch" forName="ConnectLineEnd1" refType="h" fact="0.02"/>
                  <dgm:constr type="t" for="ch" forName="ConnectLineEnd1" refType="h" fact="0.35"/>
                  <dgm:constr type="ctrX" for="ch" forName="ConnectLineEnd1" refType="w" fact="0.5"/>
                  <dgm:constr type="w" for="ch" forName="EmptyPane1" refType="w"/>
                  <dgm:constr type="t" for="ch" forName="EmptyPane1" refType="h" fact="0.55"/>
                  <dgm:constr type="h" for="ch" forName="EmptyPane1" refType="h" fact="0.45"/>
                </dgm:constrLst>
              </dgm:if>
              <dgm:else name="evenNode2">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t" for="ch" forName="Childtext1" refType="h" fact="0.65"/>
                  <dgm:constr type="w" for="ch" forName="ConnectLine1"/>
                  <dgm:constr type="h" for="ch" forName="ConnectLine1" refType="h" fact="0.08"/>
                  <dgm:constr type="t" for="ch" forName="ConnectLine1" refType="h" fact="0.55"/>
                  <dgm:constr type="ctrX" for="ch" forName="ConnectLine1" refType="w" fact="0.5"/>
                  <dgm:constr type="w" for="ch" forName="ConnectLineEnd1" refType="h" fact="0.02"/>
                  <dgm:constr type="h" for="ch" forName="ConnectLineEnd1" refType="h" fact="0.02"/>
                  <dgm:constr type="b" for="ch" forName="ConnectLineEnd1" refType="h" fact="0.65"/>
                  <dgm:constr type="ctrX" for="ch" forName="ConnectLineEnd1" refType="w" fact="0.5"/>
                  <dgm:constr type="w" for="ch" forName="EmptyPane1" refType="w"/>
                  <dgm:constr type="h" for="ch" forName="EmptyPane1" refType="h" fact="0.45"/>
                </dgm:constrLst>
              </dgm:else>
            </dgm:choose>
            <dgm:layoutNode name="parent1"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12">
                <dgm:if name="startNode12" axis="self" ptType="node" func="pos" op="equ" val="1">
                  <dgm:choose name="removeLineWhenOnlyOneNode12">
                    <dgm:if name="ifOnlyOneNode12" axis="followSib" ptType="node" func="cnt" op="equ" val="0">
                      <dgm:shape xmlns:r="http://schemas.openxmlformats.org/officeDocument/2006/relationships" type="roundRect" r:blip="">
                        <dgm:adjLst/>
                      </dgm:shape>
                    </dgm:if>
                    <dgm:else name="ifMoreThanOneNode12">
                      <dgm:choose name="Name181">
                        <dgm:if name="Name191" func="var" arg="dir" op="equ" val="norm">
                          <dgm:shape xmlns:r="http://schemas.openxmlformats.org/officeDocument/2006/relationships" rot="-90" type="round2SameRect" r:blip="">
                            <dgm:adjLst/>
                          </dgm:shape>
                        </dgm:if>
                        <dgm:else name="Name201">
                          <dgm:shape xmlns:r="http://schemas.openxmlformats.org/officeDocument/2006/relationships" rot="90" type="round2SameRect" r:blip="">
                            <dgm:adjLst/>
                          </dgm:shape>
                        </dgm:else>
                      </dgm:choose>
                    </dgm:else>
                  </dgm:choose>
                </dgm:if>
                <dgm:else name="notStartNode12">
                  <dgm:choose name="Name221">
                    <dgm:if name="Name231" axis="self" ptType="node" func="revPos" op="equ" val="1">
                      <dgm:choose name="Name241">
                        <dgm:if name="Name251" func="var" arg="dir" op="equ" val="norm">
                          <dgm:shape xmlns:r="http://schemas.openxmlformats.org/officeDocument/2006/relationships" rot="90" type="round2SameRect" r:blip="">
                            <dgm:adjLst/>
                          </dgm:shape>
                        </dgm:if>
                        <dgm:else name="Name261">
                          <dgm:shape xmlns:r="http://schemas.openxmlformats.org/officeDocument/2006/relationships" rot="-90" type="round2SameRect" r:blip="">
                            <dgm:adjLst/>
                          </dgm:shape>
                        </dgm:else>
                      </dgm:choose>
                    </dgm:if>
                    <dgm:else name="Name271">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1" styleLbl="revTx">
              <dgm:varLst>
                <dgm:bulletEnabled val="1"/>
              </dgm:varLst>
              <dgm:choose name="casesForTxtDirLogic1">
                <dgm:if name="Name771"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1">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1" styleLbl="lnNode1">
              <dgm:alg type="sp"/>
              <dgm:shape xmlns:r="http://schemas.openxmlformats.org/officeDocument/2006/relationships" type="ellipse" r:blip="">
                <dgm:adjLst/>
              </dgm:shape>
              <dgm:presOf/>
              <dgm:constrLst/>
            </dgm:layoutNode>
            <dgm:layoutNode name="EmptyPane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C9362AB-C693-4DBE-959D-D755D40C76F9}"/>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latin typeface="Open Sans" panose="020B0606030504020204" pitchFamily="34" charset="0"/>
            </a:endParaRPr>
          </a:p>
        </p:txBody>
      </p:sp>
      <p:sp>
        <p:nvSpPr>
          <p:cNvPr id="3" name="Date Placeholder 2">
            <a:extLst>
              <a:ext uri="{FF2B5EF4-FFF2-40B4-BE49-F238E27FC236}">
                <a16:creationId xmlns:a16="http://schemas.microsoft.com/office/drawing/2014/main" id="{06AC7CAC-09F6-4AB0-B5A1-95A12223A62F}"/>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3EAC34B3-ADFF-46FD-A5FA-2C2EDE4D3A65}" type="datetimeFigureOut">
              <a:rPr lang="en-US" smtClean="0">
                <a:latin typeface="Open Sans" panose="020B0606030504020204" pitchFamily="34" charset="0"/>
              </a:rPr>
              <a:t>4/3/2024</a:t>
            </a:fld>
            <a:endParaRPr lang="en-US">
              <a:latin typeface="Open Sans" panose="020B0606030504020204" pitchFamily="34" charset="0"/>
            </a:endParaRPr>
          </a:p>
        </p:txBody>
      </p:sp>
      <p:sp>
        <p:nvSpPr>
          <p:cNvPr id="4" name="Footer Placeholder 3">
            <a:extLst>
              <a:ext uri="{FF2B5EF4-FFF2-40B4-BE49-F238E27FC236}">
                <a16:creationId xmlns:a16="http://schemas.microsoft.com/office/drawing/2014/main" id="{0B7CBC9F-B3B9-49FF-8865-285DABB10156}"/>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latin typeface="Open Sans" panose="020B0606030504020204" pitchFamily="34" charset="0"/>
            </a:endParaRPr>
          </a:p>
        </p:txBody>
      </p:sp>
      <p:sp>
        <p:nvSpPr>
          <p:cNvPr id="5" name="Slide Number Placeholder 4">
            <a:extLst>
              <a:ext uri="{FF2B5EF4-FFF2-40B4-BE49-F238E27FC236}">
                <a16:creationId xmlns:a16="http://schemas.microsoft.com/office/drawing/2014/main" id="{5F5F5865-77BF-486D-AE04-BE5DB5D6F8F6}"/>
              </a:ext>
            </a:extLst>
          </p:cNvPr>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B80CAC33-3CA6-414E-90FA-C4000A0527A1}" type="slidenum">
              <a:rPr lang="en-US" smtClean="0">
                <a:latin typeface="Open Sans" panose="020B0606030504020204" pitchFamily="34" charset="0"/>
              </a:rPr>
              <a:t>‹#›</a:t>
            </a:fld>
            <a:endParaRPr lang="en-US">
              <a:latin typeface="Open Sans" panose="020B0606030504020204" pitchFamily="34" charset="0"/>
            </a:endParaRPr>
          </a:p>
        </p:txBody>
      </p:sp>
    </p:spTree>
    <p:extLst>
      <p:ext uri="{BB962C8B-B14F-4D97-AF65-F5344CB8AC3E}">
        <p14:creationId xmlns:p14="http://schemas.microsoft.com/office/powerpoint/2010/main" val="39099671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b="0" i="0">
                <a:latin typeface="Open Sans" panose="020B0606030504020204" pitchFamily="34" charset="0"/>
              </a:defRPr>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b="0" i="0">
                <a:latin typeface="Open Sans" panose="020B0606030504020204" pitchFamily="34" charset="0"/>
              </a:defRPr>
            </a:lvl1pPr>
          </a:lstStyle>
          <a:p>
            <a:fld id="{E1C3A8FE-71D7-974C-8EAD-F5549C4D72CA}" type="datetimeFigureOut">
              <a:rPr lang="en-US" smtClean="0"/>
              <a:pPr/>
              <a:t>4/3/2024</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b="0" i="0">
                <a:latin typeface="Open Sans" panose="020B0606030504020204" pitchFamily="34" charset="0"/>
              </a:defRPr>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b="0" i="0">
                <a:latin typeface="Open Sans" panose="020B0606030504020204" pitchFamily="34" charset="0"/>
              </a:defRPr>
            </a:lvl1pPr>
          </a:lstStyle>
          <a:p>
            <a:fld id="{76DE67F1-7ABD-7048-B2E5-A769A75D2451}" type="slidenum">
              <a:rPr lang="en-US" smtClean="0"/>
              <a:pPr/>
              <a:t>‹#›</a:t>
            </a:fld>
            <a:endParaRPr lang="en-US"/>
          </a:p>
        </p:txBody>
      </p:sp>
    </p:spTree>
    <p:extLst>
      <p:ext uri="{BB962C8B-B14F-4D97-AF65-F5344CB8AC3E}">
        <p14:creationId xmlns:p14="http://schemas.microsoft.com/office/powerpoint/2010/main" val="1791692418"/>
      </p:ext>
    </p:extLst>
  </p:cSld>
  <p:clrMap bg1="lt1" tx1="dk1" bg2="lt2" tx2="dk2" accent1="accent1" accent2="accent2" accent3="accent3" accent4="accent4" accent5="accent5" accent6="accent6" hlink="hlink" folHlink="folHlink"/>
  <p:notesStyle>
    <a:lvl1pPr marL="0" algn="l" defTabSz="609585" rtl="0" eaLnBrk="1" latinLnBrk="0" hangingPunct="1">
      <a:defRPr sz="1600" b="0" i="0" kern="1200">
        <a:solidFill>
          <a:schemeClr val="tx1"/>
        </a:solidFill>
        <a:latin typeface="Open Sans" panose="020B0606030504020204" pitchFamily="34" charset="0"/>
        <a:ea typeface="+mn-ea"/>
        <a:cs typeface="+mn-cs"/>
      </a:defRPr>
    </a:lvl1pPr>
    <a:lvl2pPr marL="609585" algn="l" defTabSz="609585" rtl="0" eaLnBrk="1" latinLnBrk="0" hangingPunct="1">
      <a:defRPr sz="1600" b="0" i="0" kern="1200">
        <a:solidFill>
          <a:schemeClr val="tx1"/>
        </a:solidFill>
        <a:latin typeface="Open Sans" panose="020B0606030504020204" pitchFamily="34" charset="0"/>
        <a:ea typeface="+mn-ea"/>
        <a:cs typeface="+mn-cs"/>
      </a:defRPr>
    </a:lvl2pPr>
    <a:lvl3pPr marL="1219170" algn="l" defTabSz="609585" rtl="0" eaLnBrk="1" latinLnBrk="0" hangingPunct="1">
      <a:defRPr sz="1600" b="0" i="0" kern="1200">
        <a:solidFill>
          <a:schemeClr val="tx1"/>
        </a:solidFill>
        <a:latin typeface="Open Sans" panose="020B0606030504020204" pitchFamily="34" charset="0"/>
        <a:ea typeface="+mn-ea"/>
        <a:cs typeface="+mn-cs"/>
      </a:defRPr>
    </a:lvl3pPr>
    <a:lvl4pPr marL="1828754" algn="l" defTabSz="609585" rtl="0" eaLnBrk="1" latinLnBrk="0" hangingPunct="1">
      <a:defRPr sz="1600" b="0" i="0" kern="1200">
        <a:solidFill>
          <a:schemeClr val="tx1"/>
        </a:solidFill>
        <a:latin typeface="Open Sans" panose="020B0606030504020204" pitchFamily="34" charset="0"/>
        <a:ea typeface="+mn-ea"/>
        <a:cs typeface="+mn-cs"/>
      </a:defRPr>
    </a:lvl4pPr>
    <a:lvl5pPr marL="2438339" algn="l" defTabSz="609585" rtl="0" eaLnBrk="1" latinLnBrk="0" hangingPunct="1">
      <a:defRPr sz="1600" b="0" i="0" kern="1200">
        <a:solidFill>
          <a:schemeClr val="tx1"/>
        </a:solidFill>
        <a:latin typeface="Open Sans" panose="020B0606030504020204" pitchFamily="34" charset="0"/>
        <a:ea typeface="+mn-ea"/>
        <a:cs typeface="+mn-cs"/>
      </a:defRPr>
    </a:lvl5pPr>
    <a:lvl6pPr marL="3047924" algn="l" defTabSz="609585" rtl="0" eaLnBrk="1" latinLnBrk="0" hangingPunct="1">
      <a:defRPr sz="1600" kern="1200">
        <a:solidFill>
          <a:schemeClr val="tx1"/>
        </a:solidFill>
        <a:latin typeface="+mn-lt"/>
        <a:ea typeface="+mn-ea"/>
        <a:cs typeface="+mn-cs"/>
      </a:defRPr>
    </a:lvl6pPr>
    <a:lvl7pPr marL="3657509" algn="l" defTabSz="609585" rtl="0" eaLnBrk="1" latinLnBrk="0" hangingPunct="1">
      <a:defRPr sz="1600" kern="1200">
        <a:solidFill>
          <a:schemeClr val="tx1"/>
        </a:solidFill>
        <a:latin typeface="+mn-lt"/>
        <a:ea typeface="+mn-ea"/>
        <a:cs typeface="+mn-cs"/>
      </a:defRPr>
    </a:lvl7pPr>
    <a:lvl8pPr marL="4267093" algn="l" defTabSz="609585" rtl="0" eaLnBrk="1" latinLnBrk="0" hangingPunct="1">
      <a:defRPr sz="1600" kern="1200">
        <a:solidFill>
          <a:schemeClr val="tx1"/>
        </a:solidFill>
        <a:latin typeface="+mn-lt"/>
        <a:ea typeface="+mn-ea"/>
        <a:cs typeface="+mn-cs"/>
      </a:defRPr>
    </a:lvl8pPr>
    <a:lvl9pPr marL="4876678" algn="l" defTabSz="609585"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14713847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6DE67F1-7ABD-7048-B2E5-A769A75D2451}" type="slidenum">
              <a:rPr lang="en-US" smtClean="0"/>
              <a:pPr/>
              <a:t>2</a:t>
            </a:fld>
            <a:endParaRPr lang="en-US"/>
          </a:p>
        </p:txBody>
      </p:sp>
    </p:spTree>
    <p:extLst>
      <p:ext uri="{BB962C8B-B14F-4D97-AF65-F5344CB8AC3E}">
        <p14:creationId xmlns:p14="http://schemas.microsoft.com/office/powerpoint/2010/main" val="2825217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6DE67F1-7ABD-7048-B2E5-A769A75D2451}" type="slidenum">
              <a:rPr lang="en-US" smtClean="0"/>
              <a:pPr/>
              <a:t>4</a:t>
            </a:fld>
            <a:endParaRPr lang="en-US"/>
          </a:p>
        </p:txBody>
      </p:sp>
    </p:spTree>
    <p:extLst>
      <p:ext uri="{BB962C8B-B14F-4D97-AF65-F5344CB8AC3E}">
        <p14:creationId xmlns:p14="http://schemas.microsoft.com/office/powerpoint/2010/main" val="38903870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6.png"/><Relationship Id="rId4" Type="http://schemas.openxmlformats.org/officeDocument/2006/relationships/image" Target="../media/image10.sv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7.png"/><Relationship Id="rId4" Type="http://schemas.openxmlformats.org/officeDocument/2006/relationships/image" Target="../media/image10.sv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8.png"/><Relationship Id="rId4" Type="http://schemas.openxmlformats.org/officeDocument/2006/relationships/image" Target="../media/image10.sv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9.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20.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1.png"/><Relationship Id="rId4" Type="http://schemas.openxmlformats.org/officeDocument/2006/relationships/image" Target="../media/image10.sv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jpe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5.jpe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jpe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10.sv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39.emf"/></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0.jpe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1.png"/><Relationship Id="rId4" Type="http://schemas.openxmlformats.org/officeDocument/2006/relationships/image" Target="../media/image10.sv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10.sv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3.pn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4.pn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5.png"/><Relationship Id="rId4" Type="http://schemas.openxmlformats.org/officeDocument/2006/relationships/image" Target="../media/image10.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6.png"/><Relationship Id="rId4" Type="http://schemas.openxmlformats.org/officeDocument/2006/relationships/image" Target="../media/image10.sv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7.png"/><Relationship Id="rId4" Type="http://schemas.openxmlformats.org/officeDocument/2006/relationships/image" Target="../media/image10.sv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8.png"/><Relationship Id="rId4" Type="http://schemas.openxmlformats.org/officeDocument/2006/relationships/image" Target="../media/image10.sv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20.pn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5.png"/><Relationship Id="rId4" Type="http://schemas.openxmlformats.org/officeDocument/2006/relationships/image" Target="../media/image10.sv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jpeg"/><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5.jpeg"/><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jpeg"/><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6.png"/><Relationship Id="rId4" Type="http://schemas.openxmlformats.org/officeDocument/2006/relationships/image" Target="../media/image10.svg"/></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7.png"/><Relationship Id="rId4" Type="http://schemas.openxmlformats.org/officeDocument/2006/relationships/image" Target="../media/image10.svg"/></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1.png"/><Relationship Id="rId4" Type="http://schemas.openxmlformats.org/officeDocument/2006/relationships/image" Target="../media/image10.sv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10.sv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3.pn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4.pn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5.png"/><Relationship Id="rId4" Type="http://schemas.openxmlformats.org/officeDocument/2006/relationships/image" Target="../media/image10.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8.png"/><Relationship Id="rId4" Type="http://schemas.openxmlformats.org/officeDocument/2006/relationships/image" Target="../media/image10.svg"/></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6.png"/><Relationship Id="rId4" Type="http://schemas.openxmlformats.org/officeDocument/2006/relationships/image" Target="../media/image10.sv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7.png"/><Relationship Id="rId4" Type="http://schemas.openxmlformats.org/officeDocument/2006/relationships/image" Target="../media/image10.sv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8.png"/><Relationship Id="rId4" Type="http://schemas.openxmlformats.org/officeDocument/2006/relationships/image" Target="../media/image10.sv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9.pn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20.pn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9.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jpeg"/><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5.jpeg"/><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jpeg"/><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20.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 Id="rId4" Type="http://schemas.openxmlformats.org/officeDocument/2006/relationships/image" Target="../media/image5.sv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6.xml"/><Relationship Id="rId4" Type="http://schemas.openxmlformats.org/officeDocument/2006/relationships/image" Target="../media/image5.sv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6.xml"/><Relationship Id="rId4" Type="http://schemas.openxmlformats.org/officeDocument/2006/relationships/image" Target="../media/image5.sv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1.png"/><Relationship Id="rId4" Type="http://schemas.openxmlformats.org/officeDocument/2006/relationships/image" Target="../media/image10.sv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10.sv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3.pn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4.pn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5.png"/><Relationship Id="rId4" Type="http://schemas.openxmlformats.org/officeDocument/2006/relationships/image" Target="../media/image10.sv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6.png"/><Relationship Id="rId4" Type="http://schemas.openxmlformats.org/officeDocument/2006/relationships/image" Target="../media/image10.svg"/></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7.png"/><Relationship Id="rId4" Type="http://schemas.openxmlformats.org/officeDocument/2006/relationships/image" Target="../media/image10.sv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8.png"/><Relationship Id="rId4" Type="http://schemas.openxmlformats.org/officeDocument/2006/relationships/image" Target="../media/image10.sv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9.pn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20.pn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6.xml"/><Relationship Id="rId4" Type="http://schemas.openxmlformats.org/officeDocument/2006/relationships/image" Target="../media/image2.sv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jpeg"/><Relationship Id="rId1" Type="http://schemas.openxmlformats.org/officeDocument/2006/relationships/slideMaster" Target="../slideMasters/slideMaster6.xml"/><Relationship Id="rId4" Type="http://schemas.openxmlformats.org/officeDocument/2006/relationships/image" Target="../media/image2.svg"/></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5.jpeg"/><Relationship Id="rId1" Type="http://schemas.openxmlformats.org/officeDocument/2006/relationships/slideMaster" Target="../slideMasters/slideMaster6.xml"/><Relationship Id="rId4" Type="http://schemas.openxmlformats.org/officeDocument/2006/relationships/image" Target="../media/image2.svg"/></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jpeg"/><Relationship Id="rId1" Type="http://schemas.openxmlformats.org/officeDocument/2006/relationships/slideMaster" Target="../slideMasters/slideMaster6.xml"/><Relationship Id="rId4" Type="http://schemas.openxmlformats.org/officeDocument/2006/relationships/image" Target="../media/image2.sv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5.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1.xml"/><Relationship Id="rId4" Type="http://schemas.openxmlformats.org/officeDocument/2006/relationships/image" Target="../media/image31.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1.xml"/><Relationship Id="rId4" Type="http://schemas.openxmlformats.org/officeDocument/2006/relationships/image" Target="../media/image31.sv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xml"/><Relationship Id="rId4" Type="http://schemas.openxmlformats.org/officeDocument/2006/relationships/image" Target="../media/image34.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5.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1.png"/><Relationship Id="rId4" Type="http://schemas.openxmlformats.org/officeDocument/2006/relationships/image" Target="../media/image10.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10.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3.pn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5.png"/><Relationship Id="rId4" Type="http://schemas.openxmlformats.org/officeDocument/2006/relationships/image" Target="../media/image10.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6.png"/><Relationship Id="rId4" Type="http://schemas.openxmlformats.org/officeDocument/2006/relationships/image" Target="../media/image10.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7.png"/><Relationship Id="rId4" Type="http://schemas.openxmlformats.org/officeDocument/2006/relationships/image" Target="../media/image10.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8.png"/><Relationship Id="rId4" Type="http://schemas.openxmlformats.org/officeDocument/2006/relationships/image" Target="../media/image10.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9.pn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20.pn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jpe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5.jpe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jpe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1.png"/><Relationship Id="rId4" Type="http://schemas.openxmlformats.org/officeDocument/2006/relationships/image" Target="../media/image10.sv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10.sv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4.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5.png"/><Relationship Id="rId4" Type="http://schemas.openxmlformats.org/officeDocument/2006/relationships/image" Target="../media/image10.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6A638F1-B6E2-A7B8-7F3D-5814FC4807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62500" y="1552575"/>
            <a:ext cx="7429500" cy="5305425"/>
          </a:xfrm>
          <a:prstGeom prst="rect">
            <a:avLst/>
          </a:prstGeom>
        </p:spPr>
      </p:pic>
      <p:sp>
        <p:nvSpPr>
          <p:cNvPr id="11" name="Title 1">
            <a:extLst>
              <a:ext uri="{FF2B5EF4-FFF2-40B4-BE49-F238E27FC236}">
                <a16:creationId xmlns:a16="http://schemas.microsoft.com/office/drawing/2014/main" id="{11191324-3A4D-B745-BDAC-FA074E5EA914}"/>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12" name="Subtitle 2">
            <a:extLst>
              <a:ext uri="{FF2B5EF4-FFF2-40B4-BE49-F238E27FC236}">
                <a16:creationId xmlns:a16="http://schemas.microsoft.com/office/drawing/2014/main" id="{77A44848-3A08-1545-98D7-3523DA9848F7}"/>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2" name="Graphic 1">
            <a:extLst>
              <a:ext uri="{FF2B5EF4-FFF2-40B4-BE49-F238E27FC236}">
                <a16:creationId xmlns:a16="http://schemas.microsoft.com/office/drawing/2014/main" id="{D24E8A85-6C91-146B-087A-D3B1F1AC61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3" name="Text Box 92">
            <a:extLst>
              <a:ext uri="{FF2B5EF4-FFF2-40B4-BE49-F238E27FC236}">
                <a16:creationId xmlns:a16="http://schemas.microsoft.com/office/drawing/2014/main" id="{3BF45DA8-68D1-8131-9975-4F39534CB32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353709883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mphasis">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78A86BC-81A0-D64A-8E1C-839DCC18C7D8}"/>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CA97B3DF-AE92-604F-9263-CEE3C35F7CFE}"/>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30358215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Logistics 1">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B7356CFE-70B6-7BB8-DB18-C9205300EEA1}"/>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6" name="Graphic 5">
            <a:extLst>
              <a:ext uri="{FF2B5EF4-FFF2-40B4-BE49-F238E27FC236}">
                <a16:creationId xmlns:a16="http://schemas.microsoft.com/office/drawing/2014/main" id="{8D357C04-2103-4044-1B2E-F2693BB586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80F12EB3-81B9-B03D-6EA8-D963B02C7A20}"/>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B737D7D-2A3B-1C0D-8A32-ADF223BD320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09F0470F-D6BA-B366-D6E3-DBE9BE8BF49E}"/>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81282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Logistics 2">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A876F87F-E5E0-1E7F-8888-4717B311B8C7}"/>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268C4367-80C5-F838-E9BC-73491685D3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51D491F3-7420-C959-35C4-196DA8B48D9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5880051F-DCD6-E1D8-CA2F-40EA8DFAA3A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695B3F8-1B67-78AD-BC94-0215CA55834F}"/>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146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High-Tech">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E057B152-6E36-22D3-D988-81AF461A6AC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9651510-7314-165A-E1D3-B5A2F1BABF1C}"/>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5D402ECA-D171-6D57-6B42-8883F8FDCCC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028038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Life Scienc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691745-EAFF-4908-8282-0391E07A0E20}"/>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Text Box 92">
            <a:extLst>
              <a:ext uri="{FF2B5EF4-FFF2-40B4-BE49-F238E27FC236}">
                <a16:creationId xmlns:a16="http://schemas.microsoft.com/office/drawing/2014/main" id="{92D25312-027F-2C67-8299-447FCA222D7A}"/>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9BCCE209-6D74-FB8B-9459-09E5680375A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149141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Healthcar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A13073-7078-8DE6-27E7-37512079F95A}"/>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66A9C3AC-B3AC-EE47-4C59-D94B1CE1F906}"/>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76A9AA13-BC0D-C9FD-32FB-76FEE938161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720817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451134"/>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447800"/>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26464052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895302"/>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891968"/>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Text Placeholder 9">
            <a:extLst>
              <a:ext uri="{FF2B5EF4-FFF2-40B4-BE49-F238E27FC236}">
                <a16:creationId xmlns:a16="http://schemas.microsoft.com/office/drawing/2014/main" id="{409D40C6-75F1-CF12-4FA0-36F4CB209EF1}"/>
              </a:ext>
            </a:extLst>
          </p:cNvPr>
          <p:cNvSpPr>
            <a:spLocks noGrp="1"/>
          </p:cNvSpPr>
          <p:nvPr>
            <p:ph type="body" sz="quarter" idx="17" hasCustomPrompt="1"/>
          </p:nvPr>
        </p:nvSpPr>
        <p:spPr>
          <a:xfrm>
            <a:off x="380999"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3" name="Text Placeholder 9">
            <a:extLst>
              <a:ext uri="{FF2B5EF4-FFF2-40B4-BE49-F238E27FC236}">
                <a16:creationId xmlns:a16="http://schemas.microsoft.com/office/drawing/2014/main" id="{73002B2B-8303-458A-A69E-8633AADCA004}"/>
              </a:ext>
            </a:extLst>
          </p:cNvPr>
          <p:cNvSpPr>
            <a:spLocks noGrp="1"/>
          </p:cNvSpPr>
          <p:nvPr>
            <p:ph type="body" sz="quarter" idx="19" hasCustomPrompt="1"/>
          </p:nvPr>
        </p:nvSpPr>
        <p:spPr>
          <a:xfrm>
            <a:off x="6169651"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24702528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ree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48943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ree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3" name="Text Placeholder 9">
            <a:extLst>
              <a:ext uri="{FF2B5EF4-FFF2-40B4-BE49-F238E27FC236}">
                <a16:creationId xmlns:a16="http://schemas.microsoft.com/office/drawing/2014/main" id="{F5561ADC-51AB-973D-7B23-B08AA34F11B2}"/>
              </a:ext>
            </a:extLst>
          </p:cNvPr>
          <p:cNvSpPr>
            <a:spLocks noGrp="1"/>
          </p:cNvSpPr>
          <p:nvPr>
            <p:ph type="body" sz="quarter" idx="17" hasCustomPrompt="1"/>
          </p:nvPr>
        </p:nvSpPr>
        <p:spPr>
          <a:xfrm>
            <a:off x="609600"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382777"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9">
            <a:extLst>
              <a:ext uri="{FF2B5EF4-FFF2-40B4-BE49-F238E27FC236}">
                <a16:creationId xmlns:a16="http://schemas.microsoft.com/office/drawing/2014/main" id="{986B4E32-8D99-9493-A159-B21154F0A63E}"/>
              </a:ext>
            </a:extLst>
          </p:cNvPr>
          <p:cNvSpPr>
            <a:spLocks noGrp="1"/>
          </p:cNvSpPr>
          <p:nvPr>
            <p:ph type="body" sz="quarter" idx="21" hasCustomPrompt="1"/>
          </p:nvPr>
        </p:nvSpPr>
        <p:spPr>
          <a:xfrm>
            <a:off x="8153401"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40883330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Grid Six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943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943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00150"/>
            <a:ext cx="10970247" cy="4667250"/>
            <a:chOff x="609600" y="1200150"/>
            <a:chExt cx="10970247" cy="466725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421005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0A57B38-92C2-7376-8D15-F988849DBCF7}"/>
                </a:ext>
              </a:extLst>
            </p:cNvPr>
            <p:cNvCxnSpPr>
              <a:cxnSpLocks/>
            </p:cNvCxnSpPr>
            <p:nvPr userDrawn="1"/>
          </p:nvCxnSpPr>
          <p:spPr>
            <a:xfrm flipV="1">
              <a:off x="7991475" y="120015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4517405"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0" name="Content Placeholder 2">
            <a:extLst>
              <a:ext uri="{FF2B5EF4-FFF2-40B4-BE49-F238E27FC236}">
                <a16:creationId xmlns:a16="http://schemas.microsoft.com/office/drawing/2014/main" id="{7DCC6415-F2FB-89EE-2944-F0BCCFC4BE62}"/>
              </a:ext>
            </a:extLst>
          </p:cNvPr>
          <p:cNvSpPr>
            <a:spLocks noGrp="1"/>
          </p:cNvSpPr>
          <p:nvPr>
            <p:ph idx="28" hasCustomPrompt="1"/>
          </p:nvPr>
        </p:nvSpPr>
        <p:spPr>
          <a:xfrm>
            <a:off x="8714098" y="1888561"/>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1" name="Text Placeholder 9">
            <a:extLst>
              <a:ext uri="{FF2B5EF4-FFF2-40B4-BE49-F238E27FC236}">
                <a16:creationId xmlns:a16="http://schemas.microsoft.com/office/drawing/2014/main" id="{D2519197-4EDB-7B44-D048-7FE409D25AFE}"/>
              </a:ext>
            </a:extLst>
          </p:cNvPr>
          <p:cNvSpPr>
            <a:spLocks noGrp="1"/>
          </p:cNvSpPr>
          <p:nvPr>
            <p:ph type="body" sz="quarter" idx="29" hasCustomPrompt="1"/>
          </p:nvPr>
        </p:nvSpPr>
        <p:spPr>
          <a:xfrm>
            <a:off x="8714097"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2" name="Group 41">
            <a:extLst>
              <a:ext uri="{FF2B5EF4-FFF2-40B4-BE49-F238E27FC236}">
                <a16:creationId xmlns:a16="http://schemas.microsoft.com/office/drawing/2014/main" id="{F547BF1F-2DD4-9D0C-8CEF-DCCF864E030F}"/>
              </a:ext>
            </a:extLst>
          </p:cNvPr>
          <p:cNvGrpSpPr>
            <a:grpSpLocks noChangeAspect="1"/>
          </p:cNvGrpSpPr>
          <p:nvPr userDrawn="1"/>
        </p:nvGrpSpPr>
        <p:grpSpPr>
          <a:xfrm>
            <a:off x="8288027" y="1337851"/>
            <a:ext cx="365760" cy="365760"/>
            <a:chOff x="1161489" y="1923489"/>
            <a:chExt cx="457200" cy="457200"/>
          </a:xfrm>
        </p:grpSpPr>
        <p:sp>
          <p:nvSpPr>
            <p:cNvPr id="43" name="Rounded Rectangle 30">
              <a:extLst>
                <a:ext uri="{FF2B5EF4-FFF2-40B4-BE49-F238E27FC236}">
                  <a16:creationId xmlns:a16="http://schemas.microsoft.com/office/drawing/2014/main" id="{418FCA71-3C5E-EDB0-2AB3-0D641C9B30EB}"/>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4" name="Graphic 43" descr="Checkmark with solid fill">
              <a:extLst>
                <a:ext uri="{FF2B5EF4-FFF2-40B4-BE49-F238E27FC236}">
                  <a16:creationId xmlns:a16="http://schemas.microsoft.com/office/drawing/2014/main" id="{6DFE2BE5-E9C5-0CC7-0B12-50B243FAFEC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4943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4943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4517403"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5" name="Content Placeholder 2">
            <a:extLst>
              <a:ext uri="{FF2B5EF4-FFF2-40B4-BE49-F238E27FC236}">
                <a16:creationId xmlns:a16="http://schemas.microsoft.com/office/drawing/2014/main" id="{C08056FB-BF77-D0E8-5B85-DE5AA20E0E7D}"/>
              </a:ext>
            </a:extLst>
          </p:cNvPr>
          <p:cNvSpPr>
            <a:spLocks noGrp="1"/>
          </p:cNvSpPr>
          <p:nvPr>
            <p:ph idx="34" hasCustomPrompt="1"/>
          </p:nvPr>
        </p:nvSpPr>
        <p:spPr>
          <a:xfrm>
            <a:off x="8714096" y="4352007"/>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6" name="Text Placeholder 9">
            <a:extLst>
              <a:ext uri="{FF2B5EF4-FFF2-40B4-BE49-F238E27FC236}">
                <a16:creationId xmlns:a16="http://schemas.microsoft.com/office/drawing/2014/main" id="{1441E5D8-B614-5958-97D8-4AAF59FC38F2}"/>
              </a:ext>
            </a:extLst>
          </p:cNvPr>
          <p:cNvSpPr>
            <a:spLocks noGrp="1"/>
          </p:cNvSpPr>
          <p:nvPr>
            <p:ph type="body" sz="quarter" idx="35" hasCustomPrompt="1"/>
          </p:nvPr>
        </p:nvSpPr>
        <p:spPr>
          <a:xfrm>
            <a:off x="8714095"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7" name="Group 56">
            <a:extLst>
              <a:ext uri="{FF2B5EF4-FFF2-40B4-BE49-F238E27FC236}">
                <a16:creationId xmlns:a16="http://schemas.microsoft.com/office/drawing/2014/main" id="{BEEFC022-A505-A170-665B-893FA044C1BB}"/>
              </a:ext>
            </a:extLst>
          </p:cNvPr>
          <p:cNvGrpSpPr>
            <a:grpSpLocks noChangeAspect="1"/>
          </p:cNvGrpSpPr>
          <p:nvPr userDrawn="1"/>
        </p:nvGrpSpPr>
        <p:grpSpPr>
          <a:xfrm>
            <a:off x="8288025" y="3801297"/>
            <a:ext cx="365760" cy="365760"/>
            <a:chOff x="1161489" y="1923489"/>
            <a:chExt cx="457200" cy="457200"/>
          </a:xfrm>
        </p:grpSpPr>
        <p:sp>
          <p:nvSpPr>
            <p:cNvPr id="58" name="Rounded Rectangle 30">
              <a:extLst>
                <a:ext uri="{FF2B5EF4-FFF2-40B4-BE49-F238E27FC236}">
                  <a16:creationId xmlns:a16="http://schemas.microsoft.com/office/drawing/2014/main" id="{6DC2B077-69BC-A87D-5818-2C1F18BD0E1A}"/>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9" name="Graphic 58" descr="Checkmark with solid fill">
              <a:extLst>
                <a:ext uri="{FF2B5EF4-FFF2-40B4-BE49-F238E27FC236}">
                  <a16:creationId xmlns:a16="http://schemas.microsoft.com/office/drawing/2014/main" id="{35DB04CB-A210-EE42-2EDB-0410D1CBB28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1594568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usiness Wo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2DDDBE96-C72E-A94B-0D67-F51DB499ECD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C3ABB9F6-F192-48B4-D09E-E2F065648E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610A513C-8357-4D6C-EF6F-BD685AD8A3B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CEFD2A14-B2F1-4B2A-B82D-7681E9F4C6F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F59D9166-27EA-0592-45FD-8480DA61A701}"/>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8862965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Grid Four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6844893"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6844891"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19200"/>
            <a:ext cx="10970247" cy="4648200"/>
            <a:chOff x="609600" y="1219200"/>
            <a:chExt cx="10970247" cy="464820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609600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6418822"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4"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6844891"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6844889"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6418820"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2"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21509068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Visual &amp; Tex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C9A9C-1F1D-7B13-A172-E1E3D876715A}"/>
              </a:ext>
            </a:extLst>
          </p:cNvPr>
          <p:cNvSpPr>
            <a:spLocks noGrp="1"/>
          </p:cNvSpPr>
          <p:nvPr>
            <p:ph type="title" hasCustomPrompt="1"/>
          </p:nvPr>
        </p:nvSpPr>
        <p:spPr/>
        <p:txBody>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10" name="Content Placeholder 2">
            <a:extLst>
              <a:ext uri="{FF2B5EF4-FFF2-40B4-BE49-F238E27FC236}">
                <a16:creationId xmlns:a16="http://schemas.microsoft.com/office/drawing/2014/main" id="{B91E5054-03B7-DBB6-FD72-2384015A20EA}"/>
              </a:ext>
            </a:extLst>
          </p:cNvPr>
          <p:cNvSpPr>
            <a:spLocks noGrp="1"/>
          </p:cNvSpPr>
          <p:nvPr>
            <p:ph idx="20" hasCustomPrompt="1"/>
          </p:nvPr>
        </p:nvSpPr>
        <p:spPr>
          <a:xfrm>
            <a:off x="8375904" y="1447800"/>
            <a:ext cx="3203944"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4850ED68-9AA5-EB85-CFAB-831B927DF76E}"/>
              </a:ext>
            </a:extLst>
          </p:cNvPr>
          <p:cNvSpPr>
            <a:spLocks noGrp="1"/>
          </p:cNvSpPr>
          <p:nvPr>
            <p:ph idx="21" hasCustomPrompt="1"/>
          </p:nvPr>
        </p:nvSpPr>
        <p:spPr>
          <a:xfrm>
            <a:off x="381000" y="1447800"/>
            <a:ext cx="7772399"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31735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sual &amp; Text 2">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59D609AE-CE09-C774-5AAA-5F44219B7E72}"/>
              </a:ext>
            </a:extLst>
          </p:cNvPr>
          <p:cNvSpPr>
            <a:spLocks noGrp="1"/>
          </p:cNvSpPr>
          <p:nvPr>
            <p:ph idx="20" hasCustomPrompt="1"/>
          </p:nvPr>
        </p:nvSpPr>
        <p:spPr>
          <a:xfrm>
            <a:off x="8724900" y="2143759"/>
            <a:ext cx="3108960" cy="36576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C562A788-3FBD-AC78-96BF-9CC5E02EA62C}"/>
              </a:ext>
            </a:extLst>
          </p:cNvPr>
          <p:cNvSpPr>
            <a:spLocks noGrp="1"/>
          </p:cNvSpPr>
          <p:nvPr>
            <p:ph type="body" sz="quarter" idx="21" hasCustomPrompt="1"/>
          </p:nvPr>
        </p:nvSpPr>
        <p:spPr>
          <a:xfrm>
            <a:off x="8724900" y="1242800"/>
            <a:ext cx="3108960" cy="8229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marL="0" marR="0" lvl="0" indent="0" algn="l" defTabSz="121917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a:pPr>
            <a:r>
              <a:rPr lang="en-US"/>
              <a:t>Click to edit title</a:t>
            </a:r>
          </a:p>
        </p:txBody>
      </p:sp>
      <p:sp>
        <p:nvSpPr>
          <p:cNvPr id="2" name="Content Placeholder 2">
            <a:extLst>
              <a:ext uri="{FF2B5EF4-FFF2-40B4-BE49-F238E27FC236}">
                <a16:creationId xmlns:a16="http://schemas.microsoft.com/office/drawing/2014/main" id="{EE855AA4-22AC-B470-96BD-5604052CD9BD}"/>
              </a:ext>
            </a:extLst>
          </p:cNvPr>
          <p:cNvSpPr>
            <a:spLocks noGrp="1"/>
          </p:cNvSpPr>
          <p:nvPr>
            <p:ph idx="22" hasCustomPrompt="1"/>
          </p:nvPr>
        </p:nvSpPr>
        <p:spPr>
          <a:xfrm>
            <a:off x="381000" y="1242800"/>
            <a:ext cx="8127999" cy="45720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144597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Section 1">
    <p:bg>
      <p:bgPr>
        <a:solidFill>
          <a:srgbClr val="00003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F946ACA-A5AA-EED2-C848-6ED9133153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Box 1">
            <a:extLst>
              <a:ext uri="{FF2B5EF4-FFF2-40B4-BE49-F238E27FC236}">
                <a16:creationId xmlns:a16="http://schemas.microsoft.com/office/drawing/2014/main" id="{09465EFD-2BDD-1D40-975C-9BB4BDE2AE8E}"/>
              </a:ext>
            </a:extLst>
          </p:cNvPr>
          <p:cNvSpPr txBox="1"/>
          <p:nvPr userDrawn="1"/>
        </p:nvSpPr>
        <p:spPr>
          <a:xfrm>
            <a:off x="-357447" y="3690851"/>
            <a:ext cx="0" cy="0"/>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ctr">
            <a:normAutofit fontScale="25000" lnSpcReduction="20000"/>
          </a:bodyPr>
          <a:lstStyle/>
          <a:p>
            <a:pPr algn="l"/>
            <a:endParaRPr lang="en-US" sz="4400" b="0" i="0" kern="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Footer Placeholder 4">
            <a:extLst>
              <a:ext uri="{FF2B5EF4-FFF2-40B4-BE49-F238E27FC236}">
                <a16:creationId xmlns:a16="http://schemas.microsoft.com/office/drawing/2014/main" id="{45E1E5AA-4AE0-A751-5E7E-4A46F9283F00}"/>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6" name="Graphic 5">
            <a:extLst>
              <a:ext uri="{FF2B5EF4-FFF2-40B4-BE49-F238E27FC236}">
                <a16:creationId xmlns:a16="http://schemas.microsoft.com/office/drawing/2014/main" id="{ACF16567-3476-234C-F230-34791BA12D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8" name="Text Box 92">
            <a:extLst>
              <a:ext uri="{FF2B5EF4-FFF2-40B4-BE49-F238E27FC236}">
                <a16:creationId xmlns:a16="http://schemas.microsoft.com/office/drawing/2014/main" id="{C30F8BBC-3861-688C-7ECC-25674554608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12042B61-7F7F-EB1D-31A7-31178B719617}"/>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082356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Section 2">
    <p:bg>
      <p:bgPr>
        <a:solidFill>
          <a:srgbClr val="F5F8FD"/>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1827E4B-E306-81BA-D9E8-0ECE54D931F8}"/>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Footer Placeholder 4">
            <a:extLst>
              <a:ext uri="{FF2B5EF4-FFF2-40B4-BE49-F238E27FC236}">
                <a16:creationId xmlns:a16="http://schemas.microsoft.com/office/drawing/2014/main" id="{2B0907F5-52ED-9C0D-B057-E38D08DA6B02}"/>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4" name="Graphic 3">
            <a:extLst>
              <a:ext uri="{FF2B5EF4-FFF2-40B4-BE49-F238E27FC236}">
                <a16:creationId xmlns:a16="http://schemas.microsoft.com/office/drawing/2014/main" id="{440F785A-3107-6D3E-C9E6-B2AA5C58504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2719AF64-4315-1813-2084-A6D0BE13CBE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D4B5ACA5-87F8-8BC7-261E-60FF8E58F533}"/>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565044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Section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9BCF50-C4CD-C162-E06D-4CBD5C2DD811}"/>
              </a:ext>
            </a:extLst>
          </p:cNvPr>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36C061D7-9E76-8737-471B-3FDFB6F8E57E}"/>
              </a:ext>
            </a:extLst>
          </p:cNvPr>
          <p:cNvSpPr/>
          <p:nvPr userDrawn="1"/>
        </p:nvSpPr>
        <p:spPr>
          <a:xfrm>
            <a:off x="0" y="0"/>
            <a:ext cx="12192000" cy="6858000"/>
          </a:xfrm>
          <a:prstGeom prst="rect">
            <a:avLst/>
          </a:prstGeom>
          <a:gradFill flip="none" rotWithShape="1">
            <a:gsLst>
              <a:gs pos="0">
                <a:schemeClr val="accent2">
                  <a:lumMod val="75000"/>
                </a:schemeClr>
              </a:gs>
              <a:gs pos="100000">
                <a:schemeClr val="accent3">
                  <a:lumMod val="75000"/>
                  <a:alpha val="79903"/>
                </a:schemeClr>
              </a:gs>
            </a:gsLst>
            <a:lin ang="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0B7E309B-9BFF-D88D-FF7C-E65F09F6E2D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4" name="Title 1">
            <a:extLst>
              <a:ext uri="{FF2B5EF4-FFF2-40B4-BE49-F238E27FC236}">
                <a16:creationId xmlns:a16="http://schemas.microsoft.com/office/drawing/2014/main" id="{F5662734-77ED-EF2A-B73D-353976AD01F4}"/>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B9DEB9FE-E9AB-5F44-C73D-D7DD69A9934B}"/>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6" name="Footer Placeholder 4">
            <a:extLst>
              <a:ext uri="{FF2B5EF4-FFF2-40B4-BE49-F238E27FC236}">
                <a16:creationId xmlns:a16="http://schemas.microsoft.com/office/drawing/2014/main" id="{6D790AFE-B243-3E1A-D68D-C7D6ADFB60B8}"/>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sp>
        <p:nvSpPr>
          <p:cNvPr id="7" name="Text Box 92">
            <a:extLst>
              <a:ext uri="{FF2B5EF4-FFF2-40B4-BE49-F238E27FC236}">
                <a16:creationId xmlns:a16="http://schemas.microsoft.com/office/drawing/2014/main" id="{6DBABA46-43E0-5208-A011-26D401F9E70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10" name="Slide Number Placeholder 5">
            <a:extLst>
              <a:ext uri="{FF2B5EF4-FFF2-40B4-BE49-F238E27FC236}">
                <a16:creationId xmlns:a16="http://schemas.microsoft.com/office/drawing/2014/main" id="{280BCE49-B135-816A-9434-9B6A1DFED8D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153950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Branded">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57F405F9-D6B0-E463-4908-CA589AF18D10}"/>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14838890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otally Blank">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19999656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D36F64-BEDC-DE00-3D63-8D02C212CC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981198" y="4705464"/>
            <a:ext cx="8229600" cy="457200"/>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Jane Doe | CEO, Company</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5357397" y="135856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5400" b="0" i="0">
                <a:solidFill>
                  <a:schemeClr val="tx2"/>
                </a:solidFill>
                <a:latin typeface="Open Sans" panose="020B0606030504020204" pitchFamily="34" charset="0"/>
                <a:ea typeface="Open Sans" panose="020B0606030504020204" pitchFamily="34" charset="0"/>
                <a:cs typeface="Open Sans" panose="020B0606030504020204" pitchFamily="34" charset="0"/>
              </a:rPr>
              <a:t>“ ” </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1981198" y="2101736"/>
            <a:ext cx="8229600" cy="2286000"/>
          </a:xfrm>
        </p:spPr>
        <p:txBody>
          <a:bodyPr/>
          <a:lstStyle>
            <a:lvl1pPr marL="0" indent="0" algn="ctr">
              <a:lnSpc>
                <a:spcPct val="120000"/>
              </a:lnSpc>
              <a:spcBef>
                <a:spcPts val="600"/>
              </a:spcBef>
              <a:buNone/>
              <a:defRPr b="0" i="0">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2" name="Footer Placeholder 4">
            <a:extLst>
              <a:ext uri="{FF2B5EF4-FFF2-40B4-BE49-F238E27FC236}">
                <a16:creationId xmlns:a16="http://schemas.microsoft.com/office/drawing/2014/main" id="{0CA5C54C-5BEF-8BD2-417E-0F91888C65DD}"/>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5" name="Graphic 4">
            <a:extLst>
              <a:ext uri="{FF2B5EF4-FFF2-40B4-BE49-F238E27FC236}">
                <a16:creationId xmlns:a16="http://schemas.microsoft.com/office/drawing/2014/main" id="{253EEEED-11B5-D1FD-B00A-8F102F25489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9" name="Text Box 92">
            <a:extLst>
              <a:ext uri="{FF2B5EF4-FFF2-40B4-BE49-F238E27FC236}">
                <a16:creationId xmlns:a16="http://schemas.microsoft.com/office/drawing/2014/main" id="{66C4394F-1EBA-BB96-1E44-0793D8C7B86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7F779458-B9EA-CDC4-F33A-E90B326C9D02}"/>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365811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4" name="Speech Bubble: Rectangle with Corners Rounded 3">
            <a:extLst>
              <a:ext uri="{FF2B5EF4-FFF2-40B4-BE49-F238E27FC236}">
                <a16:creationId xmlns:a16="http://schemas.microsoft.com/office/drawing/2014/main" id="{53C3751A-635A-CF50-DDB9-0318FD9CB5FD}"/>
              </a:ext>
            </a:extLst>
          </p:cNvPr>
          <p:cNvSpPr/>
          <p:nvPr userDrawn="1"/>
        </p:nvSpPr>
        <p:spPr>
          <a:xfrm>
            <a:off x="4021240" y="1283100"/>
            <a:ext cx="7132320" cy="3474720"/>
          </a:xfrm>
          <a:prstGeom prst="wedgeRoundRectCallout">
            <a:avLst>
              <a:gd name="adj1" fmla="val -59634"/>
              <a:gd name="adj2" fmla="val -8252"/>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005194" y="4052999"/>
            <a:ext cx="2128837" cy="353470"/>
          </a:xfrm>
        </p:spPr>
        <p:txBody>
          <a:bodyPr>
            <a:noAutofit/>
          </a:bodyPr>
          <a:lstStyle>
            <a:lvl1pPr marL="0" indent="0" algn="ctr">
              <a:buNone/>
              <a:defRPr lang="en-US" sz="1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name</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3882507" y="145935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7200" b="0" i="0">
                <a:solidFill>
                  <a:schemeClr val="accent2">
                    <a:lumMod val="75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4854780" y="1832997"/>
            <a:ext cx="5943600" cy="2286000"/>
          </a:xfrm>
        </p:spPr>
        <p:txBody>
          <a:bodyPr/>
          <a:lstStyle>
            <a:lvl1pPr marL="0" indent="0" algn="l">
              <a:lnSpc>
                <a:spcPct val="120000"/>
              </a:lnSpc>
              <a:spcBef>
                <a:spcPts val="600"/>
              </a:spcBef>
              <a:buNone/>
              <a:defRPr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6" name="Picture Placeholder 5">
            <a:extLst>
              <a:ext uri="{FF2B5EF4-FFF2-40B4-BE49-F238E27FC236}">
                <a16:creationId xmlns:a16="http://schemas.microsoft.com/office/drawing/2014/main" id="{55647432-2A62-2A47-F81C-A724F979227C}"/>
              </a:ext>
            </a:extLst>
          </p:cNvPr>
          <p:cNvSpPr>
            <a:spLocks noGrp="1"/>
          </p:cNvSpPr>
          <p:nvPr>
            <p:ph type="pic" sz="quarter" idx="18"/>
          </p:nvPr>
        </p:nvSpPr>
        <p:spPr>
          <a:xfrm>
            <a:off x="1005193" y="1821067"/>
            <a:ext cx="2128838" cy="2127250"/>
          </a:xfrm>
        </p:spPr>
        <p:txBody>
          <a:bodyPr/>
          <a:lstStyle>
            <a:lvl1pPr>
              <a:defRPr b="0" i="0">
                <a:latin typeface="Open Sans" panose="020B0606030504020204" pitchFamily="34" charset="0"/>
                <a:ea typeface="Open Sans" panose="020B0606030504020204" pitchFamily="34" charset="0"/>
                <a:cs typeface="Open Sans" panose="020B0606030504020204" pitchFamily="34" charset="0"/>
              </a:defRPr>
            </a:lvl1pPr>
          </a:lstStyle>
          <a:p>
            <a:endParaRPr lang="en-US"/>
          </a:p>
        </p:txBody>
      </p:sp>
      <p:sp>
        <p:nvSpPr>
          <p:cNvPr id="9" name="Text Placeholder 9">
            <a:extLst>
              <a:ext uri="{FF2B5EF4-FFF2-40B4-BE49-F238E27FC236}">
                <a16:creationId xmlns:a16="http://schemas.microsoft.com/office/drawing/2014/main" id="{6276E121-90C4-1E7B-4D2F-23C799CA9853}"/>
              </a:ext>
            </a:extLst>
          </p:cNvPr>
          <p:cNvSpPr>
            <a:spLocks noGrp="1"/>
          </p:cNvSpPr>
          <p:nvPr>
            <p:ph type="body" sz="quarter" idx="19" hasCustomPrompt="1"/>
          </p:nvPr>
        </p:nvSpPr>
        <p:spPr>
          <a:xfrm>
            <a:off x="1005193" y="4502389"/>
            <a:ext cx="2128836" cy="813616"/>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title and company</a:t>
            </a:r>
          </a:p>
        </p:txBody>
      </p:sp>
    </p:spTree>
    <p:extLst>
      <p:ext uri="{BB962C8B-B14F-4D97-AF65-F5344CB8AC3E}">
        <p14:creationId xmlns:p14="http://schemas.microsoft.com/office/powerpoint/2010/main" val="34190584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usiness 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78B3FD4F-770F-E7EC-81A0-45718D40CC59}"/>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373B6521-B3E6-25A2-EAB6-C3D40E2D71B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53588A47-6BEA-B4A7-A211-EA9DE3EE73A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7D326E3C-0BD8-6294-2B89-AE946101171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790F872-9520-EB1F-9EAA-FEBDE9EBC37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0294297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Logo Only">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pic>
        <p:nvPicPr>
          <p:cNvPr id="2" name="Graphic 1">
            <a:extLst>
              <a:ext uri="{FF2B5EF4-FFF2-40B4-BE49-F238E27FC236}">
                <a16:creationId xmlns:a16="http://schemas.microsoft.com/office/drawing/2014/main" id="{5F5FD03C-2AA3-4ADE-188F-80933E1A45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52800" y="2369005"/>
            <a:ext cx="5486400" cy="2119989"/>
          </a:xfrm>
          <a:prstGeom prst="rect">
            <a:avLst/>
          </a:prstGeom>
        </p:spPr>
      </p:pic>
    </p:spTree>
    <p:extLst>
      <p:ext uri="{BB962C8B-B14F-4D97-AF65-F5344CB8AC3E}">
        <p14:creationId xmlns:p14="http://schemas.microsoft.com/office/powerpoint/2010/main" val="38475340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EB83CE0-1B79-A4EC-8E18-096FEA008D78}"/>
              </a:ext>
            </a:extLst>
          </p:cNvPr>
          <p:cNvSpPr>
            <a:spLocks noGrp="1"/>
          </p:cNvSpPr>
          <p:nvPr>
            <p:ph type="dt" sz="half" idx="10"/>
          </p:nvPr>
        </p:nvSpPr>
        <p:spPr/>
        <p:txBody>
          <a:bodyPr/>
          <a:lstStyle/>
          <a:p>
            <a:fld id="{9C847E58-7CA0-487B-9F90-E507C0BF073C}" type="datetime1">
              <a:rPr lang="en-US" smtClean="0"/>
              <a:t>4/3/2024</a:t>
            </a:fld>
            <a:endParaRPr lang="en-US"/>
          </a:p>
        </p:txBody>
      </p:sp>
      <p:sp>
        <p:nvSpPr>
          <p:cNvPr id="3" name="Footer Placeholder 2">
            <a:extLst>
              <a:ext uri="{FF2B5EF4-FFF2-40B4-BE49-F238E27FC236}">
                <a16:creationId xmlns:a16="http://schemas.microsoft.com/office/drawing/2014/main" id="{84A419CE-BE9B-1403-90DE-AB4131DBFDC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33E80ED-5CCA-A9D6-CB50-742E7A112AA6}"/>
              </a:ext>
            </a:extLst>
          </p:cNvPr>
          <p:cNvSpPr>
            <a:spLocks noGrp="1"/>
          </p:cNvSpPr>
          <p:nvPr>
            <p:ph type="sldNum" sz="quarter" idx="12"/>
          </p:nvPr>
        </p:nvSpPr>
        <p:spPr/>
        <p:txBody>
          <a:bodyPr/>
          <a:lstStyle/>
          <a:p>
            <a:fld id="{A71CF7C6-311C-43F9-BEED-C9088A7B7E89}" type="slidenum">
              <a:rPr lang="en-US" smtClean="0"/>
              <a:t>‹#›</a:t>
            </a:fld>
            <a:endParaRPr lang="en-US"/>
          </a:p>
        </p:txBody>
      </p:sp>
    </p:spTree>
    <p:extLst>
      <p:ext uri="{BB962C8B-B14F-4D97-AF65-F5344CB8AC3E}">
        <p14:creationId xmlns:p14="http://schemas.microsoft.com/office/powerpoint/2010/main" val="205903901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OK_USE THIS Content ">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5EAC9F-F819-4C96-84FE-30B40BA95285}"/>
              </a:ext>
            </a:extLst>
          </p:cNvPr>
          <p:cNvGraphicFramePr>
            <a:graphicFrameLocks noChangeAspect="1"/>
          </p:cNvGraphicFramePr>
          <p:nvPr userDrawn="1">
            <p:custDataLst>
              <p:tags r:id="rId1"/>
            </p:custDataLst>
            <p:extLst>
              <p:ext uri="{D42A27DB-BD31-4B8C-83A1-F6EECF244321}">
                <p14:modId xmlns:p14="http://schemas.microsoft.com/office/powerpoint/2010/main" val="1098660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5" imgH="476" progId="TCLayout.ActiveDocument.1">
                  <p:embed/>
                </p:oleObj>
              </mc:Choice>
              <mc:Fallback>
                <p:oleObj name="think-cell Slide" r:id="rId3" imgW="475" imgH="476" progId="TCLayout.ActiveDocument.1">
                  <p:embed/>
                  <p:pic>
                    <p:nvPicPr>
                      <p:cNvPr id="5" name="Object 4" hidden="1">
                        <a:extLst>
                          <a:ext uri="{FF2B5EF4-FFF2-40B4-BE49-F238E27FC236}">
                            <a16:creationId xmlns:a16="http://schemas.microsoft.com/office/drawing/2014/main" id="{425EAC9F-F819-4C96-84FE-30B40BA952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407988" y="381000"/>
            <a:ext cx="11170800" cy="248399"/>
          </a:xfrm>
          <a:prstGeom prst="rect">
            <a:avLst/>
          </a:prstGeom>
          <a:ln w="3175">
            <a:miter lim="400000"/>
          </a:ln>
        </p:spPr>
        <p:txBody>
          <a:bodyPr lIns="0" tIns="0" rIns="0" bIns="0">
            <a:noAutofit/>
          </a:bodyPr>
          <a:lstStyle>
            <a:lvl1pPr marL="0" indent="0">
              <a:lnSpc>
                <a:spcPct val="90000"/>
              </a:lnSpc>
              <a:buNone/>
              <a:defRPr lang="en-US" sz="1600" b="1" dirty="0">
                <a:solidFill>
                  <a:schemeClr val="accent2"/>
                </a:solidFill>
                <a:latin typeface="+mj-lt"/>
                <a:ea typeface="Graphik" panose="020B0503030202060203" pitchFamily="34" charset="0"/>
                <a:cs typeface="Graphik" panose="020B0503030202060203" pitchFamily="34" charset="0"/>
              </a:defRPr>
            </a:lvl1pPr>
            <a:lvl2pPr marL="0" indent="0">
              <a:buNone/>
              <a:defRPr sz="1800"/>
            </a:lvl2pPr>
            <a:lvl3pPr marL="228592">
              <a:buFont typeface="Arial" panose="020B0604020202020204" pitchFamily="34" charset="0"/>
              <a:buChar char="•"/>
              <a:defRPr sz="1800"/>
            </a:lvl3pPr>
            <a:lvl4pPr marL="457186">
              <a:buFont typeface="System Font"/>
              <a:buChar char="–"/>
              <a:defRPr sz="1600"/>
            </a:lvl4pPr>
            <a:lvl5pPr marL="685778">
              <a:buFont typeface="Arial" panose="020B0604020202020204" pitchFamily="34" charset="0"/>
              <a:buChar char="•"/>
              <a:defRPr sz="1600"/>
            </a:lvl5pPr>
          </a:lstStyle>
          <a:p>
            <a:pPr marR="0" lvl="0" defTabSz="410752">
              <a:lnSpc>
                <a:spcPct val="90000"/>
              </a:lnSpc>
              <a:spcBef>
                <a:spcPts val="900"/>
              </a:spcBef>
              <a:spcAft>
                <a:spcPts val="0"/>
              </a:spcAft>
              <a:buClrTx/>
              <a:buSzTx/>
              <a:buFontTx/>
              <a:tabLst/>
            </a:pPr>
            <a:r>
              <a:rPr lang="en-US"/>
              <a:t>Place Subtitle here </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407991" y="761919"/>
            <a:ext cx="11169599" cy="609681"/>
          </a:xfrm>
          <a:prstGeom prst="rect">
            <a:avLst/>
          </a:prstGeom>
          <a:ln w="3175">
            <a:miter lim="400000"/>
          </a:ln>
        </p:spPr>
        <p:txBody>
          <a:bodyPr vert="horz" lIns="0" tIns="0" rIns="0" bIns="0" rtlCol="0" anchor="t">
            <a:noAutofit/>
          </a:bodyPr>
          <a:lstStyle>
            <a:lvl1pPr>
              <a:defRPr lang="en-US" sz="2000" b="1" spc="0" baseline="0" dirty="0">
                <a:latin typeface="Graphik" panose="020B0503030202060203" pitchFamily="34" charset="0"/>
              </a:defRPr>
            </a:lvl1pPr>
          </a:lstStyle>
          <a:p>
            <a:pPr marL="0" marR="0" lvl="0" indent="0" defTabSz="228592">
              <a:lnSpc>
                <a:spcPct val="100000"/>
              </a:lnSpc>
              <a:spcBef>
                <a:spcPts val="1800"/>
              </a:spcBef>
              <a:spcAft>
                <a:spcPts val="0"/>
              </a:spcAft>
              <a:buClrTx/>
              <a:buSzTx/>
              <a:buFontTx/>
              <a:tabLst>
                <a:tab pos="171444" algn="l"/>
                <a:tab pos="352413" algn="l"/>
                <a:tab pos="533383" algn="l"/>
                <a:tab pos="704827" algn="l"/>
                <a:tab pos="885795" algn="l"/>
                <a:tab pos="1066764" algn="l"/>
                <a:tab pos="1238209" algn="l"/>
                <a:tab pos="1419178" algn="l"/>
                <a:tab pos="1600146" algn="l"/>
                <a:tab pos="1771592" algn="l"/>
                <a:tab pos="1952560" algn="l"/>
                <a:tab pos="2133529" algn="l"/>
              </a:tabLst>
            </a:pPr>
            <a:r>
              <a:rPr lang="en-US"/>
              <a:t>Place headline here (24pt)</a:t>
            </a:r>
          </a:p>
        </p:txBody>
      </p:sp>
      <p:sp>
        <p:nvSpPr>
          <p:cNvPr id="3" name="Textfeld 2">
            <a:extLst>
              <a:ext uri="{FF2B5EF4-FFF2-40B4-BE49-F238E27FC236}">
                <a16:creationId xmlns:a16="http://schemas.microsoft.com/office/drawing/2014/main" id="{87651C13-35B9-1340-8D91-C82A2D9A74EA}"/>
              </a:ext>
            </a:extLst>
          </p:cNvPr>
          <p:cNvSpPr txBox="1"/>
          <p:nvPr userDrawn="1"/>
        </p:nvSpPr>
        <p:spPr>
          <a:xfrm>
            <a:off x="1696278" y="1364974"/>
            <a:ext cx="0" cy="0"/>
          </a:xfrm>
          <a:prstGeom prst="rect">
            <a:avLst/>
          </a:prstGeom>
          <a:noFill/>
        </p:spPr>
        <p:txBody>
          <a:bodyPr wrap="none" lIns="0" tIns="0" rIns="0" bIns="0" rtlCol="0">
            <a:noAutofit/>
          </a:bodyPr>
          <a:lstStyle/>
          <a:p>
            <a:pPr algn="l" defTabSz="228592">
              <a:spcAft>
                <a:spcPts val="1200"/>
              </a:spcAft>
            </a:pPr>
            <a:endParaRPr lang="en-US" sz="2400" noProof="0"/>
          </a:p>
        </p:txBody>
      </p:sp>
      <p:sp>
        <p:nvSpPr>
          <p:cNvPr id="11" name="TextBox 24">
            <a:extLst>
              <a:ext uri="{FF2B5EF4-FFF2-40B4-BE49-F238E27FC236}">
                <a16:creationId xmlns:a16="http://schemas.microsoft.com/office/drawing/2014/main" id="{E087A52A-CA57-A949-9995-538F873F7EFB}"/>
              </a:ext>
            </a:extLst>
          </p:cNvPr>
          <p:cNvSpPr txBox="1"/>
          <p:nvPr userDrawn="1"/>
        </p:nvSpPr>
        <p:spPr>
          <a:xfrm>
            <a:off x="8157411" y="6446392"/>
            <a:ext cx="3294000" cy="205199"/>
          </a:xfrm>
          <a:prstGeom prst="rect">
            <a:avLst/>
          </a:prstGeom>
          <a:noFill/>
        </p:spPr>
        <p:txBody>
          <a:bodyPr wrap="square" lIns="0" tIns="0" rIns="0" bIns="0" rtlCol="0" anchor="ctr">
            <a:noAutofit/>
          </a:bodyPr>
          <a:lstStyle/>
          <a:p>
            <a:pPr marL="0" marR="0" lvl="0" indent="0" algn="r" defTabSz="228592" rtl="0" eaLnBrk="1" fontAlgn="auto" latinLnBrk="0" hangingPunct="1">
              <a:lnSpc>
                <a:spcPct val="100000"/>
              </a:lnSpc>
              <a:spcBef>
                <a:spcPts val="0"/>
              </a:spcBef>
              <a:spcAft>
                <a:spcPts val="1200"/>
              </a:spcAft>
              <a:buClrTx/>
              <a:buSzTx/>
              <a:buFontTx/>
              <a:buNone/>
              <a:tabLst/>
              <a:defRPr/>
            </a:pPr>
            <a:r>
              <a:rPr lang="en-US" sz="800">
                <a:solidFill>
                  <a:schemeClr val="tx1">
                    <a:alpha val="75000"/>
                  </a:schemeClr>
                </a:solidFill>
              </a:rPr>
              <a:t> © Accenture 2022 All rights reserved   |  </a:t>
            </a:r>
          </a:p>
        </p:txBody>
      </p:sp>
      <p:sp>
        <p:nvSpPr>
          <p:cNvPr id="12" name="TextBox 25">
            <a:extLst>
              <a:ext uri="{FF2B5EF4-FFF2-40B4-BE49-F238E27FC236}">
                <a16:creationId xmlns:a16="http://schemas.microsoft.com/office/drawing/2014/main" id="{27C8BAFB-F34B-E242-9D88-7027F1885F0A}"/>
              </a:ext>
            </a:extLst>
          </p:cNvPr>
          <p:cNvSpPr txBox="1"/>
          <p:nvPr userDrawn="1"/>
        </p:nvSpPr>
        <p:spPr>
          <a:xfrm>
            <a:off x="11422196" y="6446392"/>
            <a:ext cx="381000" cy="205775"/>
          </a:xfrm>
          <a:prstGeom prst="rect">
            <a:avLst/>
          </a:prstGeom>
          <a:noFill/>
        </p:spPr>
        <p:txBody>
          <a:bodyPr wrap="square" lIns="0" tIns="0" rIns="0" bIns="0" rtlCol="0" anchor="ctr">
            <a:noAutofit/>
          </a:bodyPr>
          <a:lstStyle>
            <a:defPPr>
              <a:defRPr lang="en-US"/>
            </a:defPPr>
            <a:lvl1pPr marR="0" lvl="0" indent="0" algn="r" defTabSz="228592" fontAlgn="auto">
              <a:lnSpc>
                <a:spcPct val="100000"/>
              </a:lnSpc>
              <a:spcBef>
                <a:spcPts val="0"/>
              </a:spcBef>
              <a:spcAft>
                <a:spcPts val="1200"/>
              </a:spcAft>
              <a:buClrTx/>
              <a:buSzTx/>
              <a:buFontTx/>
              <a:buNone/>
              <a:tabLst/>
              <a:defRPr sz="800">
                <a:solidFill>
                  <a:schemeClr val="tx1">
                    <a:alpha val="75000"/>
                  </a:schemeClr>
                </a:solidFill>
              </a:defRPr>
            </a:lvl1pPr>
          </a:lstStyle>
          <a:p>
            <a:pPr lvl="0"/>
            <a:fld id="{8A1971D9-5B62-3C46-9EC9-FDAAB88557B2}" type="slidenum">
              <a:rPr lang="en-US" smtClean="0">
                <a:solidFill>
                  <a:schemeClr val="tx1">
                    <a:alpha val="75000"/>
                  </a:schemeClr>
                </a:solidFill>
              </a:rPr>
              <a:pPr lvl="0"/>
              <a:t>‹#›</a:t>
            </a:fld>
            <a:endParaRPr lang="en-US" noProof="0">
              <a:solidFill>
                <a:schemeClr val="tx1">
                  <a:alpha val="75000"/>
                </a:schemeClr>
              </a:solidFill>
            </a:endParaRPr>
          </a:p>
        </p:txBody>
      </p:sp>
    </p:spTree>
    <p:extLst>
      <p:ext uri="{BB962C8B-B14F-4D97-AF65-F5344CB8AC3E}">
        <p14:creationId xmlns:p14="http://schemas.microsoft.com/office/powerpoint/2010/main" val="663104282"/>
      </p:ext>
    </p:extLst>
  </p:cSld>
  <p:clrMapOvr>
    <a:masterClrMapping/>
  </p:clrMapOvr>
  <p:extLst>
    <p:ext uri="{DCECCB84-F9BA-43D5-87BE-67443E8EF086}">
      <p15:sldGuideLst xmlns:p15="http://schemas.microsoft.com/office/powerpoint/2012/main">
        <p15:guide id="1" orient="horz" pos="867">
          <p15:clr>
            <a:srgbClr val="5ACBF0"/>
          </p15:clr>
        </p15:guide>
        <p15:guide id="2" pos="3720">
          <p15:clr>
            <a:srgbClr val="5ACBF0"/>
          </p15:clr>
        </p15:guide>
        <p15:guide id="3" pos="3960">
          <p15:clr>
            <a:srgbClr val="5ACBF0"/>
          </p15:clr>
        </p15:guide>
        <p15:guide id="4" orient="horz" pos="93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838200"/>
            <a:ext cx="11430000" cy="762000"/>
          </a:xfrm>
        </p:spPr>
        <p:txBody>
          <a:bodyPr>
            <a:normAutofit/>
          </a:bodyPr>
          <a:lstStyle>
            <a:lvl1pPr>
              <a:defRPr sz="3200" spc="0">
                <a:latin typeface="Arial" panose="020B0604020202020204" pitchFamily="34" charset="0"/>
                <a:ea typeface="Open Sans" panose="020B0606030504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8348084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Network BG">
    <p:bg>
      <p:bgPr>
        <a:solidFill>
          <a:schemeClr val="bg1"/>
        </a:solidFill>
        <a:effectLst/>
      </p:bgPr>
    </p:bg>
    <p:spTree>
      <p:nvGrpSpPr>
        <p:cNvPr id="1" name=""/>
        <p:cNvGrpSpPr/>
        <p:nvPr/>
      </p:nvGrpSpPr>
      <p:grpSpPr>
        <a:xfrm>
          <a:off x="0" y="0"/>
          <a:ext cx="0" cy="0"/>
          <a:chOff x="0" y="0"/>
          <a:chExt cx="0" cy="0"/>
        </a:xfrm>
      </p:grpSpPr>
      <p:pic>
        <p:nvPicPr>
          <p:cNvPr id="5" name="Picture 4" descr="A picture containing indoor, sitting, cat, water&#10;&#10;Description automatically generated">
            <a:extLst>
              <a:ext uri="{FF2B5EF4-FFF2-40B4-BE49-F238E27FC236}">
                <a16:creationId xmlns:a16="http://schemas.microsoft.com/office/drawing/2014/main" id="{F20309C4-2DB8-4FC6-9187-4278F98160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5" y="-15392"/>
            <a:ext cx="12192000" cy="6873392"/>
          </a:xfrm>
          <a:prstGeom prst="rect">
            <a:avLst/>
          </a:prstGeom>
        </p:spPr>
      </p:pic>
      <p:sp>
        <p:nvSpPr>
          <p:cNvPr id="3" name="Rectangle 2">
            <a:extLst>
              <a:ext uri="{FF2B5EF4-FFF2-40B4-BE49-F238E27FC236}">
                <a16:creationId xmlns:a16="http://schemas.microsoft.com/office/drawing/2014/main" id="{9BFBF472-36EC-42BF-AF5D-2FDC203E23E2}"/>
              </a:ext>
            </a:extLst>
          </p:cNvPr>
          <p:cNvSpPr/>
          <p:nvPr userDrawn="1"/>
        </p:nvSpPr>
        <p:spPr>
          <a:xfrm>
            <a:off x="2515" y="-4209"/>
            <a:ext cx="12192000" cy="6849611"/>
          </a:xfrm>
          <a:prstGeom prst="rect">
            <a:avLst/>
          </a:prstGeom>
          <a:solidFill>
            <a:schemeClr val="accent1">
              <a:lumMod val="50000"/>
              <a:alpha val="31000"/>
            </a:schemeClr>
          </a:solidFill>
          <a:ln>
            <a:noFill/>
          </a:ln>
          <a:effectLst>
            <a:outerShdw blurRad="50800" dist="50800" dir="5400000" algn="ctr" rotWithShape="0">
              <a:srgbClr val="000000">
                <a:alpha val="8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Graphic 18">
            <a:extLst>
              <a:ext uri="{FF2B5EF4-FFF2-40B4-BE49-F238E27FC236}">
                <a16:creationId xmlns:a16="http://schemas.microsoft.com/office/drawing/2014/main" id="{2831F21A-C98E-45E5-BE1E-271FB84B3739}"/>
              </a:ext>
            </a:extLst>
          </p:cNvPr>
          <p:cNvPicPr>
            <a:picLocks noChangeAspect="1"/>
          </p:cNvPicPr>
          <p:nvPr userDrawn="1"/>
        </p:nvPicPr>
        <p:blipFill>
          <a:blip r:embed="rId3" cstate="screen"/>
          <a:stretch>
            <a:fillRect/>
          </a:stretch>
        </p:blipFill>
        <p:spPr>
          <a:xfrm>
            <a:off x="10404475" y="6096000"/>
            <a:ext cx="1584325" cy="560388"/>
          </a:xfrm>
          <a:prstGeom prst="rect">
            <a:avLst/>
          </a:prstGeom>
        </p:spPr>
      </p:pic>
    </p:spTree>
    <p:extLst>
      <p:ext uri="{BB962C8B-B14F-4D97-AF65-F5344CB8AC3E}">
        <p14:creationId xmlns:p14="http://schemas.microsoft.com/office/powerpoint/2010/main" val="122868355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6A638F1-B6E2-A7B8-7F3D-5814FC4807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62500" y="1552575"/>
            <a:ext cx="7429500" cy="5305425"/>
          </a:xfrm>
          <a:prstGeom prst="rect">
            <a:avLst/>
          </a:prstGeom>
        </p:spPr>
      </p:pic>
      <p:sp>
        <p:nvSpPr>
          <p:cNvPr id="11" name="Title 1">
            <a:extLst>
              <a:ext uri="{FF2B5EF4-FFF2-40B4-BE49-F238E27FC236}">
                <a16:creationId xmlns:a16="http://schemas.microsoft.com/office/drawing/2014/main" id="{11191324-3A4D-B745-BDAC-FA074E5EA914}"/>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12" name="Subtitle 2">
            <a:extLst>
              <a:ext uri="{FF2B5EF4-FFF2-40B4-BE49-F238E27FC236}">
                <a16:creationId xmlns:a16="http://schemas.microsoft.com/office/drawing/2014/main" id="{77A44848-3A08-1545-98D7-3523DA9848F7}"/>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2" name="Graphic 1">
            <a:extLst>
              <a:ext uri="{FF2B5EF4-FFF2-40B4-BE49-F238E27FC236}">
                <a16:creationId xmlns:a16="http://schemas.microsoft.com/office/drawing/2014/main" id="{D24E8A85-6C91-146B-087A-D3B1F1AC61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3" name="Text Box 92">
            <a:extLst>
              <a:ext uri="{FF2B5EF4-FFF2-40B4-BE49-F238E27FC236}">
                <a16:creationId xmlns:a16="http://schemas.microsoft.com/office/drawing/2014/main" id="{3BF45DA8-68D1-8131-9975-4F39534CB32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338850249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C43D9B-44E5-5227-2E45-EF9EF0AB6A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0100" y="2057400"/>
            <a:ext cx="7581900" cy="4819650"/>
          </a:xfrm>
          <a:prstGeom prst="rect">
            <a:avLst/>
          </a:prstGeom>
        </p:spPr>
      </p:pic>
      <p:pic>
        <p:nvPicPr>
          <p:cNvPr id="9" name="Graphic 8">
            <a:extLst>
              <a:ext uri="{FF2B5EF4-FFF2-40B4-BE49-F238E27FC236}">
                <a16:creationId xmlns:a16="http://schemas.microsoft.com/office/drawing/2014/main" id="{6AF26A37-6D9C-028E-B089-617CA487F7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03B90F01-9144-92B6-4A82-AD6C6A59A290}"/>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6" name="Subtitle 2">
            <a:extLst>
              <a:ext uri="{FF2B5EF4-FFF2-40B4-BE49-F238E27FC236}">
                <a16:creationId xmlns:a16="http://schemas.microsoft.com/office/drawing/2014/main" id="{40B2C54C-82AC-6F71-3673-3413CCC132F8}"/>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4C068EF-639A-971F-5B13-7F9CD52D7CC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0086749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CE662D8-62C3-47F2-EDE3-9DB967B3CC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34025" y="1104900"/>
            <a:ext cx="6657975" cy="5753100"/>
          </a:xfrm>
          <a:prstGeom prst="rect">
            <a:avLst/>
          </a:prstGeom>
        </p:spPr>
      </p:pic>
      <p:pic>
        <p:nvPicPr>
          <p:cNvPr id="7" name="Graphic 6">
            <a:extLst>
              <a:ext uri="{FF2B5EF4-FFF2-40B4-BE49-F238E27FC236}">
                <a16:creationId xmlns:a16="http://schemas.microsoft.com/office/drawing/2014/main" id="{5DFEFA29-493C-1925-FDD7-818B07FD3F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2627850A-8FA8-CAAF-0158-84DBDE327DF9}"/>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8" name="Subtitle 2">
            <a:extLst>
              <a:ext uri="{FF2B5EF4-FFF2-40B4-BE49-F238E27FC236}">
                <a16:creationId xmlns:a16="http://schemas.microsoft.com/office/drawing/2014/main" id="{94BA46CF-A280-58D5-246B-2DF37611893F}"/>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12867A4-1FF1-9652-48AE-B5949D27B84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8177023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Agenda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6096000" y="0"/>
            <a:ext cx="609043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6760299" y="1423416"/>
            <a:ext cx="4761835" cy="4011168"/>
          </a:xfrm>
        </p:spPr>
        <p:txBody>
          <a:bodyPr anchor="ctr">
            <a:noAutofit/>
          </a:bodyPr>
          <a:lstStyle>
            <a:lvl1pPr marL="228600" indent="-228600">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FAA20DFE-70D2-CF4D-BCBB-4A953010B701}"/>
              </a:ext>
            </a:extLst>
          </p:cNvPr>
          <p:cNvSpPr>
            <a:spLocks noGrp="1"/>
          </p:cNvSpPr>
          <p:nvPr>
            <p:ph type="title"/>
          </p:nvPr>
        </p:nvSpPr>
        <p:spPr>
          <a:xfrm>
            <a:off x="887895" y="801624"/>
            <a:ext cx="4318089" cy="2356104"/>
          </a:xfrm>
        </p:spPr>
        <p:txBody>
          <a:bodyPr anchor="b"/>
          <a:lstStyle>
            <a:lvl1pPr>
              <a:defRPr sz="4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6" name="Text Placeholder 9">
            <a:extLst>
              <a:ext uri="{FF2B5EF4-FFF2-40B4-BE49-F238E27FC236}">
                <a16:creationId xmlns:a16="http://schemas.microsoft.com/office/drawing/2014/main" id="{05D0DC0F-FDE9-1848-AD3E-95851A341261}"/>
              </a:ext>
            </a:extLst>
          </p:cNvPr>
          <p:cNvSpPr>
            <a:spLocks noGrp="1"/>
          </p:cNvSpPr>
          <p:nvPr>
            <p:ph type="body" sz="quarter" idx="17" hasCustomPrompt="1"/>
          </p:nvPr>
        </p:nvSpPr>
        <p:spPr>
          <a:xfrm>
            <a:off x="887413" y="3239390"/>
            <a:ext cx="4318000" cy="1008888"/>
          </a:xfrm>
        </p:spPr>
        <p:txBody>
          <a:bodyPr>
            <a:noAutofit/>
          </a:bodyPr>
          <a:lstStyle>
            <a:lvl1pPr marL="0" indent="0">
              <a:buNone/>
              <a:defRPr lang="en-US" sz="2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r>
              <a:rPr lang="en-US"/>
              <a:t>Click to edit subtitle</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E40FFB5E-A62A-2D74-54FC-40E139B23BF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9615667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412045" y="954155"/>
            <a:ext cx="2833510" cy="4949687"/>
          </a:xfrm>
        </p:spPr>
        <p:txBody>
          <a:bodyPr anchor="t">
            <a:noAutofit/>
          </a:bodyPr>
          <a:lstStyle>
            <a:lvl1pPr marL="0" inden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44235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DD8DD629-CE62-2B44-686E-C8D97BF02A10}"/>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314068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Manufacturin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67B63D-7099-3F57-C03C-3CDA1C73F3F5}"/>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C8F2BBB2-DB59-4E0F-1D53-745462D53AF8}"/>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0EB61488-405B-9EE9-4F60-D62969654BB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8024249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853440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8946445" y="954155"/>
            <a:ext cx="2833510" cy="4949687"/>
          </a:xfrm>
        </p:spPr>
        <p:txBody>
          <a:bodyPr anchor="t">
            <a:noAutofit/>
          </a:bodyPr>
          <a:lstStyle>
            <a:lvl1pPr marL="0" indent="0">
              <a:buFont typeface="Arial" panose="020B0604020202020204" pitchFamily="34" charse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7659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7AB9DE36-93EE-5F1D-B2F7-934AEF322D4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8686454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720B5-B745-42C3-9BE3-1DEFB1BB2964}"/>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3" name="Content Placeholder 2">
            <a:extLst>
              <a:ext uri="{FF2B5EF4-FFF2-40B4-BE49-F238E27FC236}">
                <a16:creationId xmlns:a16="http://schemas.microsoft.com/office/drawing/2014/main" id="{3EA42DD3-EE0E-47DC-B9A6-3CDAE75AA5D9}"/>
              </a:ext>
            </a:extLst>
          </p:cNvPr>
          <p:cNvSpPr>
            <a:spLocks noGrp="1"/>
          </p:cNvSpPr>
          <p:nvPr>
            <p:ph idx="1" hasCustomPrompt="1"/>
          </p:nvPr>
        </p:nvSpPr>
        <p:spPr>
          <a:xfrm>
            <a:off x="381000" y="1066800"/>
            <a:ext cx="11430000" cy="5029200"/>
          </a:xfrm>
        </p:spPr>
        <p:txBody>
          <a:bodyPr/>
          <a:lstStyle>
            <a:lvl1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209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C53B9-FF92-7DC2-B8CC-3BEE1F497CED}"/>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38908059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338139"/>
            <a:ext cx="11430000" cy="1122528"/>
          </a:xfrm>
        </p:spPr>
        <p:txBody>
          <a:bodyPr anchor="b">
            <a:normAutofit/>
          </a:bodyPr>
          <a:lstStyle>
            <a:lvl1pPr>
              <a:defRPr sz="4000" b="1" i="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27301415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Emphasis">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78A86BC-81A0-D64A-8E1C-839DCC18C7D8}"/>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CA97B3DF-AE92-604F-9263-CEE3C35F7CFE}"/>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27951796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Business Wo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2DDDBE96-C72E-A94B-0D67-F51DB499ECD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C3ABB9F6-F192-48B4-D09E-E2F065648E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610A513C-8357-4D6C-EF6F-BD685AD8A3B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CEFD2A14-B2F1-4B2A-B82D-7681E9F4C6F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F59D9166-27EA-0592-45FD-8480DA61A701}"/>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68863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Business 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78B3FD4F-770F-E7EC-81A0-45718D40CC59}"/>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373B6521-B3E6-25A2-EAB6-C3D40E2D71B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53588A47-6BEA-B4A7-A211-EA9DE3EE73A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7D326E3C-0BD8-6294-2B89-AE946101171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790F872-9520-EB1F-9EAA-FEBDE9EBC37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28413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Manufacturin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67B63D-7099-3F57-C03C-3CDA1C73F3F5}"/>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C8F2BBB2-DB59-4E0F-1D53-745462D53AF8}"/>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0EB61488-405B-9EE9-4F60-D62969654BB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06188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Grocer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04AB27-5EDE-E210-D67A-7E688C2BE419}"/>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pic>
        <p:nvPicPr>
          <p:cNvPr id="9" name="Graphic 8">
            <a:extLst>
              <a:ext uri="{FF2B5EF4-FFF2-40B4-BE49-F238E27FC236}">
                <a16:creationId xmlns:a16="http://schemas.microsoft.com/office/drawing/2014/main" id="{46954B25-EFFE-9298-4DF7-9124EF4A0C9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6CC5FCEF-DA56-0308-2EB0-254DAC7E5ACB}"/>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741E72A9-1849-7F2B-CB01-9104792FF95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980921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Retail">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B741AE74-1BB3-C9B1-F81A-3662076861D3}"/>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10815CF8-5FAD-0C60-5E3A-EEC56204B73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B9FA2EAE-F132-9C58-FF7A-5763E8D25B4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D1357D72-C1D7-5893-D14C-F984DA4D92E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B2B1E7AA-EE8B-21F1-358F-342DF1874C8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464912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ocer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04AB27-5EDE-E210-D67A-7E688C2BE419}"/>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pic>
        <p:nvPicPr>
          <p:cNvPr id="9" name="Graphic 8">
            <a:extLst>
              <a:ext uri="{FF2B5EF4-FFF2-40B4-BE49-F238E27FC236}">
                <a16:creationId xmlns:a16="http://schemas.microsoft.com/office/drawing/2014/main" id="{46954B25-EFFE-9298-4DF7-9124EF4A0C9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6CC5FCEF-DA56-0308-2EB0-254DAC7E5ACB}"/>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741E72A9-1849-7F2B-CB01-9104792FF95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9603229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Logistics 1">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B7356CFE-70B6-7BB8-DB18-C9205300EEA1}"/>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6" name="Graphic 5">
            <a:extLst>
              <a:ext uri="{FF2B5EF4-FFF2-40B4-BE49-F238E27FC236}">
                <a16:creationId xmlns:a16="http://schemas.microsoft.com/office/drawing/2014/main" id="{8D357C04-2103-4044-1B2E-F2693BB586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80F12EB3-81B9-B03D-6EA8-D963B02C7A20}"/>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B737D7D-2A3B-1C0D-8A32-ADF223BD320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09F0470F-D6BA-B366-D6E3-DBE9BE8BF49E}"/>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068720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Logistics 2">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A876F87F-E5E0-1E7F-8888-4717B311B8C7}"/>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268C4367-80C5-F838-E9BC-73491685D3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51D491F3-7420-C959-35C4-196DA8B48D9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5880051F-DCD6-E1D8-CA2F-40EA8DFAA3A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695B3F8-1B67-78AD-BC94-0215CA55834F}"/>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352002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High-Tech">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E057B152-6E36-22D3-D988-81AF461A6AC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9651510-7314-165A-E1D3-B5A2F1BABF1C}"/>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5D402ECA-D171-6D57-6B42-8883F8FDCCC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990280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Life Scienc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691745-EAFF-4908-8282-0391E07A0E20}"/>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Text Box 92">
            <a:extLst>
              <a:ext uri="{FF2B5EF4-FFF2-40B4-BE49-F238E27FC236}">
                <a16:creationId xmlns:a16="http://schemas.microsoft.com/office/drawing/2014/main" id="{92D25312-027F-2C67-8299-447FCA222D7A}"/>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9BCCE209-6D74-FB8B-9459-09E5680375A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127597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Healthcar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A13073-7078-8DE6-27E7-37512079F95A}"/>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66A9C3AC-B3AC-EE47-4C59-D94B1CE1F906}"/>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76A9AA13-BC0D-C9FD-32FB-76FEE938161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999198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451134"/>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447800"/>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11612821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895302"/>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891968"/>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Text Placeholder 9">
            <a:extLst>
              <a:ext uri="{FF2B5EF4-FFF2-40B4-BE49-F238E27FC236}">
                <a16:creationId xmlns:a16="http://schemas.microsoft.com/office/drawing/2014/main" id="{409D40C6-75F1-CF12-4FA0-36F4CB209EF1}"/>
              </a:ext>
            </a:extLst>
          </p:cNvPr>
          <p:cNvSpPr>
            <a:spLocks noGrp="1"/>
          </p:cNvSpPr>
          <p:nvPr>
            <p:ph type="body" sz="quarter" idx="17" hasCustomPrompt="1"/>
          </p:nvPr>
        </p:nvSpPr>
        <p:spPr>
          <a:xfrm>
            <a:off x="380999"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3" name="Text Placeholder 9">
            <a:extLst>
              <a:ext uri="{FF2B5EF4-FFF2-40B4-BE49-F238E27FC236}">
                <a16:creationId xmlns:a16="http://schemas.microsoft.com/office/drawing/2014/main" id="{73002B2B-8303-458A-A69E-8633AADCA004}"/>
              </a:ext>
            </a:extLst>
          </p:cNvPr>
          <p:cNvSpPr>
            <a:spLocks noGrp="1"/>
          </p:cNvSpPr>
          <p:nvPr>
            <p:ph type="body" sz="quarter" idx="19" hasCustomPrompt="1"/>
          </p:nvPr>
        </p:nvSpPr>
        <p:spPr>
          <a:xfrm>
            <a:off x="6169651"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25454550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hree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19209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hree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3" name="Text Placeholder 9">
            <a:extLst>
              <a:ext uri="{FF2B5EF4-FFF2-40B4-BE49-F238E27FC236}">
                <a16:creationId xmlns:a16="http://schemas.microsoft.com/office/drawing/2014/main" id="{F5561ADC-51AB-973D-7B23-B08AA34F11B2}"/>
              </a:ext>
            </a:extLst>
          </p:cNvPr>
          <p:cNvSpPr>
            <a:spLocks noGrp="1"/>
          </p:cNvSpPr>
          <p:nvPr>
            <p:ph type="body" sz="quarter" idx="17" hasCustomPrompt="1"/>
          </p:nvPr>
        </p:nvSpPr>
        <p:spPr>
          <a:xfrm>
            <a:off x="609600"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382777"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9">
            <a:extLst>
              <a:ext uri="{FF2B5EF4-FFF2-40B4-BE49-F238E27FC236}">
                <a16:creationId xmlns:a16="http://schemas.microsoft.com/office/drawing/2014/main" id="{986B4E32-8D99-9493-A159-B21154F0A63E}"/>
              </a:ext>
            </a:extLst>
          </p:cNvPr>
          <p:cNvSpPr>
            <a:spLocks noGrp="1"/>
          </p:cNvSpPr>
          <p:nvPr>
            <p:ph type="body" sz="quarter" idx="21" hasCustomPrompt="1"/>
          </p:nvPr>
        </p:nvSpPr>
        <p:spPr>
          <a:xfrm>
            <a:off x="8153401"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4409954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Grid Six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943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943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00150"/>
            <a:ext cx="10970247" cy="4667250"/>
            <a:chOff x="609600" y="1200150"/>
            <a:chExt cx="10970247" cy="466725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421005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0A57B38-92C2-7376-8D15-F988849DBCF7}"/>
                </a:ext>
              </a:extLst>
            </p:cNvPr>
            <p:cNvCxnSpPr>
              <a:cxnSpLocks/>
            </p:cNvCxnSpPr>
            <p:nvPr userDrawn="1"/>
          </p:nvCxnSpPr>
          <p:spPr>
            <a:xfrm flipV="1">
              <a:off x="7991475" y="120015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4517405"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0" name="Content Placeholder 2">
            <a:extLst>
              <a:ext uri="{FF2B5EF4-FFF2-40B4-BE49-F238E27FC236}">
                <a16:creationId xmlns:a16="http://schemas.microsoft.com/office/drawing/2014/main" id="{7DCC6415-F2FB-89EE-2944-F0BCCFC4BE62}"/>
              </a:ext>
            </a:extLst>
          </p:cNvPr>
          <p:cNvSpPr>
            <a:spLocks noGrp="1"/>
          </p:cNvSpPr>
          <p:nvPr>
            <p:ph idx="28" hasCustomPrompt="1"/>
          </p:nvPr>
        </p:nvSpPr>
        <p:spPr>
          <a:xfrm>
            <a:off x="8714098" y="1888561"/>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1" name="Text Placeholder 9">
            <a:extLst>
              <a:ext uri="{FF2B5EF4-FFF2-40B4-BE49-F238E27FC236}">
                <a16:creationId xmlns:a16="http://schemas.microsoft.com/office/drawing/2014/main" id="{D2519197-4EDB-7B44-D048-7FE409D25AFE}"/>
              </a:ext>
            </a:extLst>
          </p:cNvPr>
          <p:cNvSpPr>
            <a:spLocks noGrp="1"/>
          </p:cNvSpPr>
          <p:nvPr>
            <p:ph type="body" sz="quarter" idx="29" hasCustomPrompt="1"/>
          </p:nvPr>
        </p:nvSpPr>
        <p:spPr>
          <a:xfrm>
            <a:off x="8714097"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2" name="Group 41">
            <a:extLst>
              <a:ext uri="{FF2B5EF4-FFF2-40B4-BE49-F238E27FC236}">
                <a16:creationId xmlns:a16="http://schemas.microsoft.com/office/drawing/2014/main" id="{F547BF1F-2DD4-9D0C-8CEF-DCCF864E030F}"/>
              </a:ext>
            </a:extLst>
          </p:cNvPr>
          <p:cNvGrpSpPr>
            <a:grpSpLocks noChangeAspect="1"/>
          </p:cNvGrpSpPr>
          <p:nvPr userDrawn="1"/>
        </p:nvGrpSpPr>
        <p:grpSpPr>
          <a:xfrm>
            <a:off x="8288027" y="1337851"/>
            <a:ext cx="365760" cy="365760"/>
            <a:chOff x="1161489" y="1923489"/>
            <a:chExt cx="457200" cy="457200"/>
          </a:xfrm>
        </p:grpSpPr>
        <p:sp>
          <p:nvSpPr>
            <p:cNvPr id="43" name="Rounded Rectangle 30">
              <a:extLst>
                <a:ext uri="{FF2B5EF4-FFF2-40B4-BE49-F238E27FC236}">
                  <a16:creationId xmlns:a16="http://schemas.microsoft.com/office/drawing/2014/main" id="{418FCA71-3C5E-EDB0-2AB3-0D641C9B30EB}"/>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4" name="Graphic 43" descr="Checkmark with solid fill">
              <a:extLst>
                <a:ext uri="{FF2B5EF4-FFF2-40B4-BE49-F238E27FC236}">
                  <a16:creationId xmlns:a16="http://schemas.microsoft.com/office/drawing/2014/main" id="{6DFE2BE5-E9C5-0CC7-0B12-50B243FAFEC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4943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4943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4517403"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5" name="Content Placeholder 2">
            <a:extLst>
              <a:ext uri="{FF2B5EF4-FFF2-40B4-BE49-F238E27FC236}">
                <a16:creationId xmlns:a16="http://schemas.microsoft.com/office/drawing/2014/main" id="{C08056FB-BF77-D0E8-5B85-DE5AA20E0E7D}"/>
              </a:ext>
            </a:extLst>
          </p:cNvPr>
          <p:cNvSpPr>
            <a:spLocks noGrp="1"/>
          </p:cNvSpPr>
          <p:nvPr>
            <p:ph idx="34" hasCustomPrompt="1"/>
          </p:nvPr>
        </p:nvSpPr>
        <p:spPr>
          <a:xfrm>
            <a:off x="8714096" y="4352007"/>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6" name="Text Placeholder 9">
            <a:extLst>
              <a:ext uri="{FF2B5EF4-FFF2-40B4-BE49-F238E27FC236}">
                <a16:creationId xmlns:a16="http://schemas.microsoft.com/office/drawing/2014/main" id="{1441E5D8-B614-5958-97D8-4AAF59FC38F2}"/>
              </a:ext>
            </a:extLst>
          </p:cNvPr>
          <p:cNvSpPr>
            <a:spLocks noGrp="1"/>
          </p:cNvSpPr>
          <p:nvPr>
            <p:ph type="body" sz="quarter" idx="35" hasCustomPrompt="1"/>
          </p:nvPr>
        </p:nvSpPr>
        <p:spPr>
          <a:xfrm>
            <a:off x="8714095"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7" name="Group 56">
            <a:extLst>
              <a:ext uri="{FF2B5EF4-FFF2-40B4-BE49-F238E27FC236}">
                <a16:creationId xmlns:a16="http://schemas.microsoft.com/office/drawing/2014/main" id="{BEEFC022-A505-A170-665B-893FA044C1BB}"/>
              </a:ext>
            </a:extLst>
          </p:cNvPr>
          <p:cNvGrpSpPr>
            <a:grpSpLocks noChangeAspect="1"/>
          </p:cNvGrpSpPr>
          <p:nvPr userDrawn="1"/>
        </p:nvGrpSpPr>
        <p:grpSpPr>
          <a:xfrm>
            <a:off x="8288025" y="3801297"/>
            <a:ext cx="365760" cy="365760"/>
            <a:chOff x="1161489" y="1923489"/>
            <a:chExt cx="457200" cy="457200"/>
          </a:xfrm>
        </p:grpSpPr>
        <p:sp>
          <p:nvSpPr>
            <p:cNvPr id="58" name="Rounded Rectangle 30">
              <a:extLst>
                <a:ext uri="{FF2B5EF4-FFF2-40B4-BE49-F238E27FC236}">
                  <a16:creationId xmlns:a16="http://schemas.microsoft.com/office/drawing/2014/main" id="{6DC2B077-69BC-A87D-5818-2C1F18BD0E1A}"/>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9" name="Graphic 58" descr="Checkmark with solid fill">
              <a:extLst>
                <a:ext uri="{FF2B5EF4-FFF2-40B4-BE49-F238E27FC236}">
                  <a16:creationId xmlns:a16="http://schemas.microsoft.com/office/drawing/2014/main" id="{35DB04CB-A210-EE42-2EDB-0410D1CBB28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41977851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Retail">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B741AE74-1BB3-C9B1-F81A-3662076861D3}"/>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10815CF8-5FAD-0C60-5E3A-EEC56204B73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B9FA2EAE-F132-9C58-FF7A-5763E8D25B4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D1357D72-C1D7-5893-D14C-F984DA4D92E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B2B1E7AA-EE8B-21F1-358F-342DF1874C8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8907390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Grid Four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6844893"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6844891"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19200"/>
            <a:ext cx="10970247" cy="4648200"/>
            <a:chOff x="609600" y="1219200"/>
            <a:chExt cx="10970247" cy="464820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609600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6418822"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4"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6844891"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6844889"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6418820"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2"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9087013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Visual &amp; Tex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C9A9C-1F1D-7B13-A172-E1E3D876715A}"/>
              </a:ext>
            </a:extLst>
          </p:cNvPr>
          <p:cNvSpPr>
            <a:spLocks noGrp="1"/>
          </p:cNvSpPr>
          <p:nvPr>
            <p:ph type="title" hasCustomPrompt="1"/>
          </p:nvPr>
        </p:nvSpPr>
        <p:spPr/>
        <p:txBody>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10" name="Content Placeholder 2">
            <a:extLst>
              <a:ext uri="{FF2B5EF4-FFF2-40B4-BE49-F238E27FC236}">
                <a16:creationId xmlns:a16="http://schemas.microsoft.com/office/drawing/2014/main" id="{B91E5054-03B7-DBB6-FD72-2384015A20EA}"/>
              </a:ext>
            </a:extLst>
          </p:cNvPr>
          <p:cNvSpPr>
            <a:spLocks noGrp="1"/>
          </p:cNvSpPr>
          <p:nvPr>
            <p:ph idx="20" hasCustomPrompt="1"/>
          </p:nvPr>
        </p:nvSpPr>
        <p:spPr>
          <a:xfrm>
            <a:off x="8375904" y="1447800"/>
            <a:ext cx="3203944"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4850ED68-9AA5-EB85-CFAB-831B927DF76E}"/>
              </a:ext>
            </a:extLst>
          </p:cNvPr>
          <p:cNvSpPr>
            <a:spLocks noGrp="1"/>
          </p:cNvSpPr>
          <p:nvPr>
            <p:ph idx="21" hasCustomPrompt="1"/>
          </p:nvPr>
        </p:nvSpPr>
        <p:spPr>
          <a:xfrm>
            <a:off x="381000" y="1447800"/>
            <a:ext cx="7772399"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127484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Visual &amp; Text 2">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59D609AE-CE09-C774-5AAA-5F44219B7E72}"/>
              </a:ext>
            </a:extLst>
          </p:cNvPr>
          <p:cNvSpPr>
            <a:spLocks noGrp="1"/>
          </p:cNvSpPr>
          <p:nvPr>
            <p:ph idx="20" hasCustomPrompt="1"/>
          </p:nvPr>
        </p:nvSpPr>
        <p:spPr>
          <a:xfrm>
            <a:off x="8724900" y="2143759"/>
            <a:ext cx="3108960" cy="36576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C562A788-3FBD-AC78-96BF-9CC5E02EA62C}"/>
              </a:ext>
            </a:extLst>
          </p:cNvPr>
          <p:cNvSpPr>
            <a:spLocks noGrp="1"/>
          </p:cNvSpPr>
          <p:nvPr>
            <p:ph type="body" sz="quarter" idx="21" hasCustomPrompt="1"/>
          </p:nvPr>
        </p:nvSpPr>
        <p:spPr>
          <a:xfrm>
            <a:off x="8724900" y="1242800"/>
            <a:ext cx="3108960" cy="8229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marL="0" marR="0" lvl="0" indent="0" algn="l" defTabSz="121917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a:pPr>
            <a:r>
              <a:rPr lang="en-US"/>
              <a:t>Click to edit title</a:t>
            </a:r>
          </a:p>
        </p:txBody>
      </p:sp>
      <p:sp>
        <p:nvSpPr>
          <p:cNvPr id="2" name="Content Placeholder 2">
            <a:extLst>
              <a:ext uri="{FF2B5EF4-FFF2-40B4-BE49-F238E27FC236}">
                <a16:creationId xmlns:a16="http://schemas.microsoft.com/office/drawing/2014/main" id="{EE855AA4-22AC-B470-96BD-5604052CD9BD}"/>
              </a:ext>
            </a:extLst>
          </p:cNvPr>
          <p:cNvSpPr>
            <a:spLocks noGrp="1"/>
          </p:cNvSpPr>
          <p:nvPr>
            <p:ph idx="22" hasCustomPrompt="1"/>
          </p:nvPr>
        </p:nvSpPr>
        <p:spPr>
          <a:xfrm>
            <a:off x="381000" y="1242800"/>
            <a:ext cx="8127999" cy="45720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882573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Section 1">
    <p:bg>
      <p:bgPr>
        <a:solidFill>
          <a:srgbClr val="00003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F946ACA-A5AA-EED2-C848-6ED9133153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Box 1">
            <a:extLst>
              <a:ext uri="{FF2B5EF4-FFF2-40B4-BE49-F238E27FC236}">
                <a16:creationId xmlns:a16="http://schemas.microsoft.com/office/drawing/2014/main" id="{09465EFD-2BDD-1D40-975C-9BB4BDE2AE8E}"/>
              </a:ext>
            </a:extLst>
          </p:cNvPr>
          <p:cNvSpPr txBox="1"/>
          <p:nvPr userDrawn="1"/>
        </p:nvSpPr>
        <p:spPr>
          <a:xfrm>
            <a:off x="-357447" y="3690851"/>
            <a:ext cx="0" cy="0"/>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ctr">
            <a:normAutofit fontScale="25000" lnSpcReduction="20000"/>
          </a:bodyPr>
          <a:lstStyle/>
          <a:p>
            <a:pPr algn="l"/>
            <a:endParaRPr lang="en-US" sz="4400" b="0" i="0" kern="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Footer Placeholder 4">
            <a:extLst>
              <a:ext uri="{FF2B5EF4-FFF2-40B4-BE49-F238E27FC236}">
                <a16:creationId xmlns:a16="http://schemas.microsoft.com/office/drawing/2014/main" id="{45E1E5AA-4AE0-A751-5E7E-4A46F9283F00}"/>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6" name="Graphic 5">
            <a:extLst>
              <a:ext uri="{FF2B5EF4-FFF2-40B4-BE49-F238E27FC236}">
                <a16:creationId xmlns:a16="http://schemas.microsoft.com/office/drawing/2014/main" id="{ACF16567-3476-234C-F230-34791BA12D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8" name="Text Box 92">
            <a:extLst>
              <a:ext uri="{FF2B5EF4-FFF2-40B4-BE49-F238E27FC236}">
                <a16:creationId xmlns:a16="http://schemas.microsoft.com/office/drawing/2014/main" id="{C30F8BBC-3861-688C-7ECC-25674554608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12042B61-7F7F-EB1D-31A7-31178B719617}"/>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983650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Section 2">
    <p:bg>
      <p:bgPr>
        <a:solidFill>
          <a:srgbClr val="F5F8FD"/>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1827E4B-E306-81BA-D9E8-0ECE54D931F8}"/>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Footer Placeholder 4">
            <a:extLst>
              <a:ext uri="{FF2B5EF4-FFF2-40B4-BE49-F238E27FC236}">
                <a16:creationId xmlns:a16="http://schemas.microsoft.com/office/drawing/2014/main" id="{2B0907F5-52ED-9C0D-B057-E38D08DA6B02}"/>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4" name="Graphic 3">
            <a:extLst>
              <a:ext uri="{FF2B5EF4-FFF2-40B4-BE49-F238E27FC236}">
                <a16:creationId xmlns:a16="http://schemas.microsoft.com/office/drawing/2014/main" id="{440F785A-3107-6D3E-C9E6-B2AA5C58504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2719AF64-4315-1813-2084-A6D0BE13CBE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D4B5ACA5-87F8-8BC7-261E-60FF8E58F533}"/>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043019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Section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9BCF50-C4CD-C162-E06D-4CBD5C2DD811}"/>
              </a:ext>
            </a:extLst>
          </p:cNvPr>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36C061D7-9E76-8737-471B-3FDFB6F8E57E}"/>
              </a:ext>
            </a:extLst>
          </p:cNvPr>
          <p:cNvSpPr/>
          <p:nvPr userDrawn="1"/>
        </p:nvSpPr>
        <p:spPr>
          <a:xfrm>
            <a:off x="0" y="0"/>
            <a:ext cx="12192000" cy="6858000"/>
          </a:xfrm>
          <a:prstGeom prst="rect">
            <a:avLst/>
          </a:prstGeom>
          <a:gradFill flip="none" rotWithShape="1">
            <a:gsLst>
              <a:gs pos="0">
                <a:schemeClr val="accent2">
                  <a:lumMod val="75000"/>
                </a:schemeClr>
              </a:gs>
              <a:gs pos="100000">
                <a:schemeClr val="accent3">
                  <a:lumMod val="75000"/>
                  <a:alpha val="79903"/>
                </a:schemeClr>
              </a:gs>
            </a:gsLst>
            <a:lin ang="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0B7E309B-9BFF-D88D-FF7C-E65F09F6E2D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4" name="Title 1">
            <a:extLst>
              <a:ext uri="{FF2B5EF4-FFF2-40B4-BE49-F238E27FC236}">
                <a16:creationId xmlns:a16="http://schemas.microsoft.com/office/drawing/2014/main" id="{F5662734-77ED-EF2A-B73D-353976AD01F4}"/>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B9DEB9FE-E9AB-5F44-C73D-D7DD69A9934B}"/>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6" name="Footer Placeholder 4">
            <a:extLst>
              <a:ext uri="{FF2B5EF4-FFF2-40B4-BE49-F238E27FC236}">
                <a16:creationId xmlns:a16="http://schemas.microsoft.com/office/drawing/2014/main" id="{6D790AFE-B243-3E1A-D68D-C7D6ADFB60B8}"/>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sp>
        <p:nvSpPr>
          <p:cNvPr id="7" name="Text Box 92">
            <a:extLst>
              <a:ext uri="{FF2B5EF4-FFF2-40B4-BE49-F238E27FC236}">
                <a16:creationId xmlns:a16="http://schemas.microsoft.com/office/drawing/2014/main" id="{6DBABA46-43E0-5208-A011-26D401F9E70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10" name="Slide Number Placeholder 5">
            <a:extLst>
              <a:ext uri="{FF2B5EF4-FFF2-40B4-BE49-F238E27FC236}">
                <a16:creationId xmlns:a16="http://schemas.microsoft.com/office/drawing/2014/main" id="{280BCE49-B135-816A-9434-9B6A1DFED8D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76240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Branded">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57F405F9-D6B0-E463-4908-CA589AF18D10}"/>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9589434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otally Blank">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24989226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D36F64-BEDC-DE00-3D63-8D02C212CC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981198" y="4705464"/>
            <a:ext cx="8229600" cy="457200"/>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Jane Doe | CEO, Company</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5357397" y="135856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5400" b="0" i="0">
                <a:solidFill>
                  <a:schemeClr val="tx2"/>
                </a:solidFill>
                <a:latin typeface="Open Sans" panose="020B0606030504020204" pitchFamily="34" charset="0"/>
                <a:ea typeface="Open Sans" panose="020B0606030504020204" pitchFamily="34" charset="0"/>
                <a:cs typeface="Open Sans" panose="020B0606030504020204" pitchFamily="34" charset="0"/>
              </a:rPr>
              <a:t>“ ” </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1981198" y="2101736"/>
            <a:ext cx="8229600" cy="2286000"/>
          </a:xfrm>
        </p:spPr>
        <p:txBody>
          <a:bodyPr/>
          <a:lstStyle>
            <a:lvl1pPr marL="0" indent="0" algn="ctr">
              <a:lnSpc>
                <a:spcPct val="120000"/>
              </a:lnSpc>
              <a:spcBef>
                <a:spcPts val="600"/>
              </a:spcBef>
              <a:buNone/>
              <a:defRPr b="0" i="0">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2" name="Footer Placeholder 4">
            <a:extLst>
              <a:ext uri="{FF2B5EF4-FFF2-40B4-BE49-F238E27FC236}">
                <a16:creationId xmlns:a16="http://schemas.microsoft.com/office/drawing/2014/main" id="{0CA5C54C-5BEF-8BD2-417E-0F91888C65DD}"/>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5" name="Graphic 4">
            <a:extLst>
              <a:ext uri="{FF2B5EF4-FFF2-40B4-BE49-F238E27FC236}">
                <a16:creationId xmlns:a16="http://schemas.microsoft.com/office/drawing/2014/main" id="{253EEEED-11B5-D1FD-B00A-8F102F25489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9" name="Text Box 92">
            <a:extLst>
              <a:ext uri="{FF2B5EF4-FFF2-40B4-BE49-F238E27FC236}">
                <a16:creationId xmlns:a16="http://schemas.microsoft.com/office/drawing/2014/main" id="{66C4394F-1EBA-BB96-1E44-0793D8C7B86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7F779458-B9EA-CDC4-F33A-E90B326C9D02}"/>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867929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4" name="Speech Bubble: Rectangle with Corners Rounded 3">
            <a:extLst>
              <a:ext uri="{FF2B5EF4-FFF2-40B4-BE49-F238E27FC236}">
                <a16:creationId xmlns:a16="http://schemas.microsoft.com/office/drawing/2014/main" id="{53C3751A-635A-CF50-DDB9-0318FD9CB5FD}"/>
              </a:ext>
            </a:extLst>
          </p:cNvPr>
          <p:cNvSpPr/>
          <p:nvPr userDrawn="1"/>
        </p:nvSpPr>
        <p:spPr>
          <a:xfrm>
            <a:off x="4021240" y="1283100"/>
            <a:ext cx="7132320" cy="3474720"/>
          </a:xfrm>
          <a:prstGeom prst="wedgeRoundRectCallout">
            <a:avLst>
              <a:gd name="adj1" fmla="val -59634"/>
              <a:gd name="adj2" fmla="val -8252"/>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005194" y="4052999"/>
            <a:ext cx="2128837" cy="353470"/>
          </a:xfrm>
        </p:spPr>
        <p:txBody>
          <a:bodyPr>
            <a:noAutofit/>
          </a:bodyPr>
          <a:lstStyle>
            <a:lvl1pPr marL="0" indent="0" algn="ctr">
              <a:buNone/>
              <a:defRPr lang="en-US" sz="1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name</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3882507" y="145935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7200" b="0" i="0">
                <a:solidFill>
                  <a:schemeClr val="accent2">
                    <a:lumMod val="75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4854780" y="1832997"/>
            <a:ext cx="5943600" cy="2286000"/>
          </a:xfrm>
        </p:spPr>
        <p:txBody>
          <a:bodyPr/>
          <a:lstStyle>
            <a:lvl1pPr marL="0" indent="0" algn="l">
              <a:lnSpc>
                <a:spcPct val="120000"/>
              </a:lnSpc>
              <a:spcBef>
                <a:spcPts val="600"/>
              </a:spcBef>
              <a:buNone/>
              <a:defRPr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6" name="Picture Placeholder 5">
            <a:extLst>
              <a:ext uri="{FF2B5EF4-FFF2-40B4-BE49-F238E27FC236}">
                <a16:creationId xmlns:a16="http://schemas.microsoft.com/office/drawing/2014/main" id="{55647432-2A62-2A47-F81C-A724F979227C}"/>
              </a:ext>
            </a:extLst>
          </p:cNvPr>
          <p:cNvSpPr>
            <a:spLocks noGrp="1"/>
          </p:cNvSpPr>
          <p:nvPr>
            <p:ph type="pic" sz="quarter" idx="18"/>
          </p:nvPr>
        </p:nvSpPr>
        <p:spPr>
          <a:xfrm>
            <a:off x="1005193" y="1821067"/>
            <a:ext cx="2128838" cy="2127250"/>
          </a:xfrm>
        </p:spPr>
        <p:txBody>
          <a:bodyPr/>
          <a:lstStyle>
            <a:lvl1pPr>
              <a:defRPr b="0" i="0">
                <a:latin typeface="Open Sans" panose="020B0606030504020204" pitchFamily="34" charset="0"/>
                <a:ea typeface="Open Sans" panose="020B0606030504020204" pitchFamily="34" charset="0"/>
                <a:cs typeface="Open Sans" panose="020B0606030504020204" pitchFamily="34" charset="0"/>
              </a:defRPr>
            </a:lvl1pPr>
          </a:lstStyle>
          <a:p>
            <a:r>
              <a:rPr lang="en-US"/>
              <a:t>Click icon to add picture</a:t>
            </a:r>
          </a:p>
        </p:txBody>
      </p:sp>
      <p:sp>
        <p:nvSpPr>
          <p:cNvPr id="9" name="Text Placeholder 9">
            <a:extLst>
              <a:ext uri="{FF2B5EF4-FFF2-40B4-BE49-F238E27FC236}">
                <a16:creationId xmlns:a16="http://schemas.microsoft.com/office/drawing/2014/main" id="{6276E121-90C4-1E7B-4D2F-23C799CA9853}"/>
              </a:ext>
            </a:extLst>
          </p:cNvPr>
          <p:cNvSpPr>
            <a:spLocks noGrp="1"/>
          </p:cNvSpPr>
          <p:nvPr>
            <p:ph type="body" sz="quarter" idx="19" hasCustomPrompt="1"/>
          </p:nvPr>
        </p:nvSpPr>
        <p:spPr>
          <a:xfrm>
            <a:off x="1005193" y="4502389"/>
            <a:ext cx="2128836" cy="813616"/>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title and company</a:t>
            </a:r>
          </a:p>
        </p:txBody>
      </p:sp>
    </p:spTree>
    <p:extLst>
      <p:ext uri="{BB962C8B-B14F-4D97-AF65-F5344CB8AC3E}">
        <p14:creationId xmlns:p14="http://schemas.microsoft.com/office/powerpoint/2010/main" val="8067690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Logistics 1">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B7356CFE-70B6-7BB8-DB18-C9205300EEA1}"/>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6" name="Graphic 5">
            <a:extLst>
              <a:ext uri="{FF2B5EF4-FFF2-40B4-BE49-F238E27FC236}">
                <a16:creationId xmlns:a16="http://schemas.microsoft.com/office/drawing/2014/main" id="{8D357C04-2103-4044-1B2E-F2693BB586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80F12EB3-81B9-B03D-6EA8-D963B02C7A20}"/>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B737D7D-2A3B-1C0D-8A32-ADF223BD320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09F0470F-D6BA-B366-D6E3-DBE9BE8BF49E}"/>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7373166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Logo Only">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pic>
        <p:nvPicPr>
          <p:cNvPr id="2" name="Graphic 1">
            <a:extLst>
              <a:ext uri="{FF2B5EF4-FFF2-40B4-BE49-F238E27FC236}">
                <a16:creationId xmlns:a16="http://schemas.microsoft.com/office/drawing/2014/main" id="{5F5FD03C-2AA3-4ADE-188F-80933E1A45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52800" y="2369005"/>
            <a:ext cx="5486400" cy="2119989"/>
          </a:xfrm>
          <a:prstGeom prst="rect">
            <a:avLst/>
          </a:prstGeom>
        </p:spPr>
      </p:pic>
    </p:spTree>
    <p:extLst>
      <p:ext uri="{BB962C8B-B14F-4D97-AF65-F5344CB8AC3E}">
        <p14:creationId xmlns:p14="http://schemas.microsoft.com/office/powerpoint/2010/main" val="41845881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L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720B5-B745-42C3-9BE3-1DEFB1BB2964}"/>
              </a:ext>
            </a:extLst>
          </p:cNvPr>
          <p:cNvSpPr>
            <a:spLocks noGrp="1"/>
          </p:cNvSpPr>
          <p:nvPr>
            <p:ph type="title"/>
          </p:nvPr>
        </p:nvSpPr>
        <p:spPr>
          <a:xfrm>
            <a:off x="101600" y="98067"/>
            <a:ext cx="10474385" cy="576261"/>
          </a:xfrm>
        </p:spPr>
        <p:txBody>
          <a:bodyPr/>
          <a:lstStyle>
            <a:lvl1pPr>
              <a:defRPr sz="2400">
                <a:latin typeface="Arial" panose="020B0604020202020204" pitchFamily="34" charset="0"/>
                <a:cs typeface="Arial" panose="020B0604020202020204" pitchFamily="34" charset="0"/>
              </a:defRPr>
            </a:lvl1pPr>
          </a:lstStyle>
          <a:p>
            <a:r>
              <a:rPr lang="en-US"/>
              <a:t>Click to edit Master title style</a:t>
            </a:r>
          </a:p>
        </p:txBody>
      </p:sp>
      <p:sp>
        <p:nvSpPr>
          <p:cNvPr id="6" name="Slide Number Placeholder 5">
            <a:extLst>
              <a:ext uri="{FF2B5EF4-FFF2-40B4-BE49-F238E27FC236}">
                <a16:creationId xmlns:a16="http://schemas.microsoft.com/office/drawing/2014/main" id="{432E2D26-2D6F-4271-9B5F-092742AAFFA8}"/>
              </a:ext>
            </a:extLst>
          </p:cNvPr>
          <p:cNvSpPr txBox="1">
            <a:spLocks/>
          </p:cNvSpPr>
          <p:nvPr userDrawn="1"/>
        </p:nvSpPr>
        <p:spPr>
          <a:xfrm>
            <a:off x="11226800" y="6370638"/>
            <a:ext cx="609600" cy="365125"/>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08DF3C8-31D9-423A-B2D7-DD2A85E509D6}" type="slidenum">
              <a:rPr lang="en-US" sz="1333" smtClean="0"/>
              <a:pPr/>
              <a:t>‹#›</a:t>
            </a:fld>
            <a:endParaRPr lang="en-US" sz="1333"/>
          </a:p>
        </p:txBody>
      </p:sp>
    </p:spTree>
    <p:extLst>
      <p:ext uri="{BB962C8B-B14F-4D97-AF65-F5344CB8AC3E}">
        <p14:creationId xmlns:p14="http://schemas.microsoft.com/office/powerpoint/2010/main" val="102787105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cSld name="Top Title &amp; Content">
    <p:bg>
      <p:bgPr>
        <a:solidFill>
          <a:schemeClr val="bg1"/>
        </a:solidFill>
        <a:effectLst/>
      </p:bgPr>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640648D8-01C8-4406-95EB-8442CBC0EFD0}"/>
              </a:ext>
            </a:extLst>
          </p:cNvPr>
          <p:cNvSpPr>
            <a:spLocks noGrp="1"/>
          </p:cNvSpPr>
          <p:nvPr>
            <p:ph sz="half" idx="1" hasCustomPrompt="1"/>
          </p:nvPr>
        </p:nvSpPr>
        <p:spPr>
          <a:xfrm>
            <a:off x="381002" y="990600"/>
            <a:ext cx="11429999" cy="5105400"/>
          </a:xfrm>
        </p:spPr>
        <p:txBody>
          <a:bodyPr>
            <a:normAutofit/>
          </a:bodyPr>
          <a:lstStyle>
            <a:lvl1pPr marL="0" marR="0" indent="0" algn="l" defTabSz="121914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sz="3200">
                <a:latin typeface="+mj-lt"/>
              </a:defRPr>
            </a:lvl1pPr>
            <a:lvl2pPr marL="609569" indent="0">
              <a:buNone/>
              <a:defRPr sz="2000"/>
            </a:lvl2pPr>
            <a:lvl3pPr marL="1219140" indent="0">
              <a:buNone/>
              <a:defRPr sz="2000"/>
            </a:lvl3pPr>
            <a:lvl4pPr marL="1828709" indent="0">
              <a:buNone/>
              <a:defRPr sz="2000"/>
            </a:lvl4pPr>
            <a:lvl5pPr marL="2438278" indent="0">
              <a:buNone/>
              <a:defRPr sz="2000"/>
            </a:lvl5pPr>
            <a:lvl6pPr>
              <a:defRPr sz="2400"/>
            </a:lvl6pPr>
            <a:lvl7pPr>
              <a:defRPr sz="2400"/>
            </a:lvl7pPr>
            <a:lvl8pPr>
              <a:defRPr sz="2400"/>
            </a:lvl8pPr>
            <a:lvl9pPr>
              <a:defRPr sz="2400"/>
            </a:lvl9pPr>
          </a:lstStyle>
          <a:p>
            <a:r>
              <a:rPr lang="en-US"/>
              <a:t>Click to add subtitle</a:t>
            </a:r>
          </a:p>
        </p:txBody>
      </p:sp>
      <p:sp>
        <p:nvSpPr>
          <p:cNvPr id="4" name="Title Placeholder 1">
            <a:extLst>
              <a:ext uri="{FF2B5EF4-FFF2-40B4-BE49-F238E27FC236}">
                <a16:creationId xmlns:a16="http://schemas.microsoft.com/office/drawing/2014/main" id="{A20942E4-24CC-484A-9845-8D2666BDC9D6}"/>
              </a:ext>
            </a:extLst>
          </p:cNvPr>
          <p:cNvSpPr>
            <a:spLocks noGrp="1"/>
          </p:cNvSpPr>
          <p:nvPr>
            <p:ph type="title"/>
          </p:nvPr>
        </p:nvSpPr>
        <p:spPr>
          <a:xfrm>
            <a:off x="381000" y="76202"/>
            <a:ext cx="9372600" cy="732607"/>
          </a:xfrm>
          <a:prstGeom prst="rect">
            <a:avLst/>
          </a:prstGeom>
          <a:effectLst/>
        </p:spPr>
        <p:txBody>
          <a:bodyPr vert="horz" lIns="91440" tIns="45720" rIns="91440" bIns="45720" rtlCol="0" anchor="ctr">
            <a:normAutofit/>
          </a:bodyPr>
          <a:lstStyle/>
          <a:p>
            <a:r>
              <a:rPr lang="en-GB"/>
              <a:t>Click to edit Master title style</a:t>
            </a:r>
            <a:endParaRPr lang="en-US"/>
          </a:p>
        </p:txBody>
      </p:sp>
    </p:spTree>
    <p:extLst>
      <p:ext uri="{BB962C8B-B14F-4D97-AF65-F5344CB8AC3E}">
        <p14:creationId xmlns:p14="http://schemas.microsoft.com/office/powerpoint/2010/main" val="17031648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x">
  <p:cSld name="1_Blank">
    <p:spTree>
      <p:nvGrpSpPr>
        <p:cNvPr id="1" name=""/>
        <p:cNvGrpSpPr/>
        <p:nvPr/>
      </p:nvGrpSpPr>
      <p:grpSpPr>
        <a:xfrm>
          <a:off x="0" y="0"/>
          <a:ext cx="0" cy="0"/>
          <a:chOff x="0" y="0"/>
          <a:chExt cx="0" cy="0"/>
        </a:xfrm>
      </p:grpSpPr>
      <p:sp>
        <p:nvSpPr>
          <p:cNvPr id="11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59471315"/>
      </p:ext>
    </p:extLst>
  </p:cSld>
  <p:clrMapOvr>
    <a:masterClrMapping/>
  </p:clrMapOvr>
  <p:transition spd="med"/>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6210300" y="0"/>
            <a:ext cx="5981700" cy="6858000"/>
          </a:xfrm>
          <a:prstGeom prst="rect">
            <a:avLst/>
          </a:prstGeom>
          <a:solidFill>
            <a:srgbClr val="1D34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7124700" y="1423416"/>
            <a:ext cx="4141766" cy="4011168"/>
          </a:xfrm>
        </p:spPr>
        <p:txBody>
          <a:bodyPr anchor="ctr">
            <a:noAutofit/>
          </a:bodyPr>
          <a:lstStyle>
            <a:lvl1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1pPr>
            <a:lvl2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2pPr>
            <a:lvl3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3pPr>
            <a:lvl4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4pPr>
            <a:lvl5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FAA20DFE-70D2-CF4D-BCBB-4A953010B701}"/>
              </a:ext>
            </a:extLst>
          </p:cNvPr>
          <p:cNvSpPr>
            <a:spLocks noGrp="1"/>
          </p:cNvSpPr>
          <p:nvPr>
            <p:ph type="title"/>
          </p:nvPr>
        </p:nvSpPr>
        <p:spPr>
          <a:xfrm>
            <a:off x="887895" y="801624"/>
            <a:ext cx="4318089" cy="2356104"/>
          </a:xfrm>
        </p:spPr>
        <p:txBody>
          <a:bodyPr anchor="b"/>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6" name="Text Placeholder 9">
            <a:extLst>
              <a:ext uri="{FF2B5EF4-FFF2-40B4-BE49-F238E27FC236}">
                <a16:creationId xmlns:a16="http://schemas.microsoft.com/office/drawing/2014/main" id="{05D0DC0F-FDE9-1848-AD3E-95851A341261}"/>
              </a:ext>
            </a:extLst>
          </p:cNvPr>
          <p:cNvSpPr>
            <a:spLocks noGrp="1"/>
          </p:cNvSpPr>
          <p:nvPr>
            <p:ph type="body" sz="quarter" idx="17" hasCustomPrompt="1"/>
          </p:nvPr>
        </p:nvSpPr>
        <p:spPr>
          <a:xfrm>
            <a:off x="887413" y="3239390"/>
            <a:ext cx="4318000" cy="1008888"/>
          </a:xfrm>
        </p:spPr>
        <p:txBody>
          <a:bodyPr>
            <a:noAutofit/>
          </a:bodyPr>
          <a:lstStyle>
            <a:lvl1pPr marL="0" indent="0">
              <a:buNone/>
              <a:defRPr lang="en-US" b="0" i="0" smtClean="0">
                <a:effectLst/>
                <a:latin typeface="Arial" panose="020B0604020202020204" pitchFamily="34" charset="0"/>
                <a:ea typeface="Open Sans" panose="020B0606030504020204" pitchFamily="34" charset="0"/>
                <a:cs typeface="Arial" panose="020B0604020202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pic>
        <p:nvPicPr>
          <p:cNvPr id="7" name="Graphic 6">
            <a:extLst>
              <a:ext uri="{FF2B5EF4-FFF2-40B4-BE49-F238E27FC236}">
                <a16:creationId xmlns:a16="http://schemas.microsoft.com/office/drawing/2014/main" id="{B6ED1190-C68C-8B43-8044-8F294778753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781631" y="6179616"/>
            <a:ext cx="2198183" cy="492362"/>
          </a:xfrm>
          <a:prstGeom prst="rect">
            <a:avLst/>
          </a:prstGeom>
        </p:spPr>
      </p:pic>
    </p:spTree>
    <p:extLst>
      <p:ext uri="{BB962C8B-B14F-4D97-AF65-F5344CB8AC3E}">
        <p14:creationId xmlns:p14="http://schemas.microsoft.com/office/powerpoint/2010/main" val="368863144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6A638F1-B6E2-A7B8-7F3D-5814FC4807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62500" y="1552575"/>
            <a:ext cx="7429500" cy="5305425"/>
          </a:xfrm>
          <a:prstGeom prst="rect">
            <a:avLst/>
          </a:prstGeom>
        </p:spPr>
      </p:pic>
      <p:sp>
        <p:nvSpPr>
          <p:cNvPr id="11" name="Title 1">
            <a:extLst>
              <a:ext uri="{FF2B5EF4-FFF2-40B4-BE49-F238E27FC236}">
                <a16:creationId xmlns:a16="http://schemas.microsoft.com/office/drawing/2014/main" id="{11191324-3A4D-B745-BDAC-FA074E5EA914}"/>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12" name="Subtitle 2">
            <a:extLst>
              <a:ext uri="{FF2B5EF4-FFF2-40B4-BE49-F238E27FC236}">
                <a16:creationId xmlns:a16="http://schemas.microsoft.com/office/drawing/2014/main" id="{77A44848-3A08-1545-98D7-3523DA9848F7}"/>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2" name="Graphic 1">
            <a:extLst>
              <a:ext uri="{FF2B5EF4-FFF2-40B4-BE49-F238E27FC236}">
                <a16:creationId xmlns:a16="http://schemas.microsoft.com/office/drawing/2014/main" id="{D24E8A85-6C91-146B-087A-D3B1F1AC61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3" name="Text Box 92">
            <a:extLst>
              <a:ext uri="{FF2B5EF4-FFF2-40B4-BE49-F238E27FC236}">
                <a16:creationId xmlns:a16="http://schemas.microsoft.com/office/drawing/2014/main" id="{3BF45DA8-68D1-8131-9975-4F39534CB32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338850249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C43D9B-44E5-5227-2E45-EF9EF0AB6A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0100" y="2057400"/>
            <a:ext cx="7581900" cy="4819650"/>
          </a:xfrm>
          <a:prstGeom prst="rect">
            <a:avLst/>
          </a:prstGeom>
        </p:spPr>
      </p:pic>
      <p:pic>
        <p:nvPicPr>
          <p:cNvPr id="9" name="Graphic 8">
            <a:extLst>
              <a:ext uri="{FF2B5EF4-FFF2-40B4-BE49-F238E27FC236}">
                <a16:creationId xmlns:a16="http://schemas.microsoft.com/office/drawing/2014/main" id="{6AF26A37-6D9C-028E-B089-617CA487F7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03B90F01-9144-92B6-4A82-AD6C6A59A290}"/>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6" name="Subtitle 2">
            <a:extLst>
              <a:ext uri="{FF2B5EF4-FFF2-40B4-BE49-F238E27FC236}">
                <a16:creationId xmlns:a16="http://schemas.microsoft.com/office/drawing/2014/main" id="{40B2C54C-82AC-6F71-3673-3413CCC132F8}"/>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4C068EF-639A-971F-5B13-7F9CD52D7CC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0086749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CE662D8-62C3-47F2-EDE3-9DB967B3CC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34025" y="1104900"/>
            <a:ext cx="6657975" cy="5753100"/>
          </a:xfrm>
          <a:prstGeom prst="rect">
            <a:avLst/>
          </a:prstGeom>
        </p:spPr>
      </p:pic>
      <p:pic>
        <p:nvPicPr>
          <p:cNvPr id="7" name="Graphic 6">
            <a:extLst>
              <a:ext uri="{FF2B5EF4-FFF2-40B4-BE49-F238E27FC236}">
                <a16:creationId xmlns:a16="http://schemas.microsoft.com/office/drawing/2014/main" id="{5DFEFA29-493C-1925-FDD7-818B07FD3F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2627850A-8FA8-CAAF-0158-84DBDE327DF9}"/>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8" name="Subtitle 2">
            <a:extLst>
              <a:ext uri="{FF2B5EF4-FFF2-40B4-BE49-F238E27FC236}">
                <a16:creationId xmlns:a16="http://schemas.microsoft.com/office/drawing/2014/main" id="{94BA46CF-A280-58D5-246B-2DF37611893F}"/>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12867A4-1FF1-9652-48AE-B5949D27B84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8177023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Agenda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6096000" y="0"/>
            <a:ext cx="609043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6760299" y="1423416"/>
            <a:ext cx="4761835" cy="4011168"/>
          </a:xfrm>
        </p:spPr>
        <p:txBody>
          <a:bodyPr anchor="ctr">
            <a:noAutofit/>
          </a:bodyPr>
          <a:lstStyle>
            <a:lvl1pPr marL="228600" indent="-228600">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FAA20DFE-70D2-CF4D-BCBB-4A953010B701}"/>
              </a:ext>
            </a:extLst>
          </p:cNvPr>
          <p:cNvSpPr>
            <a:spLocks noGrp="1"/>
          </p:cNvSpPr>
          <p:nvPr>
            <p:ph type="title"/>
          </p:nvPr>
        </p:nvSpPr>
        <p:spPr>
          <a:xfrm>
            <a:off x="887895" y="801624"/>
            <a:ext cx="4318089" cy="2356104"/>
          </a:xfrm>
        </p:spPr>
        <p:txBody>
          <a:bodyPr anchor="b"/>
          <a:lstStyle>
            <a:lvl1pPr>
              <a:defRPr sz="4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6" name="Text Placeholder 9">
            <a:extLst>
              <a:ext uri="{FF2B5EF4-FFF2-40B4-BE49-F238E27FC236}">
                <a16:creationId xmlns:a16="http://schemas.microsoft.com/office/drawing/2014/main" id="{05D0DC0F-FDE9-1848-AD3E-95851A341261}"/>
              </a:ext>
            </a:extLst>
          </p:cNvPr>
          <p:cNvSpPr>
            <a:spLocks noGrp="1"/>
          </p:cNvSpPr>
          <p:nvPr>
            <p:ph type="body" sz="quarter" idx="17" hasCustomPrompt="1"/>
          </p:nvPr>
        </p:nvSpPr>
        <p:spPr>
          <a:xfrm>
            <a:off x="887413" y="3239390"/>
            <a:ext cx="4318000" cy="1008888"/>
          </a:xfrm>
        </p:spPr>
        <p:txBody>
          <a:bodyPr>
            <a:noAutofit/>
          </a:bodyPr>
          <a:lstStyle>
            <a:lvl1pPr marL="0" indent="0">
              <a:buNone/>
              <a:defRPr lang="en-US" sz="2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r>
              <a:rPr lang="en-US"/>
              <a:t>Click to edit subtitle</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E40FFB5E-A62A-2D74-54FC-40E139B23BF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9615667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412045" y="954155"/>
            <a:ext cx="2833510" cy="4949687"/>
          </a:xfrm>
        </p:spPr>
        <p:txBody>
          <a:bodyPr anchor="t">
            <a:noAutofit/>
          </a:bodyPr>
          <a:lstStyle>
            <a:lvl1pPr marL="0" inden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44235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DD8DD629-CE62-2B44-686E-C8D97BF02A10}"/>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314068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Logistics 2">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A876F87F-E5E0-1E7F-8888-4717B311B8C7}"/>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268C4367-80C5-F838-E9BC-73491685D3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51D491F3-7420-C959-35C4-196DA8B48D9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5880051F-DCD6-E1D8-CA2F-40EA8DFAA3A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695B3F8-1B67-78AD-BC94-0215CA55834F}"/>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3620369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853440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8946445" y="954155"/>
            <a:ext cx="2833510" cy="4949687"/>
          </a:xfrm>
        </p:spPr>
        <p:txBody>
          <a:bodyPr anchor="t">
            <a:noAutofit/>
          </a:bodyPr>
          <a:lstStyle>
            <a:lvl1pPr marL="0" indent="0">
              <a:buFont typeface="Arial" panose="020B0604020202020204" pitchFamily="34" charse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7659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7AB9DE36-93EE-5F1D-B2F7-934AEF322D4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8686454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720B5-B745-42C3-9BE3-1DEFB1BB2964}"/>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3" name="Content Placeholder 2">
            <a:extLst>
              <a:ext uri="{FF2B5EF4-FFF2-40B4-BE49-F238E27FC236}">
                <a16:creationId xmlns:a16="http://schemas.microsoft.com/office/drawing/2014/main" id="{3EA42DD3-EE0E-47DC-B9A6-3CDAE75AA5D9}"/>
              </a:ext>
            </a:extLst>
          </p:cNvPr>
          <p:cNvSpPr>
            <a:spLocks noGrp="1"/>
          </p:cNvSpPr>
          <p:nvPr>
            <p:ph idx="1" hasCustomPrompt="1"/>
          </p:nvPr>
        </p:nvSpPr>
        <p:spPr>
          <a:xfrm>
            <a:off x="381000" y="1066800"/>
            <a:ext cx="11430000" cy="5029200"/>
          </a:xfrm>
        </p:spPr>
        <p:txBody>
          <a:bodyPr/>
          <a:lstStyle>
            <a:lvl1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209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C53B9-FF92-7DC2-B8CC-3BEE1F497CED}"/>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38908059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338139"/>
            <a:ext cx="11430000" cy="1122528"/>
          </a:xfrm>
        </p:spPr>
        <p:txBody>
          <a:bodyPr anchor="b">
            <a:normAutofit/>
          </a:bodyPr>
          <a:lstStyle>
            <a:lvl1pPr>
              <a:defRPr sz="4000" b="1" i="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27301415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Emphasis">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78A86BC-81A0-D64A-8E1C-839DCC18C7D8}"/>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CA97B3DF-AE92-604F-9263-CEE3C35F7CFE}"/>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27951796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Business Wo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2DDDBE96-C72E-A94B-0D67-F51DB499ECD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C3ABB9F6-F192-48B4-D09E-E2F065648E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610A513C-8357-4D6C-EF6F-BD685AD8A3B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CEFD2A14-B2F1-4B2A-B82D-7681E9F4C6F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F59D9166-27EA-0592-45FD-8480DA61A701}"/>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68863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Business 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78B3FD4F-770F-E7EC-81A0-45718D40CC59}"/>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373B6521-B3E6-25A2-EAB6-C3D40E2D71B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53588A47-6BEA-B4A7-A211-EA9DE3EE73A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7D326E3C-0BD8-6294-2B89-AE946101171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790F872-9520-EB1F-9EAA-FEBDE9EBC37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28413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Manufacturin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67B63D-7099-3F57-C03C-3CDA1C73F3F5}"/>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C8F2BBB2-DB59-4E0F-1D53-745462D53AF8}"/>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0EB61488-405B-9EE9-4F60-D62969654BB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06188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Grocer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04AB27-5EDE-E210-D67A-7E688C2BE419}"/>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pic>
        <p:nvPicPr>
          <p:cNvPr id="9" name="Graphic 8">
            <a:extLst>
              <a:ext uri="{FF2B5EF4-FFF2-40B4-BE49-F238E27FC236}">
                <a16:creationId xmlns:a16="http://schemas.microsoft.com/office/drawing/2014/main" id="{46954B25-EFFE-9298-4DF7-9124EF4A0C9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6CC5FCEF-DA56-0308-2EB0-254DAC7E5ACB}"/>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741E72A9-1849-7F2B-CB01-9104792FF95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980921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Retail">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B741AE74-1BB3-C9B1-F81A-3662076861D3}"/>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10815CF8-5FAD-0C60-5E3A-EEC56204B73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B9FA2EAE-F132-9C58-FF7A-5763E8D25B4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D1357D72-C1D7-5893-D14C-F984DA4D92E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B2B1E7AA-EE8B-21F1-358F-342DF1874C8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464912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High-Tech">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E057B152-6E36-22D3-D988-81AF461A6AC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9651510-7314-165A-E1D3-B5A2F1BABF1C}"/>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5D402ECA-D171-6D57-6B42-8883F8FDCCC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6604135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Logistics 1">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B7356CFE-70B6-7BB8-DB18-C9205300EEA1}"/>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6" name="Graphic 5">
            <a:extLst>
              <a:ext uri="{FF2B5EF4-FFF2-40B4-BE49-F238E27FC236}">
                <a16:creationId xmlns:a16="http://schemas.microsoft.com/office/drawing/2014/main" id="{8D357C04-2103-4044-1B2E-F2693BB586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80F12EB3-81B9-B03D-6EA8-D963B02C7A20}"/>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B737D7D-2A3B-1C0D-8A32-ADF223BD320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09F0470F-D6BA-B366-D6E3-DBE9BE8BF49E}"/>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068720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Logistics 2">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A876F87F-E5E0-1E7F-8888-4717B311B8C7}"/>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268C4367-80C5-F838-E9BC-73491685D3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51D491F3-7420-C959-35C4-196DA8B48D9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5880051F-DCD6-E1D8-CA2F-40EA8DFAA3A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695B3F8-1B67-78AD-BC94-0215CA55834F}"/>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352002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High-Tech">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E057B152-6E36-22D3-D988-81AF461A6AC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9651510-7314-165A-E1D3-B5A2F1BABF1C}"/>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5D402ECA-D171-6D57-6B42-8883F8FDCCC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990280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Life Scienc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691745-EAFF-4908-8282-0391E07A0E20}"/>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Text Box 92">
            <a:extLst>
              <a:ext uri="{FF2B5EF4-FFF2-40B4-BE49-F238E27FC236}">
                <a16:creationId xmlns:a16="http://schemas.microsoft.com/office/drawing/2014/main" id="{92D25312-027F-2C67-8299-447FCA222D7A}"/>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9BCCE209-6D74-FB8B-9459-09E5680375A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127597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Healthcar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A13073-7078-8DE6-27E7-37512079F95A}"/>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66A9C3AC-B3AC-EE47-4C59-D94B1CE1F906}"/>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76A9AA13-BC0D-C9FD-32FB-76FEE938161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999198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451134"/>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447800"/>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11612821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wo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895302"/>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891968"/>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Text Placeholder 9">
            <a:extLst>
              <a:ext uri="{FF2B5EF4-FFF2-40B4-BE49-F238E27FC236}">
                <a16:creationId xmlns:a16="http://schemas.microsoft.com/office/drawing/2014/main" id="{409D40C6-75F1-CF12-4FA0-36F4CB209EF1}"/>
              </a:ext>
            </a:extLst>
          </p:cNvPr>
          <p:cNvSpPr>
            <a:spLocks noGrp="1"/>
          </p:cNvSpPr>
          <p:nvPr>
            <p:ph type="body" sz="quarter" idx="17" hasCustomPrompt="1"/>
          </p:nvPr>
        </p:nvSpPr>
        <p:spPr>
          <a:xfrm>
            <a:off x="380999"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3" name="Text Placeholder 9">
            <a:extLst>
              <a:ext uri="{FF2B5EF4-FFF2-40B4-BE49-F238E27FC236}">
                <a16:creationId xmlns:a16="http://schemas.microsoft.com/office/drawing/2014/main" id="{73002B2B-8303-458A-A69E-8633AADCA004}"/>
              </a:ext>
            </a:extLst>
          </p:cNvPr>
          <p:cNvSpPr>
            <a:spLocks noGrp="1"/>
          </p:cNvSpPr>
          <p:nvPr>
            <p:ph type="body" sz="quarter" idx="19" hasCustomPrompt="1"/>
          </p:nvPr>
        </p:nvSpPr>
        <p:spPr>
          <a:xfrm>
            <a:off x="6169651"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25454550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hree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19209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ree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3" name="Text Placeholder 9">
            <a:extLst>
              <a:ext uri="{FF2B5EF4-FFF2-40B4-BE49-F238E27FC236}">
                <a16:creationId xmlns:a16="http://schemas.microsoft.com/office/drawing/2014/main" id="{F5561ADC-51AB-973D-7B23-B08AA34F11B2}"/>
              </a:ext>
            </a:extLst>
          </p:cNvPr>
          <p:cNvSpPr>
            <a:spLocks noGrp="1"/>
          </p:cNvSpPr>
          <p:nvPr>
            <p:ph type="body" sz="quarter" idx="17" hasCustomPrompt="1"/>
          </p:nvPr>
        </p:nvSpPr>
        <p:spPr>
          <a:xfrm>
            <a:off x="609600"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382777"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9">
            <a:extLst>
              <a:ext uri="{FF2B5EF4-FFF2-40B4-BE49-F238E27FC236}">
                <a16:creationId xmlns:a16="http://schemas.microsoft.com/office/drawing/2014/main" id="{986B4E32-8D99-9493-A159-B21154F0A63E}"/>
              </a:ext>
            </a:extLst>
          </p:cNvPr>
          <p:cNvSpPr>
            <a:spLocks noGrp="1"/>
          </p:cNvSpPr>
          <p:nvPr>
            <p:ph type="body" sz="quarter" idx="21" hasCustomPrompt="1"/>
          </p:nvPr>
        </p:nvSpPr>
        <p:spPr>
          <a:xfrm>
            <a:off x="8153401"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4409954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Grid Six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943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943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00150"/>
            <a:ext cx="10970247" cy="4667250"/>
            <a:chOff x="609600" y="1200150"/>
            <a:chExt cx="10970247" cy="466725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421005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0A57B38-92C2-7376-8D15-F988849DBCF7}"/>
                </a:ext>
              </a:extLst>
            </p:cNvPr>
            <p:cNvCxnSpPr>
              <a:cxnSpLocks/>
            </p:cNvCxnSpPr>
            <p:nvPr userDrawn="1"/>
          </p:nvCxnSpPr>
          <p:spPr>
            <a:xfrm flipV="1">
              <a:off x="7991475" y="120015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4517405"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0" name="Content Placeholder 2">
            <a:extLst>
              <a:ext uri="{FF2B5EF4-FFF2-40B4-BE49-F238E27FC236}">
                <a16:creationId xmlns:a16="http://schemas.microsoft.com/office/drawing/2014/main" id="{7DCC6415-F2FB-89EE-2944-F0BCCFC4BE62}"/>
              </a:ext>
            </a:extLst>
          </p:cNvPr>
          <p:cNvSpPr>
            <a:spLocks noGrp="1"/>
          </p:cNvSpPr>
          <p:nvPr>
            <p:ph idx="28" hasCustomPrompt="1"/>
          </p:nvPr>
        </p:nvSpPr>
        <p:spPr>
          <a:xfrm>
            <a:off x="8714098" y="1888561"/>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1" name="Text Placeholder 9">
            <a:extLst>
              <a:ext uri="{FF2B5EF4-FFF2-40B4-BE49-F238E27FC236}">
                <a16:creationId xmlns:a16="http://schemas.microsoft.com/office/drawing/2014/main" id="{D2519197-4EDB-7B44-D048-7FE409D25AFE}"/>
              </a:ext>
            </a:extLst>
          </p:cNvPr>
          <p:cNvSpPr>
            <a:spLocks noGrp="1"/>
          </p:cNvSpPr>
          <p:nvPr>
            <p:ph type="body" sz="quarter" idx="29" hasCustomPrompt="1"/>
          </p:nvPr>
        </p:nvSpPr>
        <p:spPr>
          <a:xfrm>
            <a:off x="8714097"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2" name="Group 41">
            <a:extLst>
              <a:ext uri="{FF2B5EF4-FFF2-40B4-BE49-F238E27FC236}">
                <a16:creationId xmlns:a16="http://schemas.microsoft.com/office/drawing/2014/main" id="{F547BF1F-2DD4-9D0C-8CEF-DCCF864E030F}"/>
              </a:ext>
            </a:extLst>
          </p:cNvPr>
          <p:cNvGrpSpPr>
            <a:grpSpLocks noChangeAspect="1"/>
          </p:cNvGrpSpPr>
          <p:nvPr userDrawn="1"/>
        </p:nvGrpSpPr>
        <p:grpSpPr>
          <a:xfrm>
            <a:off x="8288027" y="1337851"/>
            <a:ext cx="365760" cy="365760"/>
            <a:chOff x="1161489" y="1923489"/>
            <a:chExt cx="457200" cy="457200"/>
          </a:xfrm>
        </p:grpSpPr>
        <p:sp>
          <p:nvSpPr>
            <p:cNvPr id="43" name="Rounded Rectangle 30">
              <a:extLst>
                <a:ext uri="{FF2B5EF4-FFF2-40B4-BE49-F238E27FC236}">
                  <a16:creationId xmlns:a16="http://schemas.microsoft.com/office/drawing/2014/main" id="{418FCA71-3C5E-EDB0-2AB3-0D641C9B30EB}"/>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4" name="Graphic 43" descr="Checkmark with solid fill">
              <a:extLst>
                <a:ext uri="{FF2B5EF4-FFF2-40B4-BE49-F238E27FC236}">
                  <a16:creationId xmlns:a16="http://schemas.microsoft.com/office/drawing/2014/main" id="{6DFE2BE5-E9C5-0CC7-0B12-50B243FAFEC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4943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4943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4517403"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5" name="Content Placeholder 2">
            <a:extLst>
              <a:ext uri="{FF2B5EF4-FFF2-40B4-BE49-F238E27FC236}">
                <a16:creationId xmlns:a16="http://schemas.microsoft.com/office/drawing/2014/main" id="{C08056FB-BF77-D0E8-5B85-DE5AA20E0E7D}"/>
              </a:ext>
            </a:extLst>
          </p:cNvPr>
          <p:cNvSpPr>
            <a:spLocks noGrp="1"/>
          </p:cNvSpPr>
          <p:nvPr>
            <p:ph idx="34" hasCustomPrompt="1"/>
          </p:nvPr>
        </p:nvSpPr>
        <p:spPr>
          <a:xfrm>
            <a:off x="8714096" y="4352007"/>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6" name="Text Placeholder 9">
            <a:extLst>
              <a:ext uri="{FF2B5EF4-FFF2-40B4-BE49-F238E27FC236}">
                <a16:creationId xmlns:a16="http://schemas.microsoft.com/office/drawing/2014/main" id="{1441E5D8-B614-5958-97D8-4AAF59FC38F2}"/>
              </a:ext>
            </a:extLst>
          </p:cNvPr>
          <p:cNvSpPr>
            <a:spLocks noGrp="1"/>
          </p:cNvSpPr>
          <p:nvPr>
            <p:ph type="body" sz="quarter" idx="35" hasCustomPrompt="1"/>
          </p:nvPr>
        </p:nvSpPr>
        <p:spPr>
          <a:xfrm>
            <a:off x="8714095"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7" name="Group 56">
            <a:extLst>
              <a:ext uri="{FF2B5EF4-FFF2-40B4-BE49-F238E27FC236}">
                <a16:creationId xmlns:a16="http://schemas.microsoft.com/office/drawing/2014/main" id="{BEEFC022-A505-A170-665B-893FA044C1BB}"/>
              </a:ext>
            </a:extLst>
          </p:cNvPr>
          <p:cNvGrpSpPr>
            <a:grpSpLocks noChangeAspect="1"/>
          </p:cNvGrpSpPr>
          <p:nvPr userDrawn="1"/>
        </p:nvGrpSpPr>
        <p:grpSpPr>
          <a:xfrm>
            <a:off x="8288025" y="3801297"/>
            <a:ext cx="365760" cy="365760"/>
            <a:chOff x="1161489" y="1923489"/>
            <a:chExt cx="457200" cy="457200"/>
          </a:xfrm>
        </p:grpSpPr>
        <p:sp>
          <p:nvSpPr>
            <p:cNvPr id="58" name="Rounded Rectangle 30">
              <a:extLst>
                <a:ext uri="{FF2B5EF4-FFF2-40B4-BE49-F238E27FC236}">
                  <a16:creationId xmlns:a16="http://schemas.microsoft.com/office/drawing/2014/main" id="{6DC2B077-69BC-A87D-5818-2C1F18BD0E1A}"/>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9" name="Graphic 58" descr="Checkmark with solid fill">
              <a:extLst>
                <a:ext uri="{FF2B5EF4-FFF2-40B4-BE49-F238E27FC236}">
                  <a16:creationId xmlns:a16="http://schemas.microsoft.com/office/drawing/2014/main" id="{35DB04CB-A210-EE42-2EDB-0410D1CBB28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41977851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Life Scienc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691745-EAFF-4908-8282-0391E07A0E20}"/>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Text Box 92">
            <a:extLst>
              <a:ext uri="{FF2B5EF4-FFF2-40B4-BE49-F238E27FC236}">
                <a16:creationId xmlns:a16="http://schemas.microsoft.com/office/drawing/2014/main" id="{92D25312-027F-2C67-8299-447FCA222D7A}"/>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9BCCE209-6D74-FB8B-9459-09E5680375A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2090994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Grid Four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6844893"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6844891"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19200"/>
            <a:ext cx="10970247" cy="4648200"/>
            <a:chOff x="609600" y="1219200"/>
            <a:chExt cx="10970247" cy="464820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609600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6418822"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4"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6844891"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6844889"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6418820"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2"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9087013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Visual &amp; Tex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C9A9C-1F1D-7B13-A172-E1E3D876715A}"/>
              </a:ext>
            </a:extLst>
          </p:cNvPr>
          <p:cNvSpPr>
            <a:spLocks noGrp="1"/>
          </p:cNvSpPr>
          <p:nvPr>
            <p:ph type="title" hasCustomPrompt="1"/>
          </p:nvPr>
        </p:nvSpPr>
        <p:spPr/>
        <p:txBody>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10" name="Content Placeholder 2">
            <a:extLst>
              <a:ext uri="{FF2B5EF4-FFF2-40B4-BE49-F238E27FC236}">
                <a16:creationId xmlns:a16="http://schemas.microsoft.com/office/drawing/2014/main" id="{B91E5054-03B7-DBB6-FD72-2384015A20EA}"/>
              </a:ext>
            </a:extLst>
          </p:cNvPr>
          <p:cNvSpPr>
            <a:spLocks noGrp="1"/>
          </p:cNvSpPr>
          <p:nvPr>
            <p:ph idx="20" hasCustomPrompt="1"/>
          </p:nvPr>
        </p:nvSpPr>
        <p:spPr>
          <a:xfrm>
            <a:off x="8375904" y="1447800"/>
            <a:ext cx="3203944"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4850ED68-9AA5-EB85-CFAB-831B927DF76E}"/>
              </a:ext>
            </a:extLst>
          </p:cNvPr>
          <p:cNvSpPr>
            <a:spLocks noGrp="1"/>
          </p:cNvSpPr>
          <p:nvPr>
            <p:ph idx="21" hasCustomPrompt="1"/>
          </p:nvPr>
        </p:nvSpPr>
        <p:spPr>
          <a:xfrm>
            <a:off x="381000" y="1447800"/>
            <a:ext cx="7772399"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127484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Visual &amp; Text 2">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59D609AE-CE09-C774-5AAA-5F44219B7E72}"/>
              </a:ext>
            </a:extLst>
          </p:cNvPr>
          <p:cNvSpPr>
            <a:spLocks noGrp="1"/>
          </p:cNvSpPr>
          <p:nvPr>
            <p:ph idx="20" hasCustomPrompt="1"/>
          </p:nvPr>
        </p:nvSpPr>
        <p:spPr>
          <a:xfrm>
            <a:off x="8724900" y="2143759"/>
            <a:ext cx="3108960" cy="36576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C562A788-3FBD-AC78-96BF-9CC5E02EA62C}"/>
              </a:ext>
            </a:extLst>
          </p:cNvPr>
          <p:cNvSpPr>
            <a:spLocks noGrp="1"/>
          </p:cNvSpPr>
          <p:nvPr>
            <p:ph type="body" sz="quarter" idx="21" hasCustomPrompt="1"/>
          </p:nvPr>
        </p:nvSpPr>
        <p:spPr>
          <a:xfrm>
            <a:off x="8724900" y="1242800"/>
            <a:ext cx="3108960" cy="8229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marL="0" marR="0" lvl="0" indent="0" algn="l" defTabSz="121917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a:pPr>
            <a:r>
              <a:rPr lang="en-US"/>
              <a:t>Click to edit title</a:t>
            </a:r>
          </a:p>
        </p:txBody>
      </p:sp>
      <p:sp>
        <p:nvSpPr>
          <p:cNvPr id="2" name="Content Placeholder 2">
            <a:extLst>
              <a:ext uri="{FF2B5EF4-FFF2-40B4-BE49-F238E27FC236}">
                <a16:creationId xmlns:a16="http://schemas.microsoft.com/office/drawing/2014/main" id="{EE855AA4-22AC-B470-96BD-5604052CD9BD}"/>
              </a:ext>
            </a:extLst>
          </p:cNvPr>
          <p:cNvSpPr>
            <a:spLocks noGrp="1"/>
          </p:cNvSpPr>
          <p:nvPr>
            <p:ph idx="22" hasCustomPrompt="1"/>
          </p:nvPr>
        </p:nvSpPr>
        <p:spPr>
          <a:xfrm>
            <a:off x="381000" y="1242800"/>
            <a:ext cx="8127999" cy="45720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882573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Section 1">
    <p:bg>
      <p:bgPr>
        <a:solidFill>
          <a:srgbClr val="00003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F946ACA-A5AA-EED2-C848-6ED9133153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Box 1">
            <a:extLst>
              <a:ext uri="{FF2B5EF4-FFF2-40B4-BE49-F238E27FC236}">
                <a16:creationId xmlns:a16="http://schemas.microsoft.com/office/drawing/2014/main" id="{09465EFD-2BDD-1D40-975C-9BB4BDE2AE8E}"/>
              </a:ext>
            </a:extLst>
          </p:cNvPr>
          <p:cNvSpPr txBox="1"/>
          <p:nvPr userDrawn="1"/>
        </p:nvSpPr>
        <p:spPr>
          <a:xfrm>
            <a:off x="-357447" y="3690851"/>
            <a:ext cx="0" cy="0"/>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ctr">
            <a:normAutofit fontScale="25000" lnSpcReduction="20000"/>
          </a:bodyPr>
          <a:lstStyle/>
          <a:p>
            <a:pPr algn="l"/>
            <a:endParaRPr lang="en-US" sz="4400" b="0" i="0" kern="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Footer Placeholder 4">
            <a:extLst>
              <a:ext uri="{FF2B5EF4-FFF2-40B4-BE49-F238E27FC236}">
                <a16:creationId xmlns:a16="http://schemas.microsoft.com/office/drawing/2014/main" id="{45E1E5AA-4AE0-A751-5E7E-4A46F9283F00}"/>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6" name="Graphic 5">
            <a:extLst>
              <a:ext uri="{FF2B5EF4-FFF2-40B4-BE49-F238E27FC236}">
                <a16:creationId xmlns:a16="http://schemas.microsoft.com/office/drawing/2014/main" id="{ACF16567-3476-234C-F230-34791BA12D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8" name="Text Box 92">
            <a:extLst>
              <a:ext uri="{FF2B5EF4-FFF2-40B4-BE49-F238E27FC236}">
                <a16:creationId xmlns:a16="http://schemas.microsoft.com/office/drawing/2014/main" id="{C30F8BBC-3861-688C-7ECC-25674554608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12042B61-7F7F-EB1D-31A7-31178B719617}"/>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983650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Section 2">
    <p:bg>
      <p:bgPr>
        <a:solidFill>
          <a:srgbClr val="F5F8FD"/>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1827E4B-E306-81BA-D9E8-0ECE54D931F8}"/>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Footer Placeholder 4">
            <a:extLst>
              <a:ext uri="{FF2B5EF4-FFF2-40B4-BE49-F238E27FC236}">
                <a16:creationId xmlns:a16="http://schemas.microsoft.com/office/drawing/2014/main" id="{2B0907F5-52ED-9C0D-B057-E38D08DA6B02}"/>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4" name="Graphic 3">
            <a:extLst>
              <a:ext uri="{FF2B5EF4-FFF2-40B4-BE49-F238E27FC236}">
                <a16:creationId xmlns:a16="http://schemas.microsoft.com/office/drawing/2014/main" id="{440F785A-3107-6D3E-C9E6-B2AA5C58504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2719AF64-4315-1813-2084-A6D0BE13CBE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D4B5ACA5-87F8-8BC7-261E-60FF8E58F533}"/>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043019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Section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9BCF50-C4CD-C162-E06D-4CBD5C2DD811}"/>
              </a:ext>
            </a:extLst>
          </p:cNvPr>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36C061D7-9E76-8737-471B-3FDFB6F8E57E}"/>
              </a:ext>
            </a:extLst>
          </p:cNvPr>
          <p:cNvSpPr/>
          <p:nvPr userDrawn="1"/>
        </p:nvSpPr>
        <p:spPr>
          <a:xfrm>
            <a:off x="0" y="0"/>
            <a:ext cx="12192000" cy="6858000"/>
          </a:xfrm>
          <a:prstGeom prst="rect">
            <a:avLst/>
          </a:prstGeom>
          <a:gradFill flip="none" rotWithShape="1">
            <a:gsLst>
              <a:gs pos="0">
                <a:schemeClr val="accent2">
                  <a:lumMod val="75000"/>
                </a:schemeClr>
              </a:gs>
              <a:gs pos="100000">
                <a:schemeClr val="accent3">
                  <a:lumMod val="75000"/>
                  <a:alpha val="79903"/>
                </a:schemeClr>
              </a:gs>
            </a:gsLst>
            <a:lin ang="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0B7E309B-9BFF-D88D-FF7C-E65F09F6E2D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4" name="Title 1">
            <a:extLst>
              <a:ext uri="{FF2B5EF4-FFF2-40B4-BE49-F238E27FC236}">
                <a16:creationId xmlns:a16="http://schemas.microsoft.com/office/drawing/2014/main" id="{F5662734-77ED-EF2A-B73D-353976AD01F4}"/>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B9DEB9FE-E9AB-5F44-C73D-D7DD69A9934B}"/>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6" name="Footer Placeholder 4">
            <a:extLst>
              <a:ext uri="{FF2B5EF4-FFF2-40B4-BE49-F238E27FC236}">
                <a16:creationId xmlns:a16="http://schemas.microsoft.com/office/drawing/2014/main" id="{6D790AFE-B243-3E1A-D68D-C7D6ADFB60B8}"/>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sp>
        <p:nvSpPr>
          <p:cNvPr id="7" name="Text Box 92">
            <a:extLst>
              <a:ext uri="{FF2B5EF4-FFF2-40B4-BE49-F238E27FC236}">
                <a16:creationId xmlns:a16="http://schemas.microsoft.com/office/drawing/2014/main" id="{6DBABA46-43E0-5208-A011-26D401F9E70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10" name="Slide Number Placeholder 5">
            <a:extLst>
              <a:ext uri="{FF2B5EF4-FFF2-40B4-BE49-F238E27FC236}">
                <a16:creationId xmlns:a16="http://schemas.microsoft.com/office/drawing/2014/main" id="{280BCE49-B135-816A-9434-9B6A1DFED8D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76240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Branded">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57F405F9-D6B0-E463-4908-CA589AF18D10}"/>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9589434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Totally Blank">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24989226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D36F64-BEDC-DE00-3D63-8D02C212CC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981198" y="4705464"/>
            <a:ext cx="8229600" cy="457200"/>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Jane Doe | CEO, Company</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5357397" y="135856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5400" b="0" i="0">
                <a:solidFill>
                  <a:schemeClr val="tx2"/>
                </a:solidFill>
                <a:latin typeface="Open Sans" panose="020B0606030504020204" pitchFamily="34" charset="0"/>
                <a:ea typeface="Open Sans" panose="020B0606030504020204" pitchFamily="34" charset="0"/>
                <a:cs typeface="Open Sans" panose="020B0606030504020204" pitchFamily="34" charset="0"/>
              </a:rPr>
              <a:t>“ ” </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1981198" y="2101736"/>
            <a:ext cx="8229600" cy="2286000"/>
          </a:xfrm>
        </p:spPr>
        <p:txBody>
          <a:bodyPr/>
          <a:lstStyle>
            <a:lvl1pPr marL="0" indent="0" algn="ctr">
              <a:lnSpc>
                <a:spcPct val="120000"/>
              </a:lnSpc>
              <a:spcBef>
                <a:spcPts val="600"/>
              </a:spcBef>
              <a:buNone/>
              <a:defRPr b="0" i="0">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2" name="Footer Placeholder 4">
            <a:extLst>
              <a:ext uri="{FF2B5EF4-FFF2-40B4-BE49-F238E27FC236}">
                <a16:creationId xmlns:a16="http://schemas.microsoft.com/office/drawing/2014/main" id="{0CA5C54C-5BEF-8BD2-417E-0F91888C65DD}"/>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5" name="Graphic 4">
            <a:extLst>
              <a:ext uri="{FF2B5EF4-FFF2-40B4-BE49-F238E27FC236}">
                <a16:creationId xmlns:a16="http://schemas.microsoft.com/office/drawing/2014/main" id="{253EEEED-11B5-D1FD-B00A-8F102F25489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9" name="Text Box 92">
            <a:extLst>
              <a:ext uri="{FF2B5EF4-FFF2-40B4-BE49-F238E27FC236}">
                <a16:creationId xmlns:a16="http://schemas.microsoft.com/office/drawing/2014/main" id="{66C4394F-1EBA-BB96-1E44-0793D8C7B86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7F779458-B9EA-CDC4-F33A-E90B326C9D02}"/>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867929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4" name="Speech Bubble: Rectangle with Corners Rounded 3">
            <a:extLst>
              <a:ext uri="{FF2B5EF4-FFF2-40B4-BE49-F238E27FC236}">
                <a16:creationId xmlns:a16="http://schemas.microsoft.com/office/drawing/2014/main" id="{53C3751A-635A-CF50-DDB9-0318FD9CB5FD}"/>
              </a:ext>
            </a:extLst>
          </p:cNvPr>
          <p:cNvSpPr/>
          <p:nvPr userDrawn="1"/>
        </p:nvSpPr>
        <p:spPr>
          <a:xfrm>
            <a:off x="4021240" y="1283100"/>
            <a:ext cx="7132320" cy="3474720"/>
          </a:xfrm>
          <a:prstGeom prst="wedgeRoundRectCallout">
            <a:avLst>
              <a:gd name="adj1" fmla="val -59634"/>
              <a:gd name="adj2" fmla="val -8252"/>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005194" y="4052999"/>
            <a:ext cx="2128837" cy="353470"/>
          </a:xfrm>
        </p:spPr>
        <p:txBody>
          <a:bodyPr>
            <a:noAutofit/>
          </a:bodyPr>
          <a:lstStyle>
            <a:lvl1pPr marL="0" indent="0" algn="ctr">
              <a:buNone/>
              <a:defRPr lang="en-US" sz="1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name</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3882507" y="145935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7200" b="0" i="0">
                <a:solidFill>
                  <a:schemeClr val="accent2">
                    <a:lumMod val="75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4854780" y="1832997"/>
            <a:ext cx="5943600" cy="2286000"/>
          </a:xfrm>
        </p:spPr>
        <p:txBody>
          <a:bodyPr/>
          <a:lstStyle>
            <a:lvl1pPr marL="0" indent="0" algn="l">
              <a:lnSpc>
                <a:spcPct val="120000"/>
              </a:lnSpc>
              <a:spcBef>
                <a:spcPts val="600"/>
              </a:spcBef>
              <a:buNone/>
              <a:defRPr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6" name="Picture Placeholder 5">
            <a:extLst>
              <a:ext uri="{FF2B5EF4-FFF2-40B4-BE49-F238E27FC236}">
                <a16:creationId xmlns:a16="http://schemas.microsoft.com/office/drawing/2014/main" id="{55647432-2A62-2A47-F81C-A724F979227C}"/>
              </a:ext>
            </a:extLst>
          </p:cNvPr>
          <p:cNvSpPr>
            <a:spLocks noGrp="1"/>
          </p:cNvSpPr>
          <p:nvPr>
            <p:ph type="pic" sz="quarter" idx="18"/>
          </p:nvPr>
        </p:nvSpPr>
        <p:spPr>
          <a:xfrm>
            <a:off x="1005193" y="1821067"/>
            <a:ext cx="2128838" cy="2127250"/>
          </a:xfrm>
        </p:spPr>
        <p:txBody>
          <a:bodyPr/>
          <a:lstStyle>
            <a:lvl1pPr>
              <a:defRPr b="0" i="0">
                <a:latin typeface="Open Sans" panose="020B0606030504020204" pitchFamily="34" charset="0"/>
                <a:ea typeface="Open Sans" panose="020B0606030504020204" pitchFamily="34" charset="0"/>
                <a:cs typeface="Open Sans" panose="020B0606030504020204" pitchFamily="34" charset="0"/>
              </a:defRPr>
            </a:lvl1pPr>
          </a:lstStyle>
          <a:p>
            <a:r>
              <a:rPr lang="en-US"/>
              <a:t>Click icon to add picture</a:t>
            </a:r>
          </a:p>
        </p:txBody>
      </p:sp>
      <p:sp>
        <p:nvSpPr>
          <p:cNvPr id="9" name="Text Placeholder 9">
            <a:extLst>
              <a:ext uri="{FF2B5EF4-FFF2-40B4-BE49-F238E27FC236}">
                <a16:creationId xmlns:a16="http://schemas.microsoft.com/office/drawing/2014/main" id="{6276E121-90C4-1E7B-4D2F-23C799CA9853}"/>
              </a:ext>
            </a:extLst>
          </p:cNvPr>
          <p:cNvSpPr>
            <a:spLocks noGrp="1"/>
          </p:cNvSpPr>
          <p:nvPr>
            <p:ph type="body" sz="quarter" idx="19" hasCustomPrompt="1"/>
          </p:nvPr>
        </p:nvSpPr>
        <p:spPr>
          <a:xfrm>
            <a:off x="1005193" y="4502389"/>
            <a:ext cx="2128836" cy="813616"/>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title and company</a:t>
            </a:r>
          </a:p>
        </p:txBody>
      </p:sp>
    </p:spTree>
    <p:extLst>
      <p:ext uri="{BB962C8B-B14F-4D97-AF65-F5344CB8AC3E}">
        <p14:creationId xmlns:p14="http://schemas.microsoft.com/office/powerpoint/2010/main" val="8067690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C43D9B-44E5-5227-2E45-EF9EF0AB6A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0100" y="2057400"/>
            <a:ext cx="7581900" cy="4819650"/>
          </a:xfrm>
          <a:prstGeom prst="rect">
            <a:avLst/>
          </a:prstGeom>
        </p:spPr>
      </p:pic>
      <p:pic>
        <p:nvPicPr>
          <p:cNvPr id="9" name="Graphic 8">
            <a:extLst>
              <a:ext uri="{FF2B5EF4-FFF2-40B4-BE49-F238E27FC236}">
                <a16:creationId xmlns:a16="http://schemas.microsoft.com/office/drawing/2014/main" id="{6AF26A37-6D9C-028E-B089-617CA487F7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03B90F01-9144-92B6-4A82-AD6C6A59A290}"/>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6" name="Subtitle 2">
            <a:extLst>
              <a:ext uri="{FF2B5EF4-FFF2-40B4-BE49-F238E27FC236}">
                <a16:creationId xmlns:a16="http://schemas.microsoft.com/office/drawing/2014/main" id="{40B2C54C-82AC-6F71-3673-3413CCC132F8}"/>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4C068EF-639A-971F-5B13-7F9CD52D7CC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145580956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Healthcar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A13073-7078-8DE6-27E7-37512079F95A}"/>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66A9C3AC-B3AC-EE47-4C59-D94B1CE1F906}"/>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76A9AA13-BC0D-C9FD-32FB-76FEE938161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4154730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Logo Only">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pic>
        <p:nvPicPr>
          <p:cNvPr id="2" name="Graphic 1">
            <a:extLst>
              <a:ext uri="{FF2B5EF4-FFF2-40B4-BE49-F238E27FC236}">
                <a16:creationId xmlns:a16="http://schemas.microsoft.com/office/drawing/2014/main" id="{5F5FD03C-2AA3-4ADE-188F-80933E1A45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52800" y="2369005"/>
            <a:ext cx="5486400" cy="2119989"/>
          </a:xfrm>
          <a:prstGeom prst="rect">
            <a:avLst/>
          </a:prstGeom>
        </p:spPr>
      </p:pic>
    </p:spTree>
    <p:extLst>
      <p:ext uri="{BB962C8B-B14F-4D97-AF65-F5344CB8AC3E}">
        <p14:creationId xmlns:p14="http://schemas.microsoft.com/office/powerpoint/2010/main" val="41845881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L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720B5-B745-42C3-9BE3-1DEFB1BB2964}"/>
              </a:ext>
            </a:extLst>
          </p:cNvPr>
          <p:cNvSpPr>
            <a:spLocks noGrp="1"/>
          </p:cNvSpPr>
          <p:nvPr>
            <p:ph type="title"/>
          </p:nvPr>
        </p:nvSpPr>
        <p:spPr>
          <a:xfrm>
            <a:off x="101600" y="98067"/>
            <a:ext cx="10474385" cy="576261"/>
          </a:xfrm>
        </p:spPr>
        <p:txBody>
          <a:bodyPr/>
          <a:lstStyle>
            <a:lvl1pPr>
              <a:defRPr sz="2400">
                <a:latin typeface="Arial" panose="020B0604020202020204" pitchFamily="34" charset="0"/>
                <a:cs typeface="Arial" panose="020B0604020202020204" pitchFamily="34" charset="0"/>
              </a:defRPr>
            </a:lvl1pPr>
          </a:lstStyle>
          <a:p>
            <a:r>
              <a:rPr lang="en-US"/>
              <a:t>Click to edit Master title style</a:t>
            </a:r>
          </a:p>
        </p:txBody>
      </p:sp>
      <p:sp>
        <p:nvSpPr>
          <p:cNvPr id="6" name="Slide Number Placeholder 5">
            <a:extLst>
              <a:ext uri="{FF2B5EF4-FFF2-40B4-BE49-F238E27FC236}">
                <a16:creationId xmlns:a16="http://schemas.microsoft.com/office/drawing/2014/main" id="{432E2D26-2D6F-4271-9B5F-092742AAFFA8}"/>
              </a:ext>
            </a:extLst>
          </p:cNvPr>
          <p:cNvSpPr txBox="1">
            <a:spLocks/>
          </p:cNvSpPr>
          <p:nvPr userDrawn="1"/>
        </p:nvSpPr>
        <p:spPr>
          <a:xfrm>
            <a:off x="11226800" y="6370638"/>
            <a:ext cx="609600" cy="365125"/>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08DF3C8-31D9-423A-B2D7-DD2A85E509D6}" type="slidenum">
              <a:rPr lang="en-US" sz="1333" smtClean="0"/>
              <a:pPr/>
              <a:t>‹#›</a:t>
            </a:fld>
            <a:endParaRPr lang="en-US" sz="1333"/>
          </a:p>
        </p:txBody>
      </p:sp>
    </p:spTree>
    <p:extLst>
      <p:ext uri="{BB962C8B-B14F-4D97-AF65-F5344CB8AC3E}">
        <p14:creationId xmlns:p14="http://schemas.microsoft.com/office/powerpoint/2010/main" val="102787105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Only">
  <p:cSld name="Top Title - Simp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76200"/>
            <a:ext cx="11430000" cy="762000"/>
          </a:xfrm>
        </p:spPr>
        <p:txBody>
          <a:bodyPr>
            <a:normAutofit/>
          </a:bodyPr>
          <a:lstStyle>
            <a:lvl1pPr>
              <a:defRPr sz="3200" spc="-15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7" name="Slide Number Placeholder 5"/>
          <p:cNvSpPr txBox="1">
            <a:spLocks/>
          </p:cNvSpPr>
          <p:nvPr userDrawn="1"/>
        </p:nvSpPr>
        <p:spPr>
          <a:xfrm>
            <a:off x="10668000" y="6416675"/>
            <a:ext cx="609600" cy="365125"/>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08DF3C8-31D9-423A-B2D7-DD2A85E509D6}" type="slidenum">
              <a:rPr lang="en-US" sz="1333" smtClean="0"/>
              <a:pPr/>
              <a:t>‹#›</a:t>
            </a:fld>
            <a:endParaRPr lang="en-US" sz="1333"/>
          </a:p>
        </p:txBody>
      </p:sp>
    </p:spTree>
    <p:extLst>
      <p:ext uri="{BB962C8B-B14F-4D97-AF65-F5344CB8AC3E}">
        <p14:creationId xmlns:p14="http://schemas.microsoft.com/office/powerpoint/2010/main" val="90025585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Top Title &amp; Content">
    <p:bg>
      <p:bgPr>
        <a:solidFill>
          <a:schemeClr val="bg1"/>
        </a:solidFill>
        <a:effectLst/>
      </p:bgPr>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640648D8-01C8-4406-95EB-8442CBC0EFD0}"/>
              </a:ext>
            </a:extLst>
          </p:cNvPr>
          <p:cNvSpPr>
            <a:spLocks noGrp="1"/>
          </p:cNvSpPr>
          <p:nvPr>
            <p:ph sz="half" idx="1" hasCustomPrompt="1"/>
          </p:nvPr>
        </p:nvSpPr>
        <p:spPr>
          <a:xfrm>
            <a:off x="381002" y="990600"/>
            <a:ext cx="11429999" cy="5105400"/>
          </a:xfrm>
        </p:spPr>
        <p:txBody>
          <a:bodyPr>
            <a:normAutofit/>
          </a:bodyPr>
          <a:lstStyle>
            <a:lvl1pPr marL="0" marR="0" indent="0" algn="l" defTabSz="121914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sz="3200">
                <a:latin typeface="+mj-lt"/>
              </a:defRPr>
            </a:lvl1pPr>
            <a:lvl2pPr marL="609569" indent="0">
              <a:buNone/>
              <a:defRPr sz="2000"/>
            </a:lvl2pPr>
            <a:lvl3pPr marL="1219140" indent="0">
              <a:buNone/>
              <a:defRPr sz="2000"/>
            </a:lvl3pPr>
            <a:lvl4pPr marL="1828709" indent="0">
              <a:buNone/>
              <a:defRPr sz="2000"/>
            </a:lvl4pPr>
            <a:lvl5pPr marL="2438278" indent="0">
              <a:buNone/>
              <a:defRPr sz="2000"/>
            </a:lvl5pPr>
            <a:lvl6pPr>
              <a:defRPr sz="2400"/>
            </a:lvl6pPr>
            <a:lvl7pPr>
              <a:defRPr sz="2400"/>
            </a:lvl7pPr>
            <a:lvl8pPr>
              <a:defRPr sz="2400"/>
            </a:lvl8pPr>
            <a:lvl9pPr>
              <a:defRPr sz="2400"/>
            </a:lvl9pPr>
          </a:lstStyle>
          <a:p>
            <a:r>
              <a:rPr lang="en-US"/>
              <a:t>Click to add subtitle</a:t>
            </a:r>
          </a:p>
        </p:txBody>
      </p:sp>
      <p:sp>
        <p:nvSpPr>
          <p:cNvPr id="4" name="Title Placeholder 1">
            <a:extLst>
              <a:ext uri="{FF2B5EF4-FFF2-40B4-BE49-F238E27FC236}">
                <a16:creationId xmlns:a16="http://schemas.microsoft.com/office/drawing/2014/main" id="{A20942E4-24CC-484A-9845-8D2666BDC9D6}"/>
              </a:ext>
            </a:extLst>
          </p:cNvPr>
          <p:cNvSpPr>
            <a:spLocks noGrp="1"/>
          </p:cNvSpPr>
          <p:nvPr>
            <p:ph type="title"/>
          </p:nvPr>
        </p:nvSpPr>
        <p:spPr>
          <a:xfrm>
            <a:off x="381000" y="76202"/>
            <a:ext cx="9372600" cy="732607"/>
          </a:xfrm>
          <a:prstGeom prst="rect">
            <a:avLst/>
          </a:prstGeom>
          <a:effectLst/>
        </p:spPr>
        <p:txBody>
          <a:bodyPr vert="horz" lIns="91440" tIns="45720" rIns="91440" bIns="45720" rtlCol="0" anchor="ctr">
            <a:normAutofit/>
          </a:bodyPr>
          <a:lstStyle/>
          <a:p>
            <a:r>
              <a:rPr lang="en-GB"/>
              <a:t>Click to edit Master title style</a:t>
            </a:r>
            <a:endParaRPr lang="en-US"/>
          </a:p>
        </p:txBody>
      </p:sp>
    </p:spTree>
    <p:extLst>
      <p:ext uri="{BB962C8B-B14F-4D97-AF65-F5344CB8AC3E}">
        <p14:creationId xmlns:p14="http://schemas.microsoft.com/office/powerpoint/2010/main" val="17031648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x">
  <p:cSld name="1_Blank">
    <p:spTree>
      <p:nvGrpSpPr>
        <p:cNvPr id="1" name=""/>
        <p:cNvGrpSpPr/>
        <p:nvPr/>
      </p:nvGrpSpPr>
      <p:grpSpPr>
        <a:xfrm>
          <a:off x="0" y="0"/>
          <a:ext cx="0" cy="0"/>
          <a:chOff x="0" y="0"/>
          <a:chExt cx="0" cy="0"/>
        </a:xfrm>
      </p:grpSpPr>
      <p:sp>
        <p:nvSpPr>
          <p:cNvPr id="11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59471315"/>
      </p:ext>
    </p:extLst>
  </p:cSld>
  <p:clrMapOvr>
    <a:masterClrMapping/>
  </p:clrMapOvr>
  <p:transition spd="med"/>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6A638F1-B6E2-A7B8-7F3D-5814FC4807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62500" y="1552575"/>
            <a:ext cx="7429500" cy="5305425"/>
          </a:xfrm>
          <a:prstGeom prst="rect">
            <a:avLst/>
          </a:prstGeom>
        </p:spPr>
      </p:pic>
      <p:sp>
        <p:nvSpPr>
          <p:cNvPr id="11" name="Title 1">
            <a:extLst>
              <a:ext uri="{FF2B5EF4-FFF2-40B4-BE49-F238E27FC236}">
                <a16:creationId xmlns:a16="http://schemas.microsoft.com/office/drawing/2014/main" id="{11191324-3A4D-B745-BDAC-FA074E5EA914}"/>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12" name="Subtitle 2">
            <a:extLst>
              <a:ext uri="{FF2B5EF4-FFF2-40B4-BE49-F238E27FC236}">
                <a16:creationId xmlns:a16="http://schemas.microsoft.com/office/drawing/2014/main" id="{77A44848-3A08-1545-98D7-3523DA9848F7}"/>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2" name="Graphic 1">
            <a:extLst>
              <a:ext uri="{FF2B5EF4-FFF2-40B4-BE49-F238E27FC236}">
                <a16:creationId xmlns:a16="http://schemas.microsoft.com/office/drawing/2014/main" id="{D24E8A85-6C91-146B-087A-D3B1F1AC61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3" name="Text Box 92">
            <a:extLst>
              <a:ext uri="{FF2B5EF4-FFF2-40B4-BE49-F238E27FC236}">
                <a16:creationId xmlns:a16="http://schemas.microsoft.com/office/drawing/2014/main" id="{3BF45DA8-68D1-8131-9975-4F39534CB32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338850249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C43D9B-44E5-5227-2E45-EF9EF0AB6A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0100" y="2057400"/>
            <a:ext cx="7581900" cy="4819650"/>
          </a:xfrm>
          <a:prstGeom prst="rect">
            <a:avLst/>
          </a:prstGeom>
        </p:spPr>
      </p:pic>
      <p:pic>
        <p:nvPicPr>
          <p:cNvPr id="9" name="Graphic 8">
            <a:extLst>
              <a:ext uri="{FF2B5EF4-FFF2-40B4-BE49-F238E27FC236}">
                <a16:creationId xmlns:a16="http://schemas.microsoft.com/office/drawing/2014/main" id="{6AF26A37-6D9C-028E-B089-617CA487F7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03B90F01-9144-92B6-4A82-AD6C6A59A290}"/>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6" name="Subtitle 2">
            <a:extLst>
              <a:ext uri="{FF2B5EF4-FFF2-40B4-BE49-F238E27FC236}">
                <a16:creationId xmlns:a16="http://schemas.microsoft.com/office/drawing/2014/main" id="{40B2C54C-82AC-6F71-3673-3413CCC132F8}"/>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4C068EF-639A-971F-5B13-7F9CD52D7CC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0086749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CE662D8-62C3-47F2-EDE3-9DB967B3CC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34025" y="1104900"/>
            <a:ext cx="6657975" cy="5753100"/>
          </a:xfrm>
          <a:prstGeom prst="rect">
            <a:avLst/>
          </a:prstGeom>
        </p:spPr>
      </p:pic>
      <p:pic>
        <p:nvPicPr>
          <p:cNvPr id="7" name="Graphic 6">
            <a:extLst>
              <a:ext uri="{FF2B5EF4-FFF2-40B4-BE49-F238E27FC236}">
                <a16:creationId xmlns:a16="http://schemas.microsoft.com/office/drawing/2014/main" id="{5DFEFA29-493C-1925-FDD7-818B07FD3F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2627850A-8FA8-CAAF-0158-84DBDE327DF9}"/>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8" name="Subtitle 2">
            <a:extLst>
              <a:ext uri="{FF2B5EF4-FFF2-40B4-BE49-F238E27FC236}">
                <a16:creationId xmlns:a16="http://schemas.microsoft.com/office/drawing/2014/main" id="{94BA46CF-A280-58D5-246B-2DF37611893F}"/>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12867A4-1FF1-9652-48AE-B5949D27B84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8177023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Agenda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6096000" y="0"/>
            <a:ext cx="609043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6760299" y="1423416"/>
            <a:ext cx="4761835" cy="4011168"/>
          </a:xfrm>
        </p:spPr>
        <p:txBody>
          <a:bodyPr anchor="ctr">
            <a:noAutofit/>
          </a:bodyPr>
          <a:lstStyle>
            <a:lvl1pPr marL="228600" indent="-228600">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FAA20DFE-70D2-CF4D-BCBB-4A953010B701}"/>
              </a:ext>
            </a:extLst>
          </p:cNvPr>
          <p:cNvSpPr>
            <a:spLocks noGrp="1"/>
          </p:cNvSpPr>
          <p:nvPr>
            <p:ph type="title"/>
          </p:nvPr>
        </p:nvSpPr>
        <p:spPr>
          <a:xfrm>
            <a:off x="887895" y="801624"/>
            <a:ext cx="4318089" cy="2356104"/>
          </a:xfrm>
        </p:spPr>
        <p:txBody>
          <a:bodyPr anchor="b"/>
          <a:lstStyle>
            <a:lvl1pPr>
              <a:defRPr sz="4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6" name="Text Placeholder 9">
            <a:extLst>
              <a:ext uri="{FF2B5EF4-FFF2-40B4-BE49-F238E27FC236}">
                <a16:creationId xmlns:a16="http://schemas.microsoft.com/office/drawing/2014/main" id="{05D0DC0F-FDE9-1848-AD3E-95851A341261}"/>
              </a:ext>
            </a:extLst>
          </p:cNvPr>
          <p:cNvSpPr>
            <a:spLocks noGrp="1"/>
          </p:cNvSpPr>
          <p:nvPr>
            <p:ph type="body" sz="quarter" idx="17" hasCustomPrompt="1"/>
          </p:nvPr>
        </p:nvSpPr>
        <p:spPr>
          <a:xfrm>
            <a:off x="887413" y="3239390"/>
            <a:ext cx="4318000" cy="1008888"/>
          </a:xfrm>
        </p:spPr>
        <p:txBody>
          <a:bodyPr>
            <a:noAutofit/>
          </a:bodyPr>
          <a:lstStyle>
            <a:lvl1pPr marL="0" indent="0">
              <a:buNone/>
              <a:defRPr lang="en-US" sz="2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r>
              <a:rPr lang="en-US"/>
              <a:t>Click to edit subtitle</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E40FFB5E-A62A-2D74-54FC-40E139B23BF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96156670"/>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412045" y="954155"/>
            <a:ext cx="2833510" cy="4949687"/>
          </a:xfrm>
        </p:spPr>
        <p:txBody>
          <a:bodyPr anchor="t">
            <a:noAutofit/>
          </a:bodyPr>
          <a:lstStyle>
            <a:lvl1pPr marL="0" inden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44235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DD8DD629-CE62-2B44-686E-C8D97BF02A10}"/>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314068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451134"/>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447800"/>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145075822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853440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8946445" y="954155"/>
            <a:ext cx="2833510" cy="4949687"/>
          </a:xfrm>
        </p:spPr>
        <p:txBody>
          <a:bodyPr anchor="t">
            <a:noAutofit/>
          </a:bodyPr>
          <a:lstStyle>
            <a:lvl1pPr marL="0" indent="0">
              <a:buFont typeface="Arial" panose="020B0604020202020204" pitchFamily="34" charse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7659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7AB9DE36-93EE-5F1D-B2F7-934AEF322D4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8686454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720B5-B745-42C3-9BE3-1DEFB1BB2964}"/>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3" name="Content Placeholder 2">
            <a:extLst>
              <a:ext uri="{FF2B5EF4-FFF2-40B4-BE49-F238E27FC236}">
                <a16:creationId xmlns:a16="http://schemas.microsoft.com/office/drawing/2014/main" id="{3EA42DD3-EE0E-47DC-B9A6-3CDAE75AA5D9}"/>
              </a:ext>
            </a:extLst>
          </p:cNvPr>
          <p:cNvSpPr>
            <a:spLocks noGrp="1"/>
          </p:cNvSpPr>
          <p:nvPr>
            <p:ph idx="1" hasCustomPrompt="1"/>
          </p:nvPr>
        </p:nvSpPr>
        <p:spPr>
          <a:xfrm>
            <a:off x="381000" y="1066800"/>
            <a:ext cx="11430000" cy="5029200"/>
          </a:xfrm>
        </p:spPr>
        <p:txBody>
          <a:bodyPr/>
          <a:lstStyle>
            <a:lvl1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209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Only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C53B9-FF92-7DC2-B8CC-3BEE1F497CED}"/>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38908059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Only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338139"/>
            <a:ext cx="11430000" cy="1122528"/>
          </a:xfrm>
        </p:spPr>
        <p:txBody>
          <a:bodyPr anchor="b">
            <a:normAutofit/>
          </a:bodyPr>
          <a:lstStyle>
            <a:lvl1pPr>
              <a:defRPr sz="4000" b="1" i="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27301415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Emphasis">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78A86BC-81A0-D64A-8E1C-839DCC18C7D8}"/>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CA97B3DF-AE92-604F-9263-CEE3C35F7CFE}"/>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27951796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Business Wo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2DDDBE96-C72E-A94B-0D67-F51DB499ECD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C3ABB9F6-F192-48B4-D09E-E2F065648E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610A513C-8357-4D6C-EF6F-BD685AD8A3B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CEFD2A14-B2F1-4B2A-B82D-7681E9F4C6F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F59D9166-27EA-0592-45FD-8480DA61A701}"/>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68863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Business 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78B3FD4F-770F-E7EC-81A0-45718D40CC59}"/>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373B6521-B3E6-25A2-EAB6-C3D40E2D71B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53588A47-6BEA-B4A7-A211-EA9DE3EE73A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7D326E3C-0BD8-6294-2B89-AE946101171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790F872-9520-EB1F-9EAA-FEBDE9EBC37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28413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Manufacturin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67B63D-7099-3F57-C03C-3CDA1C73F3F5}"/>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C8F2BBB2-DB59-4E0F-1D53-745462D53AF8}"/>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0EB61488-405B-9EE9-4F60-D62969654BB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06188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Grocer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04AB27-5EDE-E210-D67A-7E688C2BE419}"/>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pic>
        <p:nvPicPr>
          <p:cNvPr id="9" name="Graphic 8">
            <a:extLst>
              <a:ext uri="{FF2B5EF4-FFF2-40B4-BE49-F238E27FC236}">
                <a16:creationId xmlns:a16="http://schemas.microsoft.com/office/drawing/2014/main" id="{46954B25-EFFE-9298-4DF7-9124EF4A0C9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6CC5FCEF-DA56-0308-2EB0-254DAC7E5ACB}"/>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741E72A9-1849-7F2B-CB01-9104792FF95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980921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Retail">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B741AE74-1BB3-C9B1-F81A-3662076861D3}"/>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10815CF8-5FAD-0C60-5E3A-EEC56204B73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B9FA2EAE-F132-9C58-FF7A-5763E8D25B4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D1357D72-C1D7-5893-D14C-F984DA4D92E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B2B1E7AA-EE8B-21F1-358F-342DF1874C8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464912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895302"/>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891968"/>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Text Placeholder 9">
            <a:extLst>
              <a:ext uri="{FF2B5EF4-FFF2-40B4-BE49-F238E27FC236}">
                <a16:creationId xmlns:a16="http://schemas.microsoft.com/office/drawing/2014/main" id="{409D40C6-75F1-CF12-4FA0-36F4CB209EF1}"/>
              </a:ext>
            </a:extLst>
          </p:cNvPr>
          <p:cNvSpPr>
            <a:spLocks noGrp="1"/>
          </p:cNvSpPr>
          <p:nvPr>
            <p:ph type="body" sz="quarter" idx="17" hasCustomPrompt="1"/>
          </p:nvPr>
        </p:nvSpPr>
        <p:spPr>
          <a:xfrm>
            <a:off x="380999"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3" name="Text Placeholder 9">
            <a:extLst>
              <a:ext uri="{FF2B5EF4-FFF2-40B4-BE49-F238E27FC236}">
                <a16:creationId xmlns:a16="http://schemas.microsoft.com/office/drawing/2014/main" id="{73002B2B-8303-458A-A69E-8633AADCA004}"/>
              </a:ext>
            </a:extLst>
          </p:cNvPr>
          <p:cNvSpPr>
            <a:spLocks noGrp="1"/>
          </p:cNvSpPr>
          <p:nvPr>
            <p:ph type="body" sz="quarter" idx="19" hasCustomPrompt="1"/>
          </p:nvPr>
        </p:nvSpPr>
        <p:spPr>
          <a:xfrm>
            <a:off x="6169651"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428481007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Logistics 1">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B7356CFE-70B6-7BB8-DB18-C9205300EEA1}"/>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6" name="Graphic 5">
            <a:extLst>
              <a:ext uri="{FF2B5EF4-FFF2-40B4-BE49-F238E27FC236}">
                <a16:creationId xmlns:a16="http://schemas.microsoft.com/office/drawing/2014/main" id="{8D357C04-2103-4044-1B2E-F2693BB586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80F12EB3-81B9-B03D-6EA8-D963B02C7A20}"/>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B737D7D-2A3B-1C0D-8A32-ADF223BD320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09F0470F-D6BA-B366-D6E3-DBE9BE8BF49E}"/>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068720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Logistics 2">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A876F87F-E5E0-1E7F-8888-4717B311B8C7}"/>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268C4367-80C5-F838-E9BC-73491685D3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51D491F3-7420-C959-35C4-196DA8B48D9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5880051F-DCD6-E1D8-CA2F-40EA8DFAA3A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695B3F8-1B67-78AD-BC94-0215CA55834F}"/>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352002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High-Tech">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E057B152-6E36-22D3-D988-81AF461A6AC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9651510-7314-165A-E1D3-B5A2F1BABF1C}"/>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5D402ECA-D171-6D57-6B42-8883F8FDCCC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990280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Life Scienc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691745-EAFF-4908-8282-0391E07A0E20}"/>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Text Box 92">
            <a:extLst>
              <a:ext uri="{FF2B5EF4-FFF2-40B4-BE49-F238E27FC236}">
                <a16:creationId xmlns:a16="http://schemas.microsoft.com/office/drawing/2014/main" id="{92D25312-027F-2C67-8299-447FCA222D7A}"/>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9BCCE209-6D74-FB8B-9459-09E5680375A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127597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Healthcar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A13073-7078-8DE6-27E7-37512079F95A}"/>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66A9C3AC-B3AC-EE47-4C59-D94B1CE1F906}"/>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76A9AA13-BC0D-C9FD-32FB-76FEE938161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999198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451134"/>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447800"/>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11612821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895302"/>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891968"/>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Text Placeholder 9">
            <a:extLst>
              <a:ext uri="{FF2B5EF4-FFF2-40B4-BE49-F238E27FC236}">
                <a16:creationId xmlns:a16="http://schemas.microsoft.com/office/drawing/2014/main" id="{409D40C6-75F1-CF12-4FA0-36F4CB209EF1}"/>
              </a:ext>
            </a:extLst>
          </p:cNvPr>
          <p:cNvSpPr>
            <a:spLocks noGrp="1"/>
          </p:cNvSpPr>
          <p:nvPr>
            <p:ph type="body" sz="quarter" idx="17" hasCustomPrompt="1"/>
          </p:nvPr>
        </p:nvSpPr>
        <p:spPr>
          <a:xfrm>
            <a:off x="380999"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3" name="Text Placeholder 9">
            <a:extLst>
              <a:ext uri="{FF2B5EF4-FFF2-40B4-BE49-F238E27FC236}">
                <a16:creationId xmlns:a16="http://schemas.microsoft.com/office/drawing/2014/main" id="{73002B2B-8303-458A-A69E-8633AADCA004}"/>
              </a:ext>
            </a:extLst>
          </p:cNvPr>
          <p:cNvSpPr>
            <a:spLocks noGrp="1"/>
          </p:cNvSpPr>
          <p:nvPr>
            <p:ph type="body" sz="quarter" idx="19" hasCustomPrompt="1"/>
          </p:nvPr>
        </p:nvSpPr>
        <p:spPr>
          <a:xfrm>
            <a:off x="6169651"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25454550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hree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19209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hree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3" name="Text Placeholder 9">
            <a:extLst>
              <a:ext uri="{FF2B5EF4-FFF2-40B4-BE49-F238E27FC236}">
                <a16:creationId xmlns:a16="http://schemas.microsoft.com/office/drawing/2014/main" id="{F5561ADC-51AB-973D-7B23-B08AA34F11B2}"/>
              </a:ext>
            </a:extLst>
          </p:cNvPr>
          <p:cNvSpPr>
            <a:spLocks noGrp="1"/>
          </p:cNvSpPr>
          <p:nvPr>
            <p:ph type="body" sz="quarter" idx="17" hasCustomPrompt="1"/>
          </p:nvPr>
        </p:nvSpPr>
        <p:spPr>
          <a:xfrm>
            <a:off x="609600"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382777"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9">
            <a:extLst>
              <a:ext uri="{FF2B5EF4-FFF2-40B4-BE49-F238E27FC236}">
                <a16:creationId xmlns:a16="http://schemas.microsoft.com/office/drawing/2014/main" id="{986B4E32-8D99-9493-A159-B21154F0A63E}"/>
              </a:ext>
            </a:extLst>
          </p:cNvPr>
          <p:cNvSpPr>
            <a:spLocks noGrp="1"/>
          </p:cNvSpPr>
          <p:nvPr>
            <p:ph type="body" sz="quarter" idx="21" hasCustomPrompt="1"/>
          </p:nvPr>
        </p:nvSpPr>
        <p:spPr>
          <a:xfrm>
            <a:off x="8153401"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4409954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Grid Six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943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943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00150"/>
            <a:ext cx="10970247" cy="4667250"/>
            <a:chOff x="609600" y="1200150"/>
            <a:chExt cx="10970247" cy="466725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421005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0A57B38-92C2-7376-8D15-F988849DBCF7}"/>
                </a:ext>
              </a:extLst>
            </p:cNvPr>
            <p:cNvCxnSpPr>
              <a:cxnSpLocks/>
            </p:cNvCxnSpPr>
            <p:nvPr userDrawn="1"/>
          </p:nvCxnSpPr>
          <p:spPr>
            <a:xfrm flipV="1">
              <a:off x="7991475" y="120015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4517405"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0" name="Content Placeholder 2">
            <a:extLst>
              <a:ext uri="{FF2B5EF4-FFF2-40B4-BE49-F238E27FC236}">
                <a16:creationId xmlns:a16="http://schemas.microsoft.com/office/drawing/2014/main" id="{7DCC6415-F2FB-89EE-2944-F0BCCFC4BE62}"/>
              </a:ext>
            </a:extLst>
          </p:cNvPr>
          <p:cNvSpPr>
            <a:spLocks noGrp="1"/>
          </p:cNvSpPr>
          <p:nvPr>
            <p:ph idx="28" hasCustomPrompt="1"/>
          </p:nvPr>
        </p:nvSpPr>
        <p:spPr>
          <a:xfrm>
            <a:off x="8714098" y="1888561"/>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1" name="Text Placeholder 9">
            <a:extLst>
              <a:ext uri="{FF2B5EF4-FFF2-40B4-BE49-F238E27FC236}">
                <a16:creationId xmlns:a16="http://schemas.microsoft.com/office/drawing/2014/main" id="{D2519197-4EDB-7B44-D048-7FE409D25AFE}"/>
              </a:ext>
            </a:extLst>
          </p:cNvPr>
          <p:cNvSpPr>
            <a:spLocks noGrp="1"/>
          </p:cNvSpPr>
          <p:nvPr>
            <p:ph type="body" sz="quarter" idx="29" hasCustomPrompt="1"/>
          </p:nvPr>
        </p:nvSpPr>
        <p:spPr>
          <a:xfrm>
            <a:off x="8714097"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2" name="Group 41">
            <a:extLst>
              <a:ext uri="{FF2B5EF4-FFF2-40B4-BE49-F238E27FC236}">
                <a16:creationId xmlns:a16="http://schemas.microsoft.com/office/drawing/2014/main" id="{F547BF1F-2DD4-9D0C-8CEF-DCCF864E030F}"/>
              </a:ext>
            </a:extLst>
          </p:cNvPr>
          <p:cNvGrpSpPr>
            <a:grpSpLocks noChangeAspect="1"/>
          </p:cNvGrpSpPr>
          <p:nvPr userDrawn="1"/>
        </p:nvGrpSpPr>
        <p:grpSpPr>
          <a:xfrm>
            <a:off x="8288027" y="1337851"/>
            <a:ext cx="365760" cy="365760"/>
            <a:chOff x="1161489" y="1923489"/>
            <a:chExt cx="457200" cy="457200"/>
          </a:xfrm>
        </p:grpSpPr>
        <p:sp>
          <p:nvSpPr>
            <p:cNvPr id="43" name="Rounded Rectangle 30">
              <a:extLst>
                <a:ext uri="{FF2B5EF4-FFF2-40B4-BE49-F238E27FC236}">
                  <a16:creationId xmlns:a16="http://schemas.microsoft.com/office/drawing/2014/main" id="{418FCA71-3C5E-EDB0-2AB3-0D641C9B30EB}"/>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4" name="Graphic 43" descr="Checkmark with solid fill">
              <a:extLst>
                <a:ext uri="{FF2B5EF4-FFF2-40B4-BE49-F238E27FC236}">
                  <a16:creationId xmlns:a16="http://schemas.microsoft.com/office/drawing/2014/main" id="{6DFE2BE5-E9C5-0CC7-0B12-50B243FAFEC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4943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4943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4517403"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5" name="Content Placeholder 2">
            <a:extLst>
              <a:ext uri="{FF2B5EF4-FFF2-40B4-BE49-F238E27FC236}">
                <a16:creationId xmlns:a16="http://schemas.microsoft.com/office/drawing/2014/main" id="{C08056FB-BF77-D0E8-5B85-DE5AA20E0E7D}"/>
              </a:ext>
            </a:extLst>
          </p:cNvPr>
          <p:cNvSpPr>
            <a:spLocks noGrp="1"/>
          </p:cNvSpPr>
          <p:nvPr>
            <p:ph idx="34" hasCustomPrompt="1"/>
          </p:nvPr>
        </p:nvSpPr>
        <p:spPr>
          <a:xfrm>
            <a:off x="8714096" y="4352007"/>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6" name="Text Placeholder 9">
            <a:extLst>
              <a:ext uri="{FF2B5EF4-FFF2-40B4-BE49-F238E27FC236}">
                <a16:creationId xmlns:a16="http://schemas.microsoft.com/office/drawing/2014/main" id="{1441E5D8-B614-5958-97D8-4AAF59FC38F2}"/>
              </a:ext>
            </a:extLst>
          </p:cNvPr>
          <p:cNvSpPr>
            <a:spLocks noGrp="1"/>
          </p:cNvSpPr>
          <p:nvPr>
            <p:ph type="body" sz="quarter" idx="35" hasCustomPrompt="1"/>
          </p:nvPr>
        </p:nvSpPr>
        <p:spPr>
          <a:xfrm>
            <a:off x="8714095"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7" name="Group 56">
            <a:extLst>
              <a:ext uri="{FF2B5EF4-FFF2-40B4-BE49-F238E27FC236}">
                <a16:creationId xmlns:a16="http://schemas.microsoft.com/office/drawing/2014/main" id="{BEEFC022-A505-A170-665B-893FA044C1BB}"/>
              </a:ext>
            </a:extLst>
          </p:cNvPr>
          <p:cNvGrpSpPr>
            <a:grpSpLocks noChangeAspect="1"/>
          </p:cNvGrpSpPr>
          <p:nvPr userDrawn="1"/>
        </p:nvGrpSpPr>
        <p:grpSpPr>
          <a:xfrm>
            <a:off x="8288025" y="3801297"/>
            <a:ext cx="365760" cy="365760"/>
            <a:chOff x="1161489" y="1923489"/>
            <a:chExt cx="457200" cy="457200"/>
          </a:xfrm>
        </p:grpSpPr>
        <p:sp>
          <p:nvSpPr>
            <p:cNvPr id="58" name="Rounded Rectangle 30">
              <a:extLst>
                <a:ext uri="{FF2B5EF4-FFF2-40B4-BE49-F238E27FC236}">
                  <a16:creationId xmlns:a16="http://schemas.microsoft.com/office/drawing/2014/main" id="{6DC2B077-69BC-A87D-5818-2C1F18BD0E1A}"/>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9" name="Graphic 58" descr="Checkmark with solid fill">
              <a:extLst>
                <a:ext uri="{FF2B5EF4-FFF2-40B4-BE49-F238E27FC236}">
                  <a16:creationId xmlns:a16="http://schemas.microsoft.com/office/drawing/2014/main" id="{35DB04CB-A210-EE42-2EDB-0410D1CBB28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41977851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440435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Grid Four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6844893"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6844891"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19200"/>
            <a:ext cx="10970247" cy="4648200"/>
            <a:chOff x="609600" y="1219200"/>
            <a:chExt cx="10970247" cy="464820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609600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6418822"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4"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6844891"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6844889"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6418820"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2"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9087013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Visual &amp; Tex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C9A9C-1F1D-7B13-A172-E1E3D876715A}"/>
              </a:ext>
            </a:extLst>
          </p:cNvPr>
          <p:cNvSpPr>
            <a:spLocks noGrp="1"/>
          </p:cNvSpPr>
          <p:nvPr>
            <p:ph type="title" hasCustomPrompt="1"/>
          </p:nvPr>
        </p:nvSpPr>
        <p:spPr/>
        <p:txBody>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10" name="Content Placeholder 2">
            <a:extLst>
              <a:ext uri="{FF2B5EF4-FFF2-40B4-BE49-F238E27FC236}">
                <a16:creationId xmlns:a16="http://schemas.microsoft.com/office/drawing/2014/main" id="{B91E5054-03B7-DBB6-FD72-2384015A20EA}"/>
              </a:ext>
            </a:extLst>
          </p:cNvPr>
          <p:cNvSpPr>
            <a:spLocks noGrp="1"/>
          </p:cNvSpPr>
          <p:nvPr>
            <p:ph idx="20" hasCustomPrompt="1"/>
          </p:nvPr>
        </p:nvSpPr>
        <p:spPr>
          <a:xfrm>
            <a:off x="8375904" y="1447800"/>
            <a:ext cx="3203944"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4850ED68-9AA5-EB85-CFAB-831B927DF76E}"/>
              </a:ext>
            </a:extLst>
          </p:cNvPr>
          <p:cNvSpPr>
            <a:spLocks noGrp="1"/>
          </p:cNvSpPr>
          <p:nvPr>
            <p:ph idx="21" hasCustomPrompt="1"/>
          </p:nvPr>
        </p:nvSpPr>
        <p:spPr>
          <a:xfrm>
            <a:off x="381000" y="1447800"/>
            <a:ext cx="7772399"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127484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Visual &amp; Text 2">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59D609AE-CE09-C774-5AAA-5F44219B7E72}"/>
              </a:ext>
            </a:extLst>
          </p:cNvPr>
          <p:cNvSpPr>
            <a:spLocks noGrp="1"/>
          </p:cNvSpPr>
          <p:nvPr>
            <p:ph idx="20" hasCustomPrompt="1"/>
          </p:nvPr>
        </p:nvSpPr>
        <p:spPr>
          <a:xfrm>
            <a:off x="8724900" y="2143759"/>
            <a:ext cx="3108960" cy="36576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C562A788-3FBD-AC78-96BF-9CC5E02EA62C}"/>
              </a:ext>
            </a:extLst>
          </p:cNvPr>
          <p:cNvSpPr>
            <a:spLocks noGrp="1"/>
          </p:cNvSpPr>
          <p:nvPr>
            <p:ph type="body" sz="quarter" idx="21" hasCustomPrompt="1"/>
          </p:nvPr>
        </p:nvSpPr>
        <p:spPr>
          <a:xfrm>
            <a:off x="8724900" y="1242800"/>
            <a:ext cx="3108960" cy="8229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marL="0" marR="0" lvl="0" indent="0" algn="l" defTabSz="121917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a:pPr>
            <a:r>
              <a:rPr lang="en-US"/>
              <a:t>Click to edit title</a:t>
            </a:r>
          </a:p>
        </p:txBody>
      </p:sp>
      <p:sp>
        <p:nvSpPr>
          <p:cNvPr id="2" name="Content Placeholder 2">
            <a:extLst>
              <a:ext uri="{FF2B5EF4-FFF2-40B4-BE49-F238E27FC236}">
                <a16:creationId xmlns:a16="http://schemas.microsoft.com/office/drawing/2014/main" id="{EE855AA4-22AC-B470-96BD-5604052CD9BD}"/>
              </a:ext>
            </a:extLst>
          </p:cNvPr>
          <p:cNvSpPr>
            <a:spLocks noGrp="1"/>
          </p:cNvSpPr>
          <p:nvPr>
            <p:ph idx="22" hasCustomPrompt="1"/>
          </p:nvPr>
        </p:nvSpPr>
        <p:spPr>
          <a:xfrm>
            <a:off x="381000" y="1242800"/>
            <a:ext cx="8127999" cy="45720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882573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Section 1">
    <p:bg>
      <p:bgPr>
        <a:solidFill>
          <a:srgbClr val="00003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F946ACA-A5AA-EED2-C848-6ED9133153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Box 1">
            <a:extLst>
              <a:ext uri="{FF2B5EF4-FFF2-40B4-BE49-F238E27FC236}">
                <a16:creationId xmlns:a16="http://schemas.microsoft.com/office/drawing/2014/main" id="{09465EFD-2BDD-1D40-975C-9BB4BDE2AE8E}"/>
              </a:ext>
            </a:extLst>
          </p:cNvPr>
          <p:cNvSpPr txBox="1"/>
          <p:nvPr userDrawn="1"/>
        </p:nvSpPr>
        <p:spPr>
          <a:xfrm>
            <a:off x="-357447" y="3690851"/>
            <a:ext cx="0" cy="0"/>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ctr">
            <a:normAutofit fontScale="25000" lnSpcReduction="20000"/>
          </a:bodyPr>
          <a:lstStyle/>
          <a:p>
            <a:pPr algn="l"/>
            <a:endParaRPr lang="en-US" sz="4400" b="0" i="0" kern="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Footer Placeholder 4">
            <a:extLst>
              <a:ext uri="{FF2B5EF4-FFF2-40B4-BE49-F238E27FC236}">
                <a16:creationId xmlns:a16="http://schemas.microsoft.com/office/drawing/2014/main" id="{45E1E5AA-4AE0-A751-5E7E-4A46F9283F00}"/>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6" name="Graphic 5">
            <a:extLst>
              <a:ext uri="{FF2B5EF4-FFF2-40B4-BE49-F238E27FC236}">
                <a16:creationId xmlns:a16="http://schemas.microsoft.com/office/drawing/2014/main" id="{ACF16567-3476-234C-F230-34791BA12D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8" name="Text Box 92">
            <a:extLst>
              <a:ext uri="{FF2B5EF4-FFF2-40B4-BE49-F238E27FC236}">
                <a16:creationId xmlns:a16="http://schemas.microsoft.com/office/drawing/2014/main" id="{C30F8BBC-3861-688C-7ECC-25674554608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12042B61-7F7F-EB1D-31A7-31178B719617}"/>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983650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Section 2">
    <p:bg>
      <p:bgPr>
        <a:solidFill>
          <a:srgbClr val="F5F8FD"/>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1827E4B-E306-81BA-D9E8-0ECE54D931F8}"/>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Footer Placeholder 4">
            <a:extLst>
              <a:ext uri="{FF2B5EF4-FFF2-40B4-BE49-F238E27FC236}">
                <a16:creationId xmlns:a16="http://schemas.microsoft.com/office/drawing/2014/main" id="{2B0907F5-52ED-9C0D-B057-E38D08DA6B02}"/>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4" name="Graphic 3">
            <a:extLst>
              <a:ext uri="{FF2B5EF4-FFF2-40B4-BE49-F238E27FC236}">
                <a16:creationId xmlns:a16="http://schemas.microsoft.com/office/drawing/2014/main" id="{440F785A-3107-6D3E-C9E6-B2AA5C58504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2719AF64-4315-1813-2084-A6D0BE13CBE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D4B5ACA5-87F8-8BC7-261E-60FF8E58F533}"/>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043019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Section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9BCF50-C4CD-C162-E06D-4CBD5C2DD811}"/>
              </a:ext>
            </a:extLst>
          </p:cNvPr>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36C061D7-9E76-8737-471B-3FDFB6F8E57E}"/>
              </a:ext>
            </a:extLst>
          </p:cNvPr>
          <p:cNvSpPr/>
          <p:nvPr userDrawn="1"/>
        </p:nvSpPr>
        <p:spPr>
          <a:xfrm>
            <a:off x="0" y="0"/>
            <a:ext cx="12192000" cy="6858000"/>
          </a:xfrm>
          <a:prstGeom prst="rect">
            <a:avLst/>
          </a:prstGeom>
          <a:gradFill flip="none" rotWithShape="1">
            <a:gsLst>
              <a:gs pos="0">
                <a:schemeClr val="accent2">
                  <a:lumMod val="75000"/>
                </a:schemeClr>
              </a:gs>
              <a:gs pos="100000">
                <a:schemeClr val="accent3">
                  <a:lumMod val="75000"/>
                  <a:alpha val="79903"/>
                </a:schemeClr>
              </a:gs>
            </a:gsLst>
            <a:lin ang="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0B7E309B-9BFF-D88D-FF7C-E65F09F6E2D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4" name="Title 1">
            <a:extLst>
              <a:ext uri="{FF2B5EF4-FFF2-40B4-BE49-F238E27FC236}">
                <a16:creationId xmlns:a16="http://schemas.microsoft.com/office/drawing/2014/main" id="{F5662734-77ED-EF2A-B73D-353976AD01F4}"/>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B9DEB9FE-E9AB-5F44-C73D-D7DD69A9934B}"/>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6" name="Footer Placeholder 4">
            <a:extLst>
              <a:ext uri="{FF2B5EF4-FFF2-40B4-BE49-F238E27FC236}">
                <a16:creationId xmlns:a16="http://schemas.microsoft.com/office/drawing/2014/main" id="{6D790AFE-B243-3E1A-D68D-C7D6ADFB60B8}"/>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sp>
        <p:nvSpPr>
          <p:cNvPr id="7" name="Text Box 92">
            <a:extLst>
              <a:ext uri="{FF2B5EF4-FFF2-40B4-BE49-F238E27FC236}">
                <a16:creationId xmlns:a16="http://schemas.microsoft.com/office/drawing/2014/main" id="{6DBABA46-43E0-5208-A011-26D401F9E70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10" name="Slide Number Placeholder 5">
            <a:extLst>
              <a:ext uri="{FF2B5EF4-FFF2-40B4-BE49-F238E27FC236}">
                <a16:creationId xmlns:a16="http://schemas.microsoft.com/office/drawing/2014/main" id="{280BCE49-B135-816A-9434-9B6A1DFED8D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76240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Branded">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57F405F9-D6B0-E463-4908-CA589AF18D10}"/>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9589434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Totally Blank">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24989226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D36F64-BEDC-DE00-3D63-8D02C212CC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981198" y="4705464"/>
            <a:ext cx="8229600" cy="457200"/>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Jane Doe | CEO, Company</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5357397" y="135856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5400" b="0" i="0">
                <a:solidFill>
                  <a:schemeClr val="tx2"/>
                </a:solidFill>
                <a:latin typeface="Open Sans" panose="020B0606030504020204" pitchFamily="34" charset="0"/>
                <a:ea typeface="Open Sans" panose="020B0606030504020204" pitchFamily="34" charset="0"/>
                <a:cs typeface="Open Sans" panose="020B0606030504020204" pitchFamily="34" charset="0"/>
              </a:rPr>
              <a:t>“ ” </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1981198" y="2101736"/>
            <a:ext cx="8229600" cy="2286000"/>
          </a:xfrm>
        </p:spPr>
        <p:txBody>
          <a:bodyPr/>
          <a:lstStyle>
            <a:lvl1pPr marL="0" indent="0" algn="ctr">
              <a:lnSpc>
                <a:spcPct val="120000"/>
              </a:lnSpc>
              <a:spcBef>
                <a:spcPts val="600"/>
              </a:spcBef>
              <a:buNone/>
              <a:defRPr b="0" i="0">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2" name="Footer Placeholder 4">
            <a:extLst>
              <a:ext uri="{FF2B5EF4-FFF2-40B4-BE49-F238E27FC236}">
                <a16:creationId xmlns:a16="http://schemas.microsoft.com/office/drawing/2014/main" id="{0CA5C54C-5BEF-8BD2-417E-0F91888C65DD}"/>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5" name="Graphic 4">
            <a:extLst>
              <a:ext uri="{FF2B5EF4-FFF2-40B4-BE49-F238E27FC236}">
                <a16:creationId xmlns:a16="http://schemas.microsoft.com/office/drawing/2014/main" id="{253EEEED-11B5-D1FD-B00A-8F102F25489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9" name="Text Box 92">
            <a:extLst>
              <a:ext uri="{FF2B5EF4-FFF2-40B4-BE49-F238E27FC236}">
                <a16:creationId xmlns:a16="http://schemas.microsoft.com/office/drawing/2014/main" id="{66C4394F-1EBA-BB96-1E44-0793D8C7B86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7F779458-B9EA-CDC4-F33A-E90B326C9D02}"/>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867929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4" name="Speech Bubble: Rectangle with Corners Rounded 3">
            <a:extLst>
              <a:ext uri="{FF2B5EF4-FFF2-40B4-BE49-F238E27FC236}">
                <a16:creationId xmlns:a16="http://schemas.microsoft.com/office/drawing/2014/main" id="{53C3751A-635A-CF50-DDB9-0318FD9CB5FD}"/>
              </a:ext>
            </a:extLst>
          </p:cNvPr>
          <p:cNvSpPr/>
          <p:nvPr userDrawn="1"/>
        </p:nvSpPr>
        <p:spPr>
          <a:xfrm>
            <a:off x="4021240" y="1283100"/>
            <a:ext cx="7132320" cy="3474720"/>
          </a:xfrm>
          <a:prstGeom prst="wedgeRoundRectCallout">
            <a:avLst>
              <a:gd name="adj1" fmla="val -59634"/>
              <a:gd name="adj2" fmla="val -8252"/>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005194" y="4052999"/>
            <a:ext cx="2128837" cy="353470"/>
          </a:xfrm>
        </p:spPr>
        <p:txBody>
          <a:bodyPr>
            <a:noAutofit/>
          </a:bodyPr>
          <a:lstStyle>
            <a:lvl1pPr marL="0" indent="0" algn="ctr">
              <a:buNone/>
              <a:defRPr lang="en-US" sz="1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name</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3882507" y="145935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7200" b="0" i="0">
                <a:solidFill>
                  <a:schemeClr val="accent2">
                    <a:lumMod val="75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4854780" y="1832997"/>
            <a:ext cx="5943600" cy="2286000"/>
          </a:xfrm>
        </p:spPr>
        <p:txBody>
          <a:bodyPr/>
          <a:lstStyle>
            <a:lvl1pPr marL="0" indent="0" algn="l">
              <a:lnSpc>
                <a:spcPct val="120000"/>
              </a:lnSpc>
              <a:spcBef>
                <a:spcPts val="600"/>
              </a:spcBef>
              <a:buNone/>
              <a:defRPr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6" name="Picture Placeholder 5">
            <a:extLst>
              <a:ext uri="{FF2B5EF4-FFF2-40B4-BE49-F238E27FC236}">
                <a16:creationId xmlns:a16="http://schemas.microsoft.com/office/drawing/2014/main" id="{55647432-2A62-2A47-F81C-A724F979227C}"/>
              </a:ext>
            </a:extLst>
          </p:cNvPr>
          <p:cNvSpPr>
            <a:spLocks noGrp="1"/>
          </p:cNvSpPr>
          <p:nvPr>
            <p:ph type="pic" sz="quarter" idx="18"/>
          </p:nvPr>
        </p:nvSpPr>
        <p:spPr>
          <a:xfrm>
            <a:off x="1005193" y="1821067"/>
            <a:ext cx="2128838" cy="2127250"/>
          </a:xfrm>
        </p:spPr>
        <p:txBody>
          <a:bodyPr/>
          <a:lstStyle>
            <a:lvl1pPr>
              <a:defRPr b="0" i="0">
                <a:latin typeface="Open Sans" panose="020B0606030504020204" pitchFamily="34" charset="0"/>
                <a:ea typeface="Open Sans" panose="020B0606030504020204" pitchFamily="34" charset="0"/>
                <a:cs typeface="Open Sans" panose="020B0606030504020204" pitchFamily="34" charset="0"/>
              </a:defRPr>
            </a:lvl1pPr>
          </a:lstStyle>
          <a:p>
            <a:r>
              <a:rPr lang="en-US"/>
              <a:t>Click icon to add picture</a:t>
            </a:r>
          </a:p>
        </p:txBody>
      </p:sp>
      <p:sp>
        <p:nvSpPr>
          <p:cNvPr id="9" name="Text Placeholder 9">
            <a:extLst>
              <a:ext uri="{FF2B5EF4-FFF2-40B4-BE49-F238E27FC236}">
                <a16:creationId xmlns:a16="http://schemas.microsoft.com/office/drawing/2014/main" id="{6276E121-90C4-1E7B-4D2F-23C799CA9853}"/>
              </a:ext>
            </a:extLst>
          </p:cNvPr>
          <p:cNvSpPr>
            <a:spLocks noGrp="1"/>
          </p:cNvSpPr>
          <p:nvPr>
            <p:ph type="body" sz="quarter" idx="19" hasCustomPrompt="1"/>
          </p:nvPr>
        </p:nvSpPr>
        <p:spPr>
          <a:xfrm>
            <a:off x="1005193" y="4502389"/>
            <a:ext cx="2128836" cy="813616"/>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title and company</a:t>
            </a:r>
          </a:p>
        </p:txBody>
      </p:sp>
    </p:spTree>
    <p:extLst>
      <p:ext uri="{BB962C8B-B14F-4D97-AF65-F5344CB8AC3E}">
        <p14:creationId xmlns:p14="http://schemas.microsoft.com/office/powerpoint/2010/main" val="8067690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3" name="Text Placeholder 9">
            <a:extLst>
              <a:ext uri="{FF2B5EF4-FFF2-40B4-BE49-F238E27FC236}">
                <a16:creationId xmlns:a16="http://schemas.microsoft.com/office/drawing/2014/main" id="{F5561ADC-51AB-973D-7B23-B08AA34F11B2}"/>
              </a:ext>
            </a:extLst>
          </p:cNvPr>
          <p:cNvSpPr>
            <a:spLocks noGrp="1"/>
          </p:cNvSpPr>
          <p:nvPr>
            <p:ph type="body" sz="quarter" idx="17" hasCustomPrompt="1"/>
          </p:nvPr>
        </p:nvSpPr>
        <p:spPr>
          <a:xfrm>
            <a:off x="609600"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382777"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9">
            <a:extLst>
              <a:ext uri="{FF2B5EF4-FFF2-40B4-BE49-F238E27FC236}">
                <a16:creationId xmlns:a16="http://schemas.microsoft.com/office/drawing/2014/main" id="{986B4E32-8D99-9493-A159-B21154F0A63E}"/>
              </a:ext>
            </a:extLst>
          </p:cNvPr>
          <p:cNvSpPr>
            <a:spLocks noGrp="1"/>
          </p:cNvSpPr>
          <p:nvPr>
            <p:ph type="body" sz="quarter" idx="21" hasCustomPrompt="1"/>
          </p:nvPr>
        </p:nvSpPr>
        <p:spPr>
          <a:xfrm>
            <a:off x="8153401"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230166180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Logo Only">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pic>
        <p:nvPicPr>
          <p:cNvPr id="2" name="Graphic 1">
            <a:extLst>
              <a:ext uri="{FF2B5EF4-FFF2-40B4-BE49-F238E27FC236}">
                <a16:creationId xmlns:a16="http://schemas.microsoft.com/office/drawing/2014/main" id="{5F5FD03C-2AA3-4ADE-188F-80933E1A45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52800" y="2369005"/>
            <a:ext cx="5486400" cy="2119989"/>
          </a:xfrm>
          <a:prstGeom prst="rect">
            <a:avLst/>
          </a:prstGeom>
        </p:spPr>
      </p:pic>
    </p:spTree>
    <p:extLst>
      <p:ext uri="{BB962C8B-B14F-4D97-AF65-F5344CB8AC3E}">
        <p14:creationId xmlns:p14="http://schemas.microsoft.com/office/powerpoint/2010/main" val="41845881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L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720B5-B745-42C3-9BE3-1DEFB1BB2964}"/>
              </a:ext>
            </a:extLst>
          </p:cNvPr>
          <p:cNvSpPr>
            <a:spLocks noGrp="1"/>
          </p:cNvSpPr>
          <p:nvPr>
            <p:ph type="title"/>
          </p:nvPr>
        </p:nvSpPr>
        <p:spPr>
          <a:xfrm>
            <a:off x="101600" y="98067"/>
            <a:ext cx="10474385" cy="576261"/>
          </a:xfrm>
        </p:spPr>
        <p:txBody>
          <a:bodyPr/>
          <a:lstStyle>
            <a:lvl1pPr>
              <a:defRPr sz="2400">
                <a:latin typeface="Arial" panose="020B0604020202020204" pitchFamily="34" charset="0"/>
                <a:cs typeface="Arial" panose="020B0604020202020204" pitchFamily="34" charset="0"/>
              </a:defRPr>
            </a:lvl1pPr>
          </a:lstStyle>
          <a:p>
            <a:r>
              <a:rPr lang="en-US"/>
              <a:t>Click to edit Master title style</a:t>
            </a:r>
          </a:p>
        </p:txBody>
      </p:sp>
      <p:sp>
        <p:nvSpPr>
          <p:cNvPr id="6" name="Slide Number Placeholder 5">
            <a:extLst>
              <a:ext uri="{FF2B5EF4-FFF2-40B4-BE49-F238E27FC236}">
                <a16:creationId xmlns:a16="http://schemas.microsoft.com/office/drawing/2014/main" id="{432E2D26-2D6F-4271-9B5F-092742AAFFA8}"/>
              </a:ext>
            </a:extLst>
          </p:cNvPr>
          <p:cNvSpPr txBox="1">
            <a:spLocks/>
          </p:cNvSpPr>
          <p:nvPr userDrawn="1"/>
        </p:nvSpPr>
        <p:spPr>
          <a:xfrm>
            <a:off x="11226800" y="6370638"/>
            <a:ext cx="609600" cy="365125"/>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08DF3C8-31D9-423A-B2D7-DD2A85E509D6}" type="slidenum">
              <a:rPr lang="en-US" sz="1333" smtClean="0"/>
              <a:pPr/>
              <a:t>‹#›</a:t>
            </a:fld>
            <a:endParaRPr lang="en-US" sz="1333"/>
          </a:p>
        </p:txBody>
      </p:sp>
    </p:spTree>
    <p:extLst>
      <p:ext uri="{BB962C8B-B14F-4D97-AF65-F5344CB8AC3E}">
        <p14:creationId xmlns:p14="http://schemas.microsoft.com/office/powerpoint/2010/main" val="102787105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Only">
  <p:cSld name="Top Title - Simp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76200"/>
            <a:ext cx="11430000" cy="762000"/>
          </a:xfrm>
        </p:spPr>
        <p:txBody>
          <a:bodyPr>
            <a:normAutofit/>
          </a:bodyPr>
          <a:lstStyle>
            <a:lvl1pPr>
              <a:defRPr sz="3200" spc="-15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7" name="Slide Number Placeholder 5"/>
          <p:cNvSpPr txBox="1">
            <a:spLocks/>
          </p:cNvSpPr>
          <p:nvPr userDrawn="1"/>
        </p:nvSpPr>
        <p:spPr>
          <a:xfrm>
            <a:off x="10668000" y="6416675"/>
            <a:ext cx="609600" cy="365125"/>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08DF3C8-31D9-423A-B2D7-DD2A85E509D6}" type="slidenum">
              <a:rPr lang="en-US" sz="1333" smtClean="0"/>
              <a:pPr/>
              <a:t>‹#›</a:t>
            </a:fld>
            <a:endParaRPr lang="en-US" sz="1333"/>
          </a:p>
        </p:txBody>
      </p:sp>
    </p:spTree>
    <p:extLst>
      <p:ext uri="{BB962C8B-B14F-4D97-AF65-F5344CB8AC3E}">
        <p14:creationId xmlns:p14="http://schemas.microsoft.com/office/powerpoint/2010/main" val="90025585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Top Title &amp; Content">
    <p:bg>
      <p:bgPr>
        <a:solidFill>
          <a:schemeClr val="bg1"/>
        </a:solidFill>
        <a:effectLst/>
      </p:bgPr>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640648D8-01C8-4406-95EB-8442CBC0EFD0}"/>
              </a:ext>
            </a:extLst>
          </p:cNvPr>
          <p:cNvSpPr>
            <a:spLocks noGrp="1"/>
          </p:cNvSpPr>
          <p:nvPr>
            <p:ph sz="half" idx="1" hasCustomPrompt="1"/>
          </p:nvPr>
        </p:nvSpPr>
        <p:spPr>
          <a:xfrm>
            <a:off x="381002" y="990600"/>
            <a:ext cx="11429999" cy="5105400"/>
          </a:xfrm>
        </p:spPr>
        <p:txBody>
          <a:bodyPr>
            <a:normAutofit/>
          </a:bodyPr>
          <a:lstStyle>
            <a:lvl1pPr marL="0" marR="0" indent="0" algn="l" defTabSz="121914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sz="3200">
                <a:latin typeface="+mj-lt"/>
              </a:defRPr>
            </a:lvl1pPr>
            <a:lvl2pPr marL="609569" indent="0">
              <a:buNone/>
              <a:defRPr sz="2000"/>
            </a:lvl2pPr>
            <a:lvl3pPr marL="1219140" indent="0">
              <a:buNone/>
              <a:defRPr sz="2000"/>
            </a:lvl3pPr>
            <a:lvl4pPr marL="1828709" indent="0">
              <a:buNone/>
              <a:defRPr sz="2000"/>
            </a:lvl4pPr>
            <a:lvl5pPr marL="2438278" indent="0">
              <a:buNone/>
              <a:defRPr sz="2000"/>
            </a:lvl5pPr>
            <a:lvl6pPr>
              <a:defRPr sz="2400"/>
            </a:lvl6pPr>
            <a:lvl7pPr>
              <a:defRPr sz="2400"/>
            </a:lvl7pPr>
            <a:lvl8pPr>
              <a:defRPr sz="2400"/>
            </a:lvl8pPr>
            <a:lvl9pPr>
              <a:defRPr sz="2400"/>
            </a:lvl9pPr>
          </a:lstStyle>
          <a:p>
            <a:r>
              <a:rPr lang="en-US"/>
              <a:t>Click to add subtitle</a:t>
            </a:r>
          </a:p>
        </p:txBody>
      </p:sp>
      <p:sp>
        <p:nvSpPr>
          <p:cNvPr id="4" name="Title Placeholder 1">
            <a:extLst>
              <a:ext uri="{FF2B5EF4-FFF2-40B4-BE49-F238E27FC236}">
                <a16:creationId xmlns:a16="http://schemas.microsoft.com/office/drawing/2014/main" id="{A20942E4-24CC-484A-9845-8D2666BDC9D6}"/>
              </a:ext>
            </a:extLst>
          </p:cNvPr>
          <p:cNvSpPr>
            <a:spLocks noGrp="1"/>
          </p:cNvSpPr>
          <p:nvPr>
            <p:ph type="title"/>
          </p:nvPr>
        </p:nvSpPr>
        <p:spPr>
          <a:xfrm>
            <a:off x="381000" y="76202"/>
            <a:ext cx="9372600" cy="732607"/>
          </a:xfrm>
          <a:prstGeom prst="rect">
            <a:avLst/>
          </a:prstGeom>
          <a:effectLst/>
        </p:spPr>
        <p:txBody>
          <a:bodyPr vert="horz" lIns="91440" tIns="45720" rIns="91440" bIns="45720" rtlCol="0" anchor="ctr">
            <a:normAutofit/>
          </a:bodyPr>
          <a:lstStyle/>
          <a:p>
            <a:r>
              <a:rPr lang="en-GB"/>
              <a:t>Click to edit Master title style</a:t>
            </a:r>
            <a:endParaRPr lang="en-US"/>
          </a:p>
        </p:txBody>
      </p:sp>
    </p:spTree>
    <p:extLst>
      <p:ext uri="{BB962C8B-B14F-4D97-AF65-F5344CB8AC3E}">
        <p14:creationId xmlns:p14="http://schemas.microsoft.com/office/powerpoint/2010/main" val="170316480"/>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x">
  <p:cSld name="1_Blank">
    <p:spTree>
      <p:nvGrpSpPr>
        <p:cNvPr id="1" name=""/>
        <p:cNvGrpSpPr/>
        <p:nvPr/>
      </p:nvGrpSpPr>
      <p:grpSpPr>
        <a:xfrm>
          <a:off x="0" y="0"/>
          <a:ext cx="0" cy="0"/>
          <a:chOff x="0" y="0"/>
          <a:chExt cx="0" cy="0"/>
        </a:xfrm>
      </p:grpSpPr>
      <p:sp>
        <p:nvSpPr>
          <p:cNvPr id="11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59471315"/>
      </p:ext>
    </p:extLst>
  </p:cSld>
  <p:clrMapOvr>
    <a:masterClrMapping/>
  </p:clrMapOvr>
  <p:transition spd="med"/>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1_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6210300" y="0"/>
            <a:ext cx="5981700" cy="6858000"/>
          </a:xfrm>
          <a:prstGeom prst="rect">
            <a:avLst/>
          </a:prstGeom>
          <a:solidFill>
            <a:srgbClr val="1D34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7124700" y="1423416"/>
            <a:ext cx="4141766" cy="4011168"/>
          </a:xfrm>
        </p:spPr>
        <p:txBody>
          <a:bodyPr anchor="ctr">
            <a:noAutofit/>
          </a:bodyPr>
          <a:lstStyle>
            <a:lvl1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1pPr>
            <a:lvl2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2pPr>
            <a:lvl3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3pPr>
            <a:lvl4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4pPr>
            <a:lvl5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FAA20DFE-70D2-CF4D-BCBB-4A953010B701}"/>
              </a:ext>
            </a:extLst>
          </p:cNvPr>
          <p:cNvSpPr>
            <a:spLocks noGrp="1"/>
          </p:cNvSpPr>
          <p:nvPr>
            <p:ph type="title"/>
          </p:nvPr>
        </p:nvSpPr>
        <p:spPr>
          <a:xfrm>
            <a:off x="887895" y="801624"/>
            <a:ext cx="4318089" cy="2356104"/>
          </a:xfrm>
        </p:spPr>
        <p:txBody>
          <a:bodyPr anchor="b"/>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6" name="Text Placeholder 9">
            <a:extLst>
              <a:ext uri="{FF2B5EF4-FFF2-40B4-BE49-F238E27FC236}">
                <a16:creationId xmlns:a16="http://schemas.microsoft.com/office/drawing/2014/main" id="{05D0DC0F-FDE9-1848-AD3E-95851A341261}"/>
              </a:ext>
            </a:extLst>
          </p:cNvPr>
          <p:cNvSpPr>
            <a:spLocks noGrp="1"/>
          </p:cNvSpPr>
          <p:nvPr>
            <p:ph type="body" sz="quarter" idx="17" hasCustomPrompt="1"/>
          </p:nvPr>
        </p:nvSpPr>
        <p:spPr>
          <a:xfrm>
            <a:off x="887413" y="3239390"/>
            <a:ext cx="4318000" cy="1008888"/>
          </a:xfrm>
        </p:spPr>
        <p:txBody>
          <a:bodyPr>
            <a:noAutofit/>
          </a:bodyPr>
          <a:lstStyle>
            <a:lvl1pPr marL="0" indent="0">
              <a:buNone/>
              <a:defRPr lang="en-US" b="0" i="0" smtClean="0">
                <a:effectLst/>
                <a:latin typeface="Arial" panose="020B0604020202020204" pitchFamily="34" charset="0"/>
                <a:ea typeface="Open Sans" panose="020B0606030504020204" pitchFamily="34" charset="0"/>
                <a:cs typeface="Arial" panose="020B0604020202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pic>
        <p:nvPicPr>
          <p:cNvPr id="7" name="Graphic 6">
            <a:extLst>
              <a:ext uri="{FF2B5EF4-FFF2-40B4-BE49-F238E27FC236}">
                <a16:creationId xmlns:a16="http://schemas.microsoft.com/office/drawing/2014/main" id="{B6ED1190-C68C-8B43-8044-8F294778753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781631" y="6179616"/>
            <a:ext cx="2198183" cy="492362"/>
          </a:xfrm>
          <a:prstGeom prst="rect">
            <a:avLst/>
          </a:prstGeom>
        </p:spPr>
      </p:pic>
    </p:spTree>
    <p:extLst>
      <p:ext uri="{BB962C8B-B14F-4D97-AF65-F5344CB8AC3E}">
        <p14:creationId xmlns:p14="http://schemas.microsoft.com/office/powerpoint/2010/main" val="36886314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rid Six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943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943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00150"/>
            <a:ext cx="10970247" cy="4667250"/>
            <a:chOff x="609600" y="1200150"/>
            <a:chExt cx="10970247" cy="466725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421005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0A57B38-92C2-7376-8D15-F988849DBCF7}"/>
                </a:ext>
              </a:extLst>
            </p:cNvPr>
            <p:cNvCxnSpPr>
              <a:cxnSpLocks/>
            </p:cNvCxnSpPr>
            <p:nvPr userDrawn="1"/>
          </p:nvCxnSpPr>
          <p:spPr>
            <a:xfrm flipV="1">
              <a:off x="7991475" y="120015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4517405"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0" name="Content Placeholder 2">
            <a:extLst>
              <a:ext uri="{FF2B5EF4-FFF2-40B4-BE49-F238E27FC236}">
                <a16:creationId xmlns:a16="http://schemas.microsoft.com/office/drawing/2014/main" id="{7DCC6415-F2FB-89EE-2944-F0BCCFC4BE62}"/>
              </a:ext>
            </a:extLst>
          </p:cNvPr>
          <p:cNvSpPr>
            <a:spLocks noGrp="1"/>
          </p:cNvSpPr>
          <p:nvPr>
            <p:ph idx="28" hasCustomPrompt="1"/>
          </p:nvPr>
        </p:nvSpPr>
        <p:spPr>
          <a:xfrm>
            <a:off x="8714098" y="1888561"/>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1" name="Text Placeholder 9">
            <a:extLst>
              <a:ext uri="{FF2B5EF4-FFF2-40B4-BE49-F238E27FC236}">
                <a16:creationId xmlns:a16="http://schemas.microsoft.com/office/drawing/2014/main" id="{D2519197-4EDB-7B44-D048-7FE409D25AFE}"/>
              </a:ext>
            </a:extLst>
          </p:cNvPr>
          <p:cNvSpPr>
            <a:spLocks noGrp="1"/>
          </p:cNvSpPr>
          <p:nvPr>
            <p:ph type="body" sz="quarter" idx="29" hasCustomPrompt="1"/>
          </p:nvPr>
        </p:nvSpPr>
        <p:spPr>
          <a:xfrm>
            <a:off x="8714097"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2" name="Group 41">
            <a:extLst>
              <a:ext uri="{FF2B5EF4-FFF2-40B4-BE49-F238E27FC236}">
                <a16:creationId xmlns:a16="http://schemas.microsoft.com/office/drawing/2014/main" id="{F547BF1F-2DD4-9D0C-8CEF-DCCF864E030F}"/>
              </a:ext>
            </a:extLst>
          </p:cNvPr>
          <p:cNvGrpSpPr>
            <a:grpSpLocks noChangeAspect="1"/>
          </p:cNvGrpSpPr>
          <p:nvPr userDrawn="1"/>
        </p:nvGrpSpPr>
        <p:grpSpPr>
          <a:xfrm>
            <a:off x="8288027" y="1337851"/>
            <a:ext cx="365760" cy="365760"/>
            <a:chOff x="1161489" y="1923489"/>
            <a:chExt cx="457200" cy="457200"/>
          </a:xfrm>
        </p:grpSpPr>
        <p:sp>
          <p:nvSpPr>
            <p:cNvPr id="43" name="Rounded Rectangle 30">
              <a:extLst>
                <a:ext uri="{FF2B5EF4-FFF2-40B4-BE49-F238E27FC236}">
                  <a16:creationId xmlns:a16="http://schemas.microsoft.com/office/drawing/2014/main" id="{418FCA71-3C5E-EDB0-2AB3-0D641C9B30EB}"/>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4" name="Graphic 43" descr="Checkmark with solid fill">
              <a:extLst>
                <a:ext uri="{FF2B5EF4-FFF2-40B4-BE49-F238E27FC236}">
                  <a16:creationId xmlns:a16="http://schemas.microsoft.com/office/drawing/2014/main" id="{6DFE2BE5-E9C5-0CC7-0B12-50B243FAFEC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4943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4943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4517403"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5" name="Content Placeholder 2">
            <a:extLst>
              <a:ext uri="{FF2B5EF4-FFF2-40B4-BE49-F238E27FC236}">
                <a16:creationId xmlns:a16="http://schemas.microsoft.com/office/drawing/2014/main" id="{C08056FB-BF77-D0E8-5B85-DE5AA20E0E7D}"/>
              </a:ext>
            </a:extLst>
          </p:cNvPr>
          <p:cNvSpPr>
            <a:spLocks noGrp="1"/>
          </p:cNvSpPr>
          <p:nvPr>
            <p:ph idx="34" hasCustomPrompt="1"/>
          </p:nvPr>
        </p:nvSpPr>
        <p:spPr>
          <a:xfrm>
            <a:off x="8714096" y="4352007"/>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6" name="Text Placeholder 9">
            <a:extLst>
              <a:ext uri="{FF2B5EF4-FFF2-40B4-BE49-F238E27FC236}">
                <a16:creationId xmlns:a16="http://schemas.microsoft.com/office/drawing/2014/main" id="{1441E5D8-B614-5958-97D8-4AAF59FC38F2}"/>
              </a:ext>
            </a:extLst>
          </p:cNvPr>
          <p:cNvSpPr>
            <a:spLocks noGrp="1"/>
          </p:cNvSpPr>
          <p:nvPr>
            <p:ph type="body" sz="quarter" idx="35" hasCustomPrompt="1"/>
          </p:nvPr>
        </p:nvSpPr>
        <p:spPr>
          <a:xfrm>
            <a:off x="8714095"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7" name="Group 56">
            <a:extLst>
              <a:ext uri="{FF2B5EF4-FFF2-40B4-BE49-F238E27FC236}">
                <a16:creationId xmlns:a16="http://schemas.microsoft.com/office/drawing/2014/main" id="{BEEFC022-A505-A170-665B-893FA044C1BB}"/>
              </a:ext>
            </a:extLst>
          </p:cNvPr>
          <p:cNvGrpSpPr>
            <a:grpSpLocks noChangeAspect="1"/>
          </p:cNvGrpSpPr>
          <p:nvPr userDrawn="1"/>
        </p:nvGrpSpPr>
        <p:grpSpPr>
          <a:xfrm>
            <a:off x="8288025" y="3801297"/>
            <a:ext cx="365760" cy="365760"/>
            <a:chOff x="1161489" y="1923489"/>
            <a:chExt cx="457200" cy="457200"/>
          </a:xfrm>
        </p:grpSpPr>
        <p:sp>
          <p:nvSpPr>
            <p:cNvPr id="58" name="Rounded Rectangle 30">
              <a:extLst>
                <a:ext uri="{FF2B5EF4-FFF2-40B4-BE49-F238E27FC236}">
                  <a16:creationId xmlns:a16="http://schemas.microsoft.com/office/drawing/2014/main" id="{6DC2B077-69BC-A87D-5818-2C1F18BD0E1A}"/>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9" name="Graphic 58" descr="Checkmark with solid fill">
              <a:extLst>
                <a:ext uri="{FF2B5EF4-FFF2-40B4-BE49-F238E27FC236}">
                  <a16:creationId xmlns:a16="http://schemas.microsoft.com/office/drawing/2014/main" id="{35DB04CB-A210-EE42-2EDB-0410D1CBB28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136163249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id Four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6844893"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6844891"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19200"/>
            <a:ext cx="10970247" cy="4648200"/>
            <a:chOff x="609600" y="1219200"/>
            <a:chExt cx="10970247" cy="464820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609600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6418822"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4"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6844891"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6844889"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6418820"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2"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130231481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isual &amp; Tex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C9A9C-1F1D-7B13-A172-E1E3D876715A}"/>
              </a:ext>
            </a:extLst>
          </p:cNvPr>
          <p:cNvSpPr>
            <a:spLocks noGrp="1"/>
          </p:cNvSpPr>
          <p:nvPr>
            <p:ph type="title" hasCustomPrompt="1"/>
          </p:nvPr>
        </p:nvSpPr>
        <p:spPr/>
        <p:txBody>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10" name="Content Placeholder 2">
            <a:extLst>
              <a:ext uri="{FF2B5EF4-FFF2-40B4-BE49-F238E27FC236}">
                <a16:creationId xmlns:a16="http://schemas.microsoft.com/office/drawing/2014/main" id="{B91E5054-03B7-DBB6-FD72-2384015A20EA}"/>
              </a:ext>
            </a:extLst>
          </p:cNvPr>
          <p:cNvSpPr>
            <a:spLocks noGrp="1"/>
          </p:cNvSpPr>
          <p:nvPr>
            <p:ph idx="20" hasCustomPrompt="1"/>
          </p:nvPr>
        </p:nvSpPr>
        <p:spPr>
          <a:xfrm>
            <a:off x="8375904" y="1447800"/>
            <a:ext cx="3203944"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4850ED68-9AA5-EB85-CFAB-831B927DF76E}"/>
              </a:ext>
            </a:extLst>
          </p:cNvPr>
          <p:cNvSpPr>
            <a:spLocks noGrp="1"/>
          </p:cNvSpPr>
          <p:nvPr>
            <p:ph idx="21" hasCustomPrompt="1"/>
          </p:nvPr>
        </p:nvSpPr>
        <p:spPr>
          <a:xfrm>
            <a:off x="381000" y="1447800"/>
            <a:ext cx="7772399"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195323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isual &amp; Text 2">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59D609AE-CE09-C774-5AAA-5F44219B7E72}"/>
              </a:ext>
            </a:extLst>
          </p:cNvPr>
          <p:cNvSpPr>
            <a:spLocks noGrp="1"/>
          </p:cNvSpPr>
          <p:nvPr>
            <p:ph idx="20" hasCustomPrompt="1"/>
          </p:nvPr>
        </p:nvSpPr>
        <p:spPr>
          <a:xfrm>
            <a:off x="8724900" y="2143759"/>
            <a:ext cx="3108960" cy="36576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C562A788-3FBD-AC78-96BF-9CC5E02EA62C}"/>
              </a:ext>
            </a:extLst>
          </p:cNvPr>
          <p:cNvSpPr>
            <a:spLocks noGrp="1"/>
          </p:cNvSpPr>
          <p:nvPr>
            <p:ph type="body" sz="quarter" idx="21" hasCustomPrompt="1"/>
          </p:nvPr>
        </p:nvSpPr>
        <p:spPr>
          <a:xfrm>
            <a:off x="8724900" y="1242800"/>
            <a:ext cx="3108960" cy="8229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marL="0" marR="0" lvl="0" indent="0" algn="l" defTabSz="121917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a:pPr>
            <a:r>
              <a:rPr lang="en-US"/>
              <a:t>Click to edit title</a:t>
            </a:r>
          </a:p>
        </p:txBody>
      </p:sp>
      <p:sp>
        <p:nvSpPr>
          <p:cNvPr id="2" name="Content Placeholder 2">
            <a:extLst>
              <a:ext uri="{FF2B5EF4-FFF2-40B4-BE49-F238E27FC236}">
                <a16:creationId xmlns:a16="http://schemas.microsoft.com/office/drawing/2014/main" id="{EE855AA4-22AC-B470-96BD-5604052CD9BD}"/>
              </a:ext>
            </a:extLst>
          </p:cNvPr>
          <p:cNvSpPr>
            <a:spLocks noGrp="1"/>
          </p:cNvSpPr>
          <p:nvPr>
            <p:ph idx="22" hasCustomPrompt="1"/>
          </p:nvPr>
        </p:nvSpPr>
        <p:spPr>
          <a:xfrm>
            <a:off x="381000" y="1242800"/>
            <a:ext cx="8127999" cy="45720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528156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Section 1">
    <p:bg>
      <p:bgPr>
        <a:solidFill>
          <a:srgbClr val="00003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F946ACA-A5AA-EED2-C848-6ED9133153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Box 1">
            <a:extLst>
              <a:ext uri="{FF2B5EF4-FFF2-40B4-BE49-F238E27FC236}">
                <a16:creationId xmlns:a16="http://schemas.microsoft.com/office/drawing/2014/main" id="{09465EFD-2BDD-1D40-975C-9BB4BDE2AE8E}"/>
              </a:ext>
            </a:extLst>
          </p:cNvPr>
          <p:cNvSpPr txBox="1"/>
          <p:nvPr userDrawn="1"/>
        </p:nvSpPr>
        <p:spPr>
          <a:xfrm>
            <a:off x="-357447" y="3690851"/>
            <a:ext cx="0" cy="0"/>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ctr">
            <a:normAutofit fontScale="25000" lnSpcReduction="20000"/>
          </a:bodyPr>
          <a:lstStyle/>
          <a:p>
            <a:pPr algn="l"/>
            <a:endParaRPr lang="en-US" sz="4400" b="0" i="0" kern="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Footer Placeholder 4">
            <a:extLst>
              <a:ext uri="{FF2B5EF4-FFF2-40B4-BE49-F238E27FC236}">
                <a16:creationId xmlns:a16="http://schemas.microsoft.com/office/drawing/2014/main" id="{45E1E5AA-4AE0-A751-5E7E-4A46F9283F00}"/>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6" name="Graphic 5">
            <a:extLst>
              <a:ext uri="{FF2B5EF4-FFF2-40B4-BE49-F238E27FC236}">
                <a16:creationId xmlns:a16="http://schemas.microsoft.com/office/drawing/2014/main" id="{ACF16567-3476-234C-F230-34791BA12D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8" name="Text Box 92">
            <a:extLst>
              <a:ext uri="{FF2B5EF4-FFF2-40B4-BE49-F238E27FC236}">
                <a16:creationId xmlns:a16="http://schemas.microsoft.com/office/drawing/2014/main" id="{C30F8BBC-3861-688C-7ECC-25674554608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12042B61-7F7F-EB1D-31A7-31178B719617}"/>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6266042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CE662D8-62C3-47F2-EDE3-9DB967B3CC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34025" y="1104900"/>
            <a:ext cx="6657975" cy="5753100"/>
          </a:xfrm>
          <a:prstGeom prst="rect">
            <a:avLst/>
          </a:prstGeom>
        </p:spPr>
      </p:pic>
      <p:pic>
        <p:nvPicPr>
          <p:cNvPr id="7" name="Graphic 6">
            <a:extLst>
              <a:ext uri="{FF2B5EF4-FFF2-40B4-BE49-F238E27FC236}">
                <a16:creationId xmlns:a16="http://schemas.microsoft.com/office/drawing/2014/main" id="{5DFEFA29-493C-1925-FDD7-818B07FD3F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2627850A-8FA8-CAAF-0158-84DBDE327DF9}"/>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8" name="Subtitle 2">
            <a:extLst>
              <a:ext uri="{FF2B5EF4-FFF2-40B4-BE49-F238E27FC236}">
                <a16:creationId xmlns:a16="http://schemas.microsoft.com/office/drawing/2014/main" id="{94BA46CF-A280-58D5-246B-2DF37611893F}"/>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12867A4-1FF1-9652-48AE-B5949D27B84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19240734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2">
    <p:bg>
      <p:bgPr>
        <a:solidFill>
          <a:srgbClr val="F5F8FD"/>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1827E4B-E306-81BA-D9E8-0ECE54D931F8}"/>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Footer Placeholder 4">
            <a:extLst>
              <a:ext uri="{FF2B5EF4-FFF2-40B4-BE49-F238E27FC236}">
                <a16:creationId xmlns:a16="http://schemas.microsoft.com/office/drawing/2014/main" id="{2B0907F5-52ED-9C0D-B057-E38D08DA6B02}"/>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4" name="Graphic 3">
            <a:extLst>
              <a:ext uri="{FF2B5EF4-FFF2-40B4-BE49-F238E27FC236}">
                <a16:creationId xmlns:a16="http://schemas.microsoft.com/office/drawing/2014/main" id="{440F785A-3107-6D3E-C9E6-B2AA5C58504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2719AF64-4315-1813-2084-A6D0BE13CBE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D4B5ACA5-87F8-8BC7-261E-60FF8E58F533}"/>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5557157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9BCF50-C4CD-C162-E06D-4CBD5C2DD811}"/>
              </a:ext>
            </a:extLst>
          </p:cNvPr>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36C061D7-9E76-8737-471B-3FDFB6F8E57E}"/>
              </a:ext>
            </a:extLst>
          </p:cNvPr>
          <p:cNvSpPr/>
          <p:nvPr userDrawn="1"/>
        </p:nvSpPr>
        <p:spPr>
          <a:xfrm>
            <a:off x="0" y="0"/>
            <a:ext cx="12192000" cy="6858000"/>
          </a:xfrm>
          <a:prstGeom prst="rect">
            <a:avLst/>
          </a:prstGeom>
          <a:gradFill flip="none" rotWithShape="1">
            <a:gsLst>
              <a:gs pos="0">
                <a:schemeClr val="accent2">
                  <a:lumMod val="75000"/>
                </a:schemeClr>
              </a:gs>
              <a:gs pos="100000">
                <a:schemeClr val="accent3">
                  <a:lumMod val="75000"/>
                  <a:alpha val="79903"/>
                </a:schemeClr>
              </a:gs>
            </a:gsLst>
            <a:lin ang="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0B7E309B-9BFF-D88D-FF7C-E65F09F6E2D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4" name="Title 1">
            <a:extLst>
              <a:ext uri="{FF2B5EF4-FFF2-40B4-BE49-F238E27FC236}">
                <a16:creationId xmlns:a16="http://schemas.microsoft.com/office/drawing/2014/main" id="{F5662734-77ED-EF2A-B73D-353976AD01F4}"/>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B9DEB9FE-E9AB-5F44-C73D-D7DD69A9934B}"/>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6" name="Footer Placeholder 4">
            <a:extLst>
              <a:ext uri="{FF2B5EF4-FFF2-40B4-BE49-F238E27FC236}">
                <a16:creationId xmlns:a16="http://schemas.microsoft.com/office/drawing/2014/main" id="{6D790AFE-B243-3E1A-D68D-C7D6ADFB60B8}"/>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sp>
        <p:nvSpPr>
          <p:cNvPr id="7" name="Text Box 92">
            <a:extLst>
              <a:ext uri="{FF2B5EF4-FFF2-40B4-BE49-F238E27FC236}">
                <a16:creationId xmlns:a16="http://schemas.microsoft.com/office/drawing/2014/main" id="{6DBABA46-43E0-5208-A011-26D401F9E70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10" name="Slide Number Placeholder 5">
            <a:extLst>
              <a:ext uri="{FF2B5EF4-FFF2-40B4-BE49-F238E27FC236}">
                <a16:creationId xmlns:a16="http://schemas.microsoft.com/office/drawing/2014/main" id="{280BCE49-B135-816A-9434-9B6A1DFED8D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9827612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1">
    <p:bg>
      <p:bgPr>
        <a:solidFill>
          <a:srgbClr val="00003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F946ACA-A5AA-EED2-C848-6ED9133153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Box 1">
            <a:extLst>
              <a:ext uri="{FF2B5EF4-FFF2-40B4-BE49-F238E27FC236}">
                <a16:creationId xmlns:a16="http://schemas.microsoft.com/office/drawing/2014/main" id="{09465EFD-2BDD-1D40-975C-9BB4BDE2AE8E}"/>
              </a:ext>
            </a:extLst>
          </p:cNvPr>
          <p:cNvSpPr txBox="1"/>
          <p:nvPr userDrawn="1"/>
        </p:nvSpPr>
        <p:spPr>
          <a:xfrm>
            <a:off x="-357447" y="3690851"/>
            <a:ext cx="0" cy="0"/>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ctr">
            <a:normAutofit fontScale="25000" lnSpcReduction="20000"/>
          </a:bodyPr>
          <a:lstStyle/>
          <a:p>
            <a:pPr algn="l"/>
            <a:endParaRPr lang="en-US" sz="4400" b="0" i="0" kern="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Footer Placeholder 4">
            <a:extLst>
              <a:ext uri="{FF2B5EF4-FFF2-40B4-BE49-F238E27FC236}">
                <a16:creationId xmlns:a16="http://schemas.microsoft.com/office/drawing/2014/main" id="{45E1E5AA-4AE0-A751-5E7E-4A46F9283F00}"/>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6" name="Graphic 5">
            <a:extLst>
              <a:ext uri="{FF2B5EF4-FFF2-40B4-BE49-F238E27FC236}">
                <a16:creationId xmlns:a16="http://schemas.microsoft.com/office/drawing/2014/main" id="{ACF16567-3476-234C-F230-34791BA12D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8" name="Text Box 92">
            <a:extLst>
              <a:ext uri="{FF2B5EF4-FFF2-40B4-BE49-F238E27FC236}">
                <a16:creationId xmlns:a16="http://schemas.microsoft.com/office/drawing/2014/main" id="{C30F8BBC-3861-688C-7ECC-25674554608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12042B61-7F7F-EB1D-31A7-31178B719617}"/>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6266042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Branded">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57F405F9-D6B0-E463-4908-CA589AF18D10}"/>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3939773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otally Blank">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88394356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D36F64-BEDC-DE00-3D63-8D02C212CC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981198" y="4705464"/>
            <a:ext cx="8229600" cy="457200"/>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Jane Doe | CEO, Company</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5357397" y="135856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5400" b="0" i="0">
                <a:solidFill>
                  <a:schemeClr val="tx2"/>
                </a:solidFill>
                <a:latin typeface="Open Sans" panose="020B0606030504020204" pitchFamily="34" charset="0"/>
                <a:ea typeface="Open Sans" panose="020B0606030504020204" pitchFamily="34" charset="0"/>
                <a:cs typeface="Open Sans" panose="020B0606030504020204" pitchFamily="34" charset="0"/>
              </a:rPr>
              <a:t>“ ” </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1981198" y="2101736"/>
            <a:ext cx="8229600" cy="2286000"/>
          </a:xfrm>
        </p:spPr>
        <p:txBody>
          <a:bodyPr/>
          <a:lstStyle>
            <a:lvl1pPr marL="0" indent="0" algn="ctr">
              <a:lnSpc>
                <a:spcPct val="120000"/>
              </a:lnSpc>
              <a:spcBef>
                <a:spcPts val="600"/>
              </a:spcBef>
              <a:buNone/>
              <a:defRPr b="0" i="0">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2" name="Footer Placeholder 4">
            <a:extLst>
              <a:ext uri="{FF2B5EF4-FFF2-40B4-BE49-F238E27FC236}">
                <a16:creationId xmlns:a16="http://schemas.microsoft.com/office/drawing/2014/main" id="{0CA5C54C-5BEF-8BD2-417E-0F91888C65DD}"/>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5" name="Graphic 4">
            <a:extLst>
              <a:ext uri="{FF2B5EF4-FFF2-40B4-BE49-F238E27FC236}">
                <a16:creationId xmlns:a16="http://schemas.microsoft.com/office/drawing/2014/main" id="{253EEEED-11B5-D1FD-B00A-8F102F25489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9" name="Text Box 92">
            <a:extLst>
              <a:ext uri="{FF2B5EF4-FFF2-40B4-BE49-F238E27FC236}">
                <a16:creationId xmlns:a16="http://schemas.microsoft.com/office/drawing/2014/main" id="{66C4394F-1EBA-BB96-1E44-0793D8C7B86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7F779458-B9EA-CDC4-F33A-E90B326C9D02}"/>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3537320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4" name="Speech Bubble: Rectangle with Corners Rounded 3">
            <a:extLst>
              <a:ext uri="{FF2B5EF4-FFF2-40B4-BE49-F238E27FC236}">
                <a16:creationId xmlns:a16="http://schemas.microsoft.com/office/drawing/2014/main" id="{53C3751A-635A-CF50-DDB9-0318FD9CB5FD}"/>
              </a:ext>
            </a:extLst>
          </p:cNvPr>
          <p:cNvSpPr/>
          <p:nvPr userDrawn="1"/>
        </p:nvSpPr>
        <p:spPr>
          <a:xfrm>
            <a:off x="4021240" y="1283100"/>
            <a:ext cx="7132320" cy="3474720"/>
          </a:xfrm>
          <a:prstGeom prst="wedgeRoundRectCallout">
            <a:avLst>
              <a:gd name="adj1" fmla="val -59634"/>
              <a:gd name="adj2" fmla="val -8252"/>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005194" y="4052999"/>
            <a:ext cx="2128837" cy="353470"/>
          </a:xfrm>
        </p:spPr>
        <p:txBody>
          <a:bodyPr>
            <a:noAutofit/>
          </a:bodyPr>
          <a:lstStyle>
            <a:lvl1pPr marL="0" indent="0" algn="ctr">
              <a:buNone/>
              <a:defRPr lang="en-US" sz="1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name</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3882507" y="145935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7200" b="0" i="0">
                <a:solidFill>
                  <a:schemeClr val="accent2">
                    <a:lumMod val="75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4854780" y="1832997"/>
            <a:ext cx="5943600" cy="2286000"/>
          </a:xfrm>
        </p:spPr>
        <p:txBody>
          <a:bodyPr/>
          <a:lstStyle>
            <a:lvl1pPr marL="0" indent="0" algn="l">
              <a:lnSpc>
                <a:spcPct val="120000"/>
              </a:lnSpc>
              <a:spcBef>
                <a:spcPts val="600"/>
              </a:spcBef>
              <a:buNone/>
              <a:defRPr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6" name="Picture Placeholder 5">
            <a:extLst>
              <a:ext uri="{FF2B5EF4-FFF2-40B4-BE49-F238E27FC236}">
                <a16:creationId xmlns:a16="http://schemas.microsoft.com/office/drawing/2014/main" id="{55647432-2A62-2A47-F81C-A724F979227C}"/>
              </a:ext>
            </a:extLst>
          </p:cNvPr>
          <p:cNvSpPr>
            <a:spLocks noGrp="1"/>
          </p:cNvSpPr>
          <p:nvPr>
            <p:ph type="pic" sz="quarter" idx="18"/>
          </p:nvPr>
        </p:nvSpPr>
        <p:spPr>
          <a:xfrm>
            <a:off x="1005193" y="1821067"/>
            <a:ext cx="2128838" cy="2127250"/>
          </a:xfrm>
        </p:spPr>
        <p:txBody>
          <a:bodyPr/>
          <a:lstStyle>
            <a:lvl1pPr>
              <a:defRPr b="0" i="0">
                <a:latin typeface="Open Sans" panose="020B0606030504020204" pitchFamily="34" charset="0"/>
                <a:ea typeface="Open Sans" panose="020B0606030504020204" pitchFamily="34" charset="0"/>
                <a:cs typeface="Open Sans" panose="020B0606030504020204" pitchFamily="34" charset="0"/>
              </a:defRPr>
            </a:lvl1pPr>
          </a:lstStyle>
          <a:p>
            <a:endParaRPr lang="en-US"/>
          </a:p>
        </p:txBody>
      </p:sp>
      <p:sp>
        <p:nvSpPr>
          <p:cNvPr id="9" name="Text Placeholder 9">
            <a:extLst>
              <a:ext uri="{FF2B5EF4-FFF2-40B4-BE49-F238E27FC236}">
                <a16:creationId xmlns:a16="http://schemas.microsoft.com/office/drawing/2014/main" id="{6276E121-90C4-1E7B-4D2F-23C799CA9853}"/>
              </a:ext>
            </a:extLst>
          </p:cNvPr>
          <p:cNvSpPr>
            <a:spLocks noGrp="1"/>
          </p:cNvSpPr>
          <p:nvPr>
            <p:ph type="body" sz="quarter" idx="19" hasCustomPrompt="1"/>
          </p:nvPr>
        </p:nvSpPr>
        <p:spPr>
          <a:xfrm>
            <a:off x="1005193" y="4502389"/>
            <a:ext cx="2128836" cy="813616"/>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title and company</a:t>
            </a:r>
          </a:p>
        </p:txBody>
      </p:sp>
    </p:spTree>
    <p:extLst>
      <p:ext uri="{BB962C8B-B14F-4D97-AF65-F5344CB8AC3E}">
        <p14:creationId xmlns:p14="http://schemas.microsoft.com/office/powerpoint/2010/main" val="101774010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Logo Only">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pic>
        <p:nvPicPr>
          <p:cNvPr id="2" name="Graphic 1">
            <a:extLst>
              <a:ext uri="{FF2B5EF4-FFF2-40B4-BE49-F238E27FC236}">
                <a16:creationId xmlns:a16="http://schemas.microsoft.com/office/drawing/2014/main" id="{5F5FD03C-2AA3-4ADE-188F-80933E1A45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52800" y="2369005"/>
            <a:ext cx="5486400" cy="2119989"/>
          </a:xfrm>
          <a:prstGeom prst="rect">
            <a:avLst/>
          </a:prstGeom>
        </p:spPr>
      </p:pic>
    </p:spTree>
    <p:extLst>
      <p:ext uri="{BB962C8B-B14F-4D97-AF65-F5344CB8AC3E}">
        <p14:creationId xmlns:p14="http://schemas.microsoft.com/office/powerpoint/2010/main" val="244925038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45" b="1" i="0">
                <a:solidFill>
                  <a:srgbClr val="454547"/>
                </a:solidFill>
                <a:latin typeface="Playfair Display"/>
                <a:cs typeface="Playfair Display"/>
              </a:defRPr>
            </a:lvl1pPr>
          </a:lstStyle>
          <a:p>
            <a:endParaRPr/>
          </a:p>
        </p:txBody>
      </p:sp>
      <p:sp>
        <p:nvSpPr>
          <p:cNvPr id="3" name="Holder 3"/>
          <p:cNvSpPr>
            <a:spLocks noGrp="1"/>
          </p:cNvSpPr>
          <p:nvPr>
            <p:ph sz="half" idx="2"/>
          </p:nvPr>
        </p:nvSpPr>
        <p:spPr>
          <a:xfrm>
            <a:off x="609600" y="1577340"/>
            <a:ext cx="5303520" cy="387798"/>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387798"/>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3/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7930976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389696" y="387449"/>
            <a:ext cx="11421304" cy="427036"/>
          </a:xfrm>
        </p:spPr>
        <p:txBody>
          <a:bodyPr/>
          <a:lstStyle>
            <a:lvl1pPr>
              <a:defRPr sz="2800"/>
            </a:lvl1pPr>
          </a:lstStyle>
          <a:p>
            <a:r>
              <a:rPr lang="en-US"/>
              <a:t>Click to add one-line title</a:t>
            </a:r>
          </a:p>
        </p:txBody>
      </p:sp>
      <p:sp>
        <p:nvSpPr>
          <p:cNvPr id="17" name="Rectangle 16"/>
          <p:cNvSpPr/>
          <p:nvPr userDrawn="1"/>
        </p:nvSpPr>
        <p:spPr>
          <a:xfrm>
            <a:off x="385100" y="843885"/>
            <a:ext cx="685711" cy="54864"/>
          </a:xfrm>
          <a:prstGeom prst="rect">
            <a:avLst/>
          </a:prstGeom>
          <a:solidFill>
            <a:srgbClr val="01B0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Light" panose="020B0303030202060203" pitchFamily="34" charset="0"/>
            </a:endParaRPr>
          </a:p>
        </p:txBody>
      </p:sp>
      <p:sp>
        <p:nvSpPr>
          <p:cNvPr id="5" name="Text Placeholder 4"/>
          <p:cNvSpPr>
            <a:spLocks noGrp="1"/>
          </p:cNvSpPr>
          <p:nvPr>
            <p:ph type="body" sz="quarter" idx="17"/>
          </p:nvPr>
        </p:nvSpPr>
        <p:spPr>
          <a:xfrm>
            <a:off x="388938" y="1018211"/>
            <a:ext cx="11422062" cy="5077790"/>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a:extLst>
              <a:ext uri="{FF2B5EF4-FFF2-40B4-BE49-F238E27FC236}">
                <a16:creationId xmlns:a16="http://schemas.microsoft.com/office/drawing/2014/main" id="{C67016E6-EBA2-4C7E-867C-6988E52D035F}"/>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2"/>
              </a:buBlip>
              <a:defRPr sz="2000" kern="1200" cap="all" normalizeH="0" baseline="10000">
                <a:solidFill>
                  <a:schemeClr val="bg2"/>
                </a:solidFill>
                <a:latin typeface="+mn-lt"/>
              </a:defRPr>
            </a:lvl1pPr>
          </a:lstStyle>
          <a:p>
            <a:pPr defTabSz="1088421"/>
            <a:fld id="{104FC826-72BB-4AF1-BA01-A94F7396A7DC}" type="slidenum">
              <a:rPr lang="en-US" smtClean="0"/>
              <a:pPr defTabSz="1088421"/>
              <a:t>‹#›</a:t>
            </a:fld>
            <a:endParaRPr lang="en-US"/>
          </a:p>
        </p:txBody>
      </p:sp>
      <p:sp>
        <p:nvSpPr>
          <p:cNvPr id="9" name="Footer Placeholder">
            <a:extLst>
              <a:ext uri="{FF2B5EF4-FFF2-40B4-BE49-F238E27FC236}">
                <a16:creationId xmlns:a16="http://schemas.microsoft.com/office/drawing/2014/main" id="{495BF590-53C1-4460-B488-1DF09AD81891}"/>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all" baseline="0">
                <a:solidFill>
                  <a:schemeClr val="bg2"/>
                </a:solidFill>
                <a:latin typeface="+mn-lt"/>
              </a:defRPr>
            </a:lvl1pPr>
          </a:lstStyle>
          <a:p>
            <a:r>
              <a:rPr lang="en-US"/>
              <a:t>CONFIDENTIAL | AUTHORIZED HPE PARTNER USE ONLY</a:t>
            </a:r>
          </a:p>
        </p:txBody>
      </p:sp>
      <p:sp>
        <p:nvSpPr>
          <p:cNvPr id="10" name="Divider">
            <a:extLst>
              <a:ext uri="{FF2B5EF4-FFF2-40B4-BE49-F238E27FC236}">
                <a16:creationId xmlns:a16="http://schemas.microsoft.com/office/drawing/2014/main" id="{560E1D30-58C6-4E25-A834-81C35E963ED0}"/>
              </a:ext>
            </a:extLst>
          </p:cNvPr>
          <p:cNvSpPr/>
          <p:nvPr userDrawn="1"/>
        </p:nvSpPr>
        <p:spPr>
          <a:xfrm>
            <a:off x="1513059" y="6169691"/>
            <a:ext cx="4567" cy="373006"/>
          </a:xfrm>
          <a:prstGeom prst="rect">
            <a:avLst/>
          </a:prstGeom>
          <a:solidFill>
            <a:schemeClr val="tx1"/>
          </a:solidFill>
          <a:ln w="114300">
            <a:noFill/>
          </a:ln>
        </p:spPr>
        <p:style>
          <a:lnRef idx="2">
            <a:schemeClr val="accent1">
              <a:shade val="50000"/>
            </a:schemeClr>
          </a:lnRef>
          <a:fillRef idx="1">
            <a:schemeClr val="accent1"/>
          </a:fillRef>
          <a:effectRef idx="0">
            <a:schemeClr val="accent1"/>
          </a:effectRef>
          <a:fontRef idx="minor">
            <a:schemeClr val="lt1"/>
          </a:fontRef>
        </p:style>
        <p:txBody>
          <a:bodyPr lIns="274320" tIns="274320" rIns="274320" bIns="274320" rtlCol="0" anchor="ctr"/>
          <a:lstStyle/>
          <a:p>
            <a:pPr algn="ctr">
              <a:lnSpc>
                <a:spcPct val="90000"/>
              </a:lnSpc>
              <a:spcAft>
                <a:spcPts val="1600"/>
              </a:spcAft>
            </a:pPr>
            <a:endParaRPr lang="en-US" sz="3600">
              <a:solidFill>
                <a:schemeClr val="bg1"/>
              </a:solidFill>
            </a:endParaRPr>
          </a:p>
        </p:txBody>
      </p:sp>
      <p:grpSp>
        <p:nvGrpSpPr>
          <p:cNvPr id="11" name="Logo">
            <a:extLst>
              <a:ext uri="{FF2B5EF4-FFF2-40B4-BE49-F238E27FC236}">
                <a16:creationId xmlns:a16="http://schemas.microsoft.com/office/drawing/2014/main" id="{83911397-3F78-4ED7-B434-4484E0E55359}"/>
              </a:ext>
            </a:extLst>
          </p:cNvPr>
          <p:cNvGrpSpPr>
            <a:grpSpLocks noChangeAspect="1"/>
          </p:cNvGrpSpPr>
          <p:nvPr userDrawn="1"/>
        </p:nvGrpSpPr>
        <p:grpSpPr>
          <a:xfrm>
            <a:off x="382104" y="6186338"/>
            <a:ext cx="943200" cy="379942"/>
            <a:chOff x="393523" y="381956"/>
            <a:chExt cx="2218745" cy="893759"/>
          </a:xfrm>
        </p:grpSpPr>
        <p:sp>
          <p:nvSpPr>
            <p:cNvPr id="12" name="Element">
              <a:extLst>
                <a:ext uri="{FF2B5EF4-FFF2-40B4-BE49-F238E27FC236}">
                  <a16:creationId xmlns:a16="http://schemas.microsoft.com/office/drawing/2014/main" id="{FD4E6C1E-BB38-4321-A6A6-0EDADDF4EB47}"/>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sp>
          <p:nvSpPr>
            <p:cNvPr id="13" name="Wordmark">
              <a:extLst>
                <a:ext uri="{FF2B5EF4-FFF2-40B4-BE49-F238E27FC236}">
                  <a16:creationId xmlns:a16="http://schemas.microsoft.com/office/drawing/2014/main" id="{F94EB60D-0DCC-42F9-AC19-3322B61C9435}"/>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grpSp>
      <p:pic>
        <p:nvPicPr>
          <p:cNvPr id="14" name="Graphic 13">
            <a:extLst>
              <a:ext uri="{FF2B5EF4-FFF2-40B4-BE49-F238E27FC236}">
                <a16:creationId xmlns:a16="http://schemas.microsoft.com/office/drawing/2014/main" id="{F09F3D6D-2A6A-477F-A136-4C33692D0B7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705381" y="6215463"/>
            <a:ext cx="862056" cy="350817"/>
          </a:xfrm>
          <a:prstGeom prst="rect">
            <a:avLst/>
          </a:prstGeom>
        </p:spPr>
      </p:pic>
    </p:spTree>
    <p:extLst>
      <p:ext uri="{BB962C8B-B14F-4D97-AF65-F5344CB8AC3E}">
        <p14:creationId xmlns:p14="http://schemas.microsoft.com/office/powerpoint/2010/main" val="20906903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6096000" y="0"/>
            <a:ext cx="609043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6760299" y="1423416"/>
            <a:ext cx="4761835" cy="4011168"/>
          </a:xfrm>
        </p:spPr>
        <p:txBody>
          <a:bodyPr anchor="ctr">
            <a:noAutofit/>
          </a:bodyPr>
          <a:lstStyle>
            <a:lvl1pPr marL="228600" indent="-228600">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FAA20DFE-70D2-CF4D-BCBB-4A953010B701}"/>
              </a:ext>
            </a:extLst>
          </p:cNvPr>
          <p:cNvSpPr>
            <a:spLocks noGrp="1"/>
          </p:cNvSpPr>
          <p:nvPr>
            <p:ph type="title"/>
          </p:nvPr>
        </p:nvSpPr>
        <p:spPr>
          <a:xfrm>
            <a:off x="887895" y="801624"/>
            <a:ext cx="4318089" cy="2356104"/>
          </a:xfrm>
        </p:spPr>
        <p:txBody>
          <a:bodyPr anchor="b"/>
          <a:lstStyle>
            <a:lvl1pPr>
              <a:defRPr sz="4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a:t>
            </a:r>
          </a:p>
        </p:txBody>
      </p:sp>
      <p:sp>
        <p:nvSpPr>
          <p:cNvPr id="6" name="Text Placeholder 9">
            <a:extLst>
              <a:ext uri="{FF2B5EF4-FFF2-40B4-BE49-F238E27FC236}">
                <a16:creationId xmlns:a16="http://schemas.microsoft.com/office/drawing/2014/main" id="{05D0DC0F-FDE9-1848-AD3E-95851A341261}"/>
              </a:ext>
            </a:extLst>
          </p:cNvPr>
          <p:cNvSpPr>
            <a:spLocks noGrp="1"/>
          </p:cNvSpPr>
          <p:nvPr>
            <p:ph type="body" sz="quarter" idx="17" hasCustomPrompt="1"/>
          </p:nvPr>
        </p:nvSpPr>
        <p:spPr>
          <a:xfrm>
            <a:off x="887413" y="3239390"/>
            <a:ext cx="4318000" cy="1008888"/>
          </a:xfrm>
        </p:spPr>
        <p:txBody>
          <a:bodyPr>
            <a:noAutofit/>
          </a:bodyPr>
          <a:lstStyle>
            <a:lvl1pPr marL="0" indent="0">
              <a:buNone/>
              <a:defRPr lang="en-US" sz="2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r>
              <a:rPr lang="en-US"/>
              <a:t>Click to edit subtitle</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E40FFB5E-A62A-2D74-54FC-40E139B23BF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9303416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389696" y="387449"/>
            <a:ext cx="11421304" cy="427036"/>
          </a:xfrm>
        </p:spPr>
        <p:txBody>
          <a:bodyPr/>
          <a:lstStyle>
            <a:lvl1pPr>
              <a:defRPr sz="2800"/>
            </a:lvl1pPr>
          </a:lstStyle>
          <a:p>
            <a:r>
              <a:rPr lang="en-US"/>
              <a:t>Click to add one-line title</a:t>
            </a:r>
          </a:p>
        </p:txBody>
      </p:sp>
      <p:sp>
        <p:nvSpPr>
          <p:cNvPr id="17" name="Rectangle 16"/>
          <p:cNvSpPr/>
          <p:nvPr userDrawn="1"/>
        </p:nvSpPr>
        <p:spPr>
          <a:xfrm>
            <a:off x="385100" y="843885"/>
            <a:ext cx="685711" cy="54864"/>
          </a:xfrm>
          <a:prstGeom prst="rect">
            <a:avLst/>
          </a:prstGeom>
          <a:solidFill>
            <a:srgbClr val="01B0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Light" panose="020B0303030202060203" pitchFamily="34" charset="0"/>
            </a:endParaRPr>
          </a:p>
        </p:txBody>
      </p:sp>
      <p:sp>
        <p:nvSpPr>
          <p:cNvPr id="5" name="Text Placeholder 4"/>
          <p:cNvSpPr>
            <a:spLocks noGrp="1"/>
          </p:cNvSpPr>
          <p:nvPr>
            <p:ph type="body" sz="quarter" idx="17"/>
          </p:nvPr>
        </p:nvSpPr>
        <p:spPr>
          <a:xfrm>
            <a:off x="388938" y="1018211"/>
            <a:ext cx="11422062" cy="5077790"/>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a:extLst>
              <a:ext uri="{FF2B5EF4-FFF2-40B4-BE49-F238E27FC236}">
                <a16:creationId xmlns:a16="http://schemas.microsoft.com/office/drawing/2014/main" id="{C67016E6-EBA2-4C7E-867C-6988E52D035F}"/>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2"/>
              </a:buBlip>
              <a:defRPr sz="2000" kern="1200" cap="all" normalizeH="0" baseline="10000">
                <a:solidFill>
                  <a:schemeClr val="bg2"/>
                </a:solidFill>
                <a:latin typeface="+mn-lt"/>
              </a:defRPr>
            </a:lvl1pPr>
          </a:lstStyle>
          <a:p>
            <a:pPr defTabSz="1088421"/>
            <a:fld id="{104FC826-72BB-4AF1-BA01-A94F7396A7DC}" type="slidenum">
              <a:rPr lang="en-US" smtClean="0"/>
              <a:pPr defTabSz="1088421"/>
              <a:t>‹#›</a:t>
            </a:fld>
            <a:endParaRPr lang="en-US"/>
          </a:p>
        </p:txBody>
      </p:sp>
      <p:sp>
        <p:nvSpPr>
          <p:cNvPr id="9" name="Footer Placeholder">
            <a:extLst>
              <a:ext uri="{FF2B5EF4-FFF2-40B4-BE49-F238E27FC236}">
                <a16:creationId xmlns:a16="http://schemas.microsoft.com/office/drawing/2014/main" id="{495BF590-53C1-4460-B488-1DF09AD81891}"/>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all" baseline="0">
                <a:solidFill>
                  <a:schemeClr val="bg2"/>
                </a:solidFill>
                <a:latin typeface="+mn-lt"/>
              </a:defRPr>
            </a:lvl1pPr>
          </a:lstStyle>
          <a:p>
            <a:r>
              <a:rPr lang="en-US"/>
              <a:t>CONFIDENTIAL | AUTHORIZED HPE PARTNER USE ONLY</a:t>
            </a:r>
          </a:p>
        </p:txBody>
      </p:sp>
      <p:sp>
        <p:nvSpPr>
          <p:cNvPr id="10" name="Divider">
            <a:extLst>
              <a:ext uri="{FF2B5EF4-FFF2-40B4-BE49-F238E27FC236}">
                <a16:creationId xmlns:a16="http://schemas.microsoft.com/office/drawing/2014/main" id="{560E1D30-58C6-4E25-A834-81C35E963ED0}"/>
              </a:ext>
            </a:extLst>
          </p:cNvPr>
          <p:cNvSpPr/>
          <p:nvPr userDrawn="1"/>
        </p:nvSpPr>
        <p:spPr>
          <a:xfrm>
            <a:off x="1513059" y="6169691"/>
            <a:ext cx="4567" cy="373006"/>
          </a:xfrm>
          <a:prstGeom prst="rect">
            <a:avLst/>
          </a:prstGeom>
          <a:solidFill>
            <a:schemeClr val="tx1"/>
          </a:solidFill>
          <a:ln w="114300">
            <a:noFill/>
          </a:ln>
        </p:spPr>
        <p:style>
          <a:lnRef idx="2">
            <a:schemeClr val="accent1">
              <a:shade val="50000"/>
            </a:schemeClr>
          </a:lnRef>
          <a:fillRef idx="1">
            <a:schemeClr val="accent1"/>
          </a:fillRef>
          <a:effectRef idx="0">
            <a:schemeClr val="accent1"/>
          </a:effectRef>
          <a:fontRef idx="minor">
            <a:schemeClr val="lt1"/>
          </a:fontRef>
        </p:style>
        <p:txBody>
          <a:bodyPr lIns="274320" tIns="274320" rIns="274320" bIns="274320" rtlCol="0" anchor="ctr"/>
          <a:lstStyle/>
          <a:p>
            <a:pPr algn="ctr">
              <a:lnSpc>
                <a:spcPct val="90000"/>
              </a:lnSpc>
              <a:spcAft>
                <a:spcPts val="1600"/>
              </a:spcAft>
            </a:pPr>
            <a:endParaRPr lang="en-US" sz="3600">
              <a:solidFill>
                <a:schemeClr val="bg1"/>
              </a:solidFill>
            </a:endParaRPr>
          </a:p>
        </p:txBody>
      </p:sp>
      <p:grpSp>
        <p:nvGrpSpPr>
          <p:cNvPr id="11" name="Logo">
            <a:extLst>
              <a:ext uri="{FF2B5EF4-FFF2-40B4-BE49-F238E27FC236}">
                <a16:creationId xmlns:a16="http://schemas.microsoft.com/office/drawing/2014/main" id="{83911397-3F78-4ED7-B434-4484E0E55359}"/>
              </a:ext>
            </a:extLst>
          </p:cNvPr>
          <p:cNvGrpSpPr>
            <a:grpSpLocks noChangeAspect="1"/>
          </p:cNvGrpSpPr>
          <p:nvPr userDrawn="1"/>
        </p:nvGrpSpPr>
        <p:grpSpPr>
          <a:xfrm>
            <a:off x="382104" y="6186338"/>
            <a:ext cx="943200" cy="379942"/>
            <a:chOff x="393523" y="381956"/>
            <a:chExt cx="2218745" cy="893759"/>
          </a:xfrm>
        </p:grpSpPr>
        <p:sp>
          <p:nvSpPr>
            <p:cNvPr id="12" name="Element">
              <a:extLst>
                <a:ext uri="{FF2B5EF4-FFF2-40B4-BE49-F238E27FC236}">
                  <a16:creationId xmlns:a16="http://schemas.microsoft.com/office/drawing/2014/main" id="{FD4E6C1E-BB38-4321-A6A6-0EDADDF4EB47}"/>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sp>
          <p:nvSpPr>
            <p:cNvPr id="13" name="Wordmark">
              <a:extLst>
                <a:ext uri="{FF2B5EF4-FFF2-40B4-BE49-F238E27FC236}">
                  <a16:creationId xmlns:a16="http://schemas.microsoft.com/office/drawing/2014/main" id="{F94EB60D-0DCC-42F9-AC19-3322B61C9435}"/>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grpSp>
      <p:pic>
        <p:nvPicPr>
          <p:cNvPr id="14" name="Graphic 13">
            <a:extLst>
              <a:ext uri="{FF2B5EF4-FFF2-40B4-BE49-F238E27FC236}">
                <a16:creationId xmlns:a16="http://schemas.microsoft.com/office/drawing/2014/main" id="{F09F3D6D-2A6A-477F-A136-4C33692D0B7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705381" y="6215463"/>
            <a:ext cx="862056" cy="350817"/>
          </a:xfrm>
          <a:prstGeom prst="rect">
            <a:avLst/>
          </a:prstGeom>
        </p:spPr>
      </p:pic>
    </p:spTree>
    <p:extLst>
      <p:ext uri="{BB962C8B-B14F-4D97-AF65-F5344CB8AC3E}">
        <p14:creationId xmlns:p14="http://schemas.microsoft.com/office/powerpoint/2010/main" val="20906903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02867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 Slide 1.5">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1319A299-DAD8-481C-6DF4-9855D60335E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9766" y="-2162"/>
            <a:ext cx="12211766" cy="1334271"/>
          </a:xfrm>
          <a:prstGeom prst="rect">
            <a:avLst/>
          </a:prstGeom>
        </p:spPr>
      </p:pic>
      <p:sp>
        <p:nvSpPr>
          <p:cNvPr id="6" name="Textplatzhalter 19">
            <a:extLst>
              <a:ext uri="{FF2B5EF4-FFF2-40B4-BE49-F238E27FC236}">
                <a16:creationId xmlns:a16="http://schemas.microsoft.com/office/drawing/2014/main" id="{48D4A967-A8AB-5B01-2178-19D8D4F8B1AD}"/>
              </a:ext>
            </a:extLst>
          </p:cNvPr>
          <p:cNvSpPr>
            <a:spLocks noGrp="1"/>
          </p:cNvSpPr>
          <p:nvPr>
            <p:ph type="body" sz="quarter" idx="11" hasCustomPrompt="1"/>
          </p:nvPr>
        </p:nvSpPr>
        <p:spPr>
          <a:xfrm>
            <a:off x="1928368" y="153104"/>
            <a:ext cx="8335246" cy="1025911"/>
          </a:xfrm>
        </p:spPr>
        <p:txBody>
          <a:bodyPr anchor="ctr">
            <a:noAutofit/>
          </a:bodyPr>
          <a:lstStyle>
            <a:lvl1pPr marL="0" indent="0" algn="ctr">
              <a:buNone/>
              <a:defRPr sz="2800" b="1" i="0">
                <a:solidFill>
                  <a:schemeClr val="bg1"/>
                </a:solidFill>
                <a:latin typeface="Arial Black" panose="020B0604020202020204" pitchFamily="34" charset="0"/>
                <a:cs typeface="Arial Black" panose="020B0604020202020204" pitchFamily="34" charset="0"/>
              </a:defRPr>
            </a:lvl1pPr>
          </a:lstStyle>
          <a:p>
            <a:pPr lvl="0"/>
            <a:r>
              <a:rPr lang="de-DE"/>
              <a:t>ADD TITLE</a:t>
            </a:r>
          </a:p>
        </p:txBody>
      </p:sp>
      <p:sp>
        <p:nvSpPr>
          <p:cNvPr id="7" name="Textplatzhalter 17">
            <a:extLst>
              <a:ext uri="{FF2B5EF4-FFF2-40B4-BE49-F238E27FC236}">
                <a16:creationId xmlns:a16="http://schemas.microsoft.com/office/drawing/2014/main" id="{98EB15D4-7906-40A3-EBC7-0C2555D9E410}"/>
              </a:ext>
            </a:extLst>
          </p:cNvPr>
          <p:cNvSpPr>
            <a:spLocks noGrp="1"/>
          </p:cNvSpPr>
          <p:nvPr>
            <p:ph type="body" sz="quarter" idx="12" hasCustomPrompt="1"/>
          </p:nvPr>
        </p:nvSpPr>
        <p:spPr>
          <a:xfrm>
            <a:off x="263321" y="1485209"/>
            <a:ext cx="3553308" cy="4995104"/>
          </a:xfrm>
        </p:spPr>
        <p:txBody>
          <a:bodyPr>
            <a:normAutofit/>
          </a:bodyPr>
          <a:lstStyle>
            <a:lvl1pPr marL="0" indent="0">
              <a:buNone/>
              <a:defRPr sz="1600" b="0" i="0">
                <a:solidFill>
                  <a:srgbClr val="00BCFF"/>
                </a:solidFill>
                <a:latin typeface="Arial" panose="020B0604020202020204" pitchFamily="34" charset="0"/>
                <a:cs typeface="Arial" panose="020B0604020202020204" pitchFamily="34" charset="0"/>
              </a:defRPr>
            </a:lvl1pPr>
            <a:lvl2pPr>
              <a:defRPr b="0" i="0">
                <a:latin typeface="Arial" panose="020B0604020202020204" pitchFamily="34" charset="0"/>
                <a:cs typeface="Arial" panose="020B0604020202020204" pitchFamily="34" charset="0"/>
              </a:defRPr>
            </a:lvl2pPr>
            <a:lvl3pPr>
              <a:defRPr b="0" i="0">
                <a:latin typeface="Arial" panose="020B0604020202020204" pitchFamily="34" charset="0"/>
                <a:cs typeface="Arial" panose="020B0604020202020204" pitchFamily="34" charset="0"/>
              </a:defRPr>
            </a:lvl3pPr>
            <a:lvl4pPr>
              <a:defRPr b="0" i="0">
                <a:latin typeface="Arial" panose="020B0604020202020204" pitchFamily="34" charset="0"/>
                <a:cs typeface="Arial" panose="020B0604020202020204" pitchFamily="34" charset="0"/>
              </a:defRPr>
            </a:lvl4pPr>
            <a:lvl5pPr>
              <a:defRPr b="0" i="0">
                <a:latin typeface="Arial" panose="020B0604020202020204" pitchFamily="34" charset="0"/>
                <a:cs typeface="Arial" panose="020B0604020202020204" pitchFamily="34" charset="0"/>
              </a:defRPr>
            </a:lvl5pPr>
          </a:lstStyle>
          <a:p>
            <a:pPr lvl="0"/>
            <a:r>
              <a:rPr lang="de-DE"/>
              <a:t>Add </a:t>
            </a:r>
            <a:r>
              <a:rPr lang="de-DE" err="1"/>
              <a:t>text</a:t>
            </a:r>
            <a:r>
              <a:rPr lang="de-DE"/>
              <a:t>..</a:t>
            </a:r>
          </a:p>
        </p:txBody>
      </p:sp>
      <p:sp>
        <p:nvSpPr>
          <p:cNvPr id="11" name="Textplatzhalter 17">
            <a:extLst>
              <a:ext uri="{FF2B5EF4-FFF2-40B4-BE49-F238E27FC236}">
                <a16:creationId xmlns:a16="http://schemas.microsoft.com/office/drawing/2014/main" id="{EEA505FE-3749-0E33-A5C8-0534E105AA0D}"/>
              </a:ext>
            </a:extLst>
          </p:cNvPr>
          <p:cNvSpPr>
            <a:spLocks noGrp="1"/>
          </p:cNvSpPr>
          <p:nvPr>
            <p:ph type="body" sz="quarter" idx="13" hasCustomPrompt="1"/>
          </p:nvPr>
        </p:nvSpPr>
        <p:spPr>
          <a:xfrm>
            <a:off x="4319349" y="1485209"/>
            <a:ext cx="3553308" cy="4995104"/>
          </a:xfrm>
        </p:spPr>
        <p:txBody>
          <a:bodyPr>
            <a:normAutofit/>
          </a:bodyPr>
          <a:lstStyle>
            <a:lvl1pPr marL="0" indent="0">
              <a:buNone/>
              <a:defRPr sz="1600" b="0" i="0">
                <a:solidFill>
                  <a:srgbClr val="00BCFF"/>
                </a:solidFill>
                <a:latin typeface="Arial" panose="020B0604020202020204" pitchFamily="34" charset="0"/>
                <a:cs typeface="Arial" panose="020B0604020202020204" pitchFamily="34" charset="0"/>
              </a:defRPr>
            </a:lvl1pPr>
            <a:lvl2pPr>
              <a:defRPr b="0" i="0">
                <a:latin typeface="Arial" panose="020B0604020202020204" pitchFamily="34" charset="0"/>
                <a:cs typeface="Arial" panose="020B0604020202020204" pitchFamily="34" charset="0"/>
              </a:defRPr>
            </a:lvl2pPr>
            <a:lvl3pPr>
              <a:defRPr b="0" i="0">
                <a:latin typeface="Arial" panose="020B0604020202020204" pitchFamily="34" charset="0"/>
                <a:cs typeface="Arial" panose="020B0604020202020204" pitchFamily="34" charset="0"/>
              </a:defRPr>
            </a:lvl3pPr>
            <a:lvl4pPr>
              <a:defRPr b="0" i="0">
                <a:latin typeface="Arial" panose="020B0604020202020204" pitchFamily="34" charset="0"/>
                <a:cs typeface="Arial" panose="020B0604020202020204" pitchFamily="34" charset="0"/>
              </a:defRPr>
            </a:lvl4pPr>
            <a:lvl5pPr>
              <a:defRPr b="0" i="0">
                <a:latin typeface="Arial" panose="020B0604020202020204" pitchFamily="34" charset="0"/>
                <a:cs typeface="Arial" panose="020B0604020202020204" pitchFamily="34" charset="0"/>
              </a:defRPr>
            </a:lvl5pPr>
          </a:lstStyle>
          <a:p>
            <a:pPr lvl="0"/>
            <a:r>
              <a:rPr lang="de-DE"/>
              <a:t>Add </a:t>
            </a:r>
            <a:r>
              <a:rPr lang="de-DE" err="1"/>
              <a:t>text</a:t>
            </a:r>
            <a:r>
              <a:rPr lang="de-DE"/>
              <a:t>..</a:t>
            </a:r>
          </a:p>
        </p:txBody>
      </p:sp>
      <p:sp>
        <p:nvSpPr>
          <p:cNvPr id="12" name="Textplatzhalter 17">
            <a:extLst>
              <a:ext uri="{FF2B5EF4-FFF2-40B4-BE49-F238E27FC236}">
                <a16:creationId xmlns:a16="http://schemas.microsoft.com/office/drawing/2014/main" id="{DA8CFE14-707E-C972-02CF-D240763DBEB9}"/>
              </a:ext>
            </a:extLst>
          </p:cNvPr>
          <p:cNvSpPr>
            <a:spLocks noGrp="1"/>
          </p:cNvSpPr>
          <p:nvPr>
            <p:ph type="body" sz="quarter" idx="14" hasCustomPrompt="1"/>
          </p:nvPr>
        </p:nvSpPr>
        <p:spPr>
          <a:xfrm>
            <a:off x="8375374" y="1485209"/>
            <a:ext cx="3553308" cy="4995104"/>
          </a:xfrm>
        </p:spPr>
        <p:txBody>
          <a:bodyPr>
            <a:normAutofit/>
          </a:bodyPr>
          <a:lstStyle>
            <a:lvl1pPr marL="0" indent="0">
              <a:buNone/>
              <a:defRPr sz="1600" b="0" i="0">
                <a:solidFill>
                  <a:srgbClr val="00BCFF"/>
                </a:solidFill>
                <a:latin typeface="Arial" panose="020B0604020202020204" pitchFamily="34" charset="0"/>
                <a:cs typeface="Arial" panose="020B0604020202020204" pitchFamily="34" charset="0"/>
              </a:defRPr>
            </a:lvl1pPr>
            <a:lvl2pPr>
              <a:defRPr b="0" i="0">
                <a:latin typeface="Arial" panose="020B0604020202020204" pitchFamily="34" charset="0"/>
                <a:cs typeface="Arial" panose="020B0604020202020204" pitchFamily="34" charset="0"/>
              </a:defRPr>
            </a:lvl2pPr>
            <a:lvl3pPr>
              <a:defRPr b="0" i="0">
                <a:latin typeface="Arial" panose="020B0604020202020204" pitchFamily="34" charset="0"/>
                <a:cs typeface="Arial" panose="020B0604020202020204" pitchFamily="34" charset="0"/>
              </a:defRPr>
            </a:lvl3pPr>
            <a:lvl4pPr>
              <a:defRPr b="0" i="0">
                <a:latin typeface="Arial" panose="020B0604020202020204" pitchFamily="34" charset="0"/>
                <a:cs typeface="Arial" panose="020B0604020202020204" pitchFamily="34" charset="0"/>
              </a:defRPr>
            </a:lvl4pPr>
            <a:lvl5pPr>
              <a:defRPr b="0" i="0">
                <a:latin typeface="Arial" panose="020B0604020202020204" pitchFamily="34" charset="0"/>
                <a:cs typeface="Arial" panose="020B0604020202020204" pitchFamily="34" charset="0"/>
              </a:defRPr>
            </a:lvl5pPr>
          </a:lstStyle>
          <a:p>
            <a:pPr lvl="0"/>
            <a:r>
              <a:rPr lang="de-DE"/>
              <a:t>Add </a:t>
            </a:r>
            <a:r>
              <a:rPr lang="de-DE" err="1"/>
              <a:t>text</a:t>
            </a:r>
            <a:r>
              <a:rPr lang="de-DE"/>
              <a:t>..</a:t>
            </a:r>
          </a:p>
        </p:txBody>
      </p:sp>
      <p:pic>
        <p:nvPicPr>
          <p:cNvPr id="13" name="Grafik 8">
            <a:extLst>
              <a:ext uri="{FF2B5EF4-FFF2-40B4-BE49-F238E27FC236}">
                <a16:creationId xmlns:a16="http://schemas.microsoft.com/office/drawing/2014/main" id="{14295DAE-1CD6-0712-ADF7-1B05814DAC3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211052" y="294939"/>
            <a:ext cx="682355" cy="682355"/>
          </a:xfrm>
          <a:prstGeom prst="rect">
            <a:avLst/>
          </a:prstGeom>
        </p:spPr>
      </p:pic>
      <p:pic>
        <p:nvPicPr>
          <p:cNvPr id="3" name="Grafik 6">
            <a:extLst>
              <a:ext uri="{FF2B5EF4-FFF2-40B4-BE49-F238E27FC236}">
                <a16:creationId xmlns:a16="http://schemas.microsoft.com/office/drawing/2014/main" id="{C27B0336-083E-6366-0C9C-EBEB586D22CB}"/>
              </a:ext>
            </a:extLst>
          </p:cNvPr>
          <p:cNvPicPr>
            <a:picLocks noChangeAspect="1"/>
          </p:cNvPicPr>
          <p:nvPr userDrawn="1"/>
        </p:nvPicPr>
        <p:blipFill>
          <a:blip r:embed="rId4"/>
          <a:stretch>
            <a:fillRect/>
          </a:stretch>
        </p:blipFill>
        <p:spPr>
          <a:xfrm>
            <a:off x="84351" y="377690"/>
            <a:ext cx="1739900" cy="483707"/>
          </a:xfrm>
          <a:prstGeom prst="rect">
            <a:avLst/>
          </a:prstGeom>
        </p:spPr>
      </p:pic>
    </p:spTree>
    <p:extLst>
      <p:ext uri="{BB962C8B-B14F-4D97-AF65-F5344CB8AC3E}">
        <p14:creationId xmlns:p14="http://schemas.microsoft.com/office/powerpoint/2010/main" val="6159282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45A2FEF8-95DF-4328-850D-3F7840A62554}"/>
              </a:ext>
            </a:extLst>
          </p:cNvPr>
          <p:cNvSpPr/>
          <p:nvPr/>
        </p:nvSpPr>
        <p:spPr bwMode="gray">
          <a:xfrm>
            <a:off x="4075990" y="0"/>
            <a:ext cx="8116010"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Subtitle 2"/>
          <p:cNvSpPr>
            <a:spLocks noGrp="1"/>
          </p:cNvSpPr>
          <p:nvPr>
            <p:ph type="subTitle" idx="1"/>
          </p:nvPr>
        </p:nvSpPr>
        <p:spPr bwMode="black">
          <a:xfrm>
            <a:off x="709459"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p>
        </p:txBody>
      </p:sp>
      <p:sp>
        <p:nvSpPr>
          <p:cNvPr id="4" name="Date Placeholder 3"/>
          <p:cNvSpPr>
            <a:spLocks noGrp="1"/>
          </p:cNvSpPr>
          <p:nvPr>
            <p:ph type="dt" sz="half" idx="10"/>
          </p:nvPr>
        </p:nvSpPr>
        <p:spPr bwMode="gray"/>
        <p:txBody>
          <a:bodyPr/>
          <a:lstStyle/>
          <a:p>
            <a:fld id="{13F71A7E-39BE-480F-8CE6-E2C2431FD812}" type="datetime1">
              <a:rPr lang="en-US" smtClean="0"/>
              <a:t>4/3/2024</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Task Force Update /// April 5, 2022</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53D681AA-CE2A-478F-B2E7-80CD84091353}" type="slidenum">
              <a:rPr lang="en-US" smtClean="0"/>
              <a:t>‹#›</a:t>
            </a:fld>
            <a:endParaRPr lang="en-US"/>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4"/>
                </a:solidFill>
              </a:defRPr>
            </a:lvl1pPr>
          </a:lstStyle>
          <a:p>
            <a:r>
              <a:rPr lang="en-US"/>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marL="0" marR="0" lvl="0" indent="0" algn="ctr" defTabSz="915588"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tx2"/>
                </a:solidFill>
                <a:effectLst/>
                <a:uLnTx/>
                <a:uFillTx/>
              </a:rPr>
              <a:t>///////////</a:t>
            </a:r>
          </a:p>
        </p:txBody>
      </p:sp>
      <p:sp>
        <p:nvSpPr>
          <p:cNvPr id="21" name="Text Placeholder 20"/>
          <p:cNvSpPr>
            <a:spLocks noGrp="1"/>
          </p:cNvSpPr>
          <p:nvPr>
            <p:ph type="body" sz="quarter" idx="13"/>
          </p:nvPr>
        </p:nvSpPr>
        <p:spPr bwMode="black">
          <a:xfrm>
            <a:off x="1414583"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17" name="Picture Placeholder 16">
            <a:extLst>
              <a:ext uri="{FF2B5EF4-FFF2-40B4-BE49-F238E27FC236}">
                <a16:creationId xmlns:a16="http://schemas.microsoft.com/office/drawing/2014/main" id="{13F626E8-4D4D-4477-BEF3-9372D1A5AD54}"/>
              </a:ext>
            </a:extLst>
          </p:cNvPr>
          <p:cNvSpPr>
            <a:spLocks noGrp="1"/>
          </p:cNvSpPr>
          <p:nvPr>
            <p:ph type="pic" sz="quarter" idx="14"/>
          </p:nvPr>
        </p:nvSpPr>
        <p:spPr bwMode="gray">
          <a:xfrm>
            <a:off x="4113409" y="0"/>
            <a:ext cx="8080975"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a:p>
        </p:txBody>
      </p:sp>
      <p:sp>
        <p:nvSpPr>
          <p:cNvPr id="12" name="Logoschutz" hidden="1">
            <a:extLst>
              <a:ext uri="{FF2B5EF4-FFF2-40B4-BE49-F238E27FC236}">
                <a16:creationId xmlns:a16="http://schemas.microsoft.com/office/drawing/2014/main" id="{C9A9C5E1-5EC5-4E10-A801-6F56DB71E6CD}"/>
              </a:ext>
            </a:extLst>
          </p:cNvPr>
          <p:cNvSpPr/>
          <p:nvPr>
            <p:custDataLst>
              <p:tags r:id="rId1"/>
            </p:custDataLst>
          </p:nvPr>
        </p:nvSpPr>
        <p:spPr bwMode="gray">
          <a:xfrm>
            <a:off x="521901"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a:solidFill>
                  <a:schemeClr val="tx1"/>
                </a:solidFill>
              </a:rPr>
              <a:t>Logo</a:t>
            </a:r>
          </a:p>
          <a:p>
            <a:pPr algn="ctr"/>
            <a:r>
              <a:rPr lang="de-DE" sz="1800">
                <a:solidFill>
                  <a:schemeClr val="tx1"/>
                </a:solidFill>
              </a:rPr>
              <a:t>Schutz</a:t>
            </a:r>
          </a:p>
        </p:txBody>
      </p:sp>
    </p:spTree>
    <p:extLst>
      <p:ext uri="{BB962C8B-B14F-4D97-AF65-F5344CB8AC3E}">
        <p14:creationId xmlns:p14="http://schemas.microsoft.com/office/powerpoint/2010/main" val="41388046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elfolie">
    <p:bg>
      <p:bgPr>
        <a:solidFill>
          <a:schemeClr val="accent1"/>
        </a:solidFill>
        <a:effectLst/>
      </p:bgPr>
    </p:bg>
    <p:spTree>
      <p:nvGrpSpPr>
        <p:cNvPr id="1" name=""/>
        <p:cNvGrpSpPr/>
        <p:nvPr/>
      </p:nvGrpSpPr>
      <p:grpSpPr>
        <a:xfrm>
          <a:off x="0" y="0"/>
          <a:ext cx="0" cy="0"/>
          <a:chOff x="0" y="0"/>
          <a:chExt cx="0" cy="0"/>
        </a:xfrm>
      </p:grpSpPr>
      <p:pic>
        <p:nvPicPr>
          <p:cNvPr id="5" name="Picture 4" descr="Commercial dock with container cargo ship container storage and crane unloading ship">
            <a:extLst>
              <a:ext uri="{FF2B5EF4-FFF2-40B4-BE49-F238E27FC236}">
                <a16:creationId xmlns:a16="http://schemas.microsoft.com/office/drawing/2014/main" id="{5BF24851-2077-4B85-9F8F-5FD127F26055}"/>
              </a:ext>
            </a:extLst>
          </p:cNvPr>
          <p:cNvPicPr>
            <a:picLocks noChangeAspect="1"/>
          </p:cNvPicPr>
          <p:nvPr userDrawn="1"/>
        </p:nvPicPr>
        <p:blipFill>
          <a:blip r:embed="rId3"/>
          <a:srcRect t="102" b="102"/>
          <a:stretch/>
        </p:blipFill>
        <p:spPr>
          <a:xfrm>
            <a:off x="-20252" y="0"/>
            <a:ext cx="12232502" cy="6858000"/>
          </a:xfrm>
          <a:prstGeom prst="rect">
            <a:avLst/>
          </a:prstGeom>
        </p:spPr>
      </p:pic>
      <p:sp>
        <p:nvSpPr>
          <p:cNvPr id="13" name="Freeform 15">
            <a:extLst>
              <a:ext uri="{FF2B5EF4-FFF2-40B4-BE49-F238E27FC236}">
                <a16:creationId xmlns:a16="http://schemas.microsoft.com/office/drawing/2014/main" id="{094AA8F9-A8B3-436D-916D-61D3B1CDF059}"/>
              </a:ext>
            </a:extLst>
          </p:cNvPr>
          <p:cNvSpPr/>
          <p:nvPr userDrawn="1"/>
        </p:nvSpPr>
        <p:spPr bwMode="gray">
          <a:xfrm flipV="1">
            <a:off x="-38914" y="0"/>
            <a:ext cx="6712957" cy="685800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flip="none" rotWithShape="1">
            <a:gsLst>
              <a:gs pos="0">
                <a:schemeClr val="tx1">
                  <a:alpha val="57000"/>
                </a:schemeClr>
              </a:gs>
              <a:gs pos="72000">
                <a:schemeClr val="tx1">
                  <a:alpha val="5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Subtitle 2"/>
          <p:cNvSpPr>
            <a:spLocks noGrp="1"/>
          </p:cNvSpPr>
          <p:nvPr>
            <p:ph type="subTitle" idx="1"/>
          </p:nvPr>
        </p:nvSpPr>
        <p:spPr bwMode="black">
          <a:xfrm>
            <a:off x="709459"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a:t>Master-Untertitelformat bearbeiten</a:t>
            </a:r>
            <a:endParaRPr lang="en-US"/>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4"/>
                </a:solidFill>
              </a:defRPr>
            </a:lvl1pPr>
          </a:lstStyle>
          <a:p>
            <a:r>
              <a:rPr lang="de-DE"/>
              <a:t>Mastertitelformat bearbeiten</a:t>
            </a:r>
            <a:endParaRPr lang="en-US"/>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659590" y="3970628"/>
            <a:ext cx="480895" cy="179724"/>
          </a:xfrm>
          <a:prstGeom prst="rect">
            <a:avLst/>
          </a:prstGeom>
          <a:noFill/>
        </p:spPr>
        <p:txBody>
          <a:bodyPr wrap="none" lIns="0" tIns="0" rIns="0" bIns="0" rtlCol="0" anchor="ctr">
            <a:noAutofit/>
          </a:bodyPr>
          <a:lstStyle/>
          <a:p>
            <a:pPr marL="0" marR="0" lvl="0" indent="0" algn="ctr" defTabSz="915588"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tx2"/>
                </a:solidFill>
                <a:effectLst/>
                <a:uLnTx/>
                <a:uFillTx/>
              </a:rPr>
              <a:t>///////////</a:t>
            </a:r>
          </a:p>
        </p:txBody>
      </p:sp>
      <p:sp>
        <p:nvSpPr>
          <p:cNvPr id="21" name="Text Placeholder 20"/>
          <p:cNvSpPr>
            <a:spLocks noGrp="1"/>
          </p:cNvSpPr>
          <p:nvPr>
            <p:ph type="body" sz="quarter" idx="13"/>
          </p:nvPr>
        </p:nvSpPr>
        <p:spPr bwMode="black">
          <a:xfrm>
            <a:off x="1414583"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2" name="Logoschutz" hidden="1">
            <a:extLst>
              <a:ext uri="{FF2B5EF4-FFF2-40B4-BE49-F238E27FC236}">
                <a16:creationId xmlns:a16="http://schemas.microsoft.com/office/drawing/2014/main" id="{C9A9C5E1-5EC5-4E10-A801-6F56DB71E6CD}"/>
              </a:ext>
            </a:extLst>
          </p:cNvPr>
          <p:cNvSpPr/>
          <p:nvPr userDrawn="1">
            <p:custDataLst>
              <p:tags r:id="rId1"/>
            </p:custDataLst>
          </p:nvPr>
        </p:nvSpPr>
        <p:spPr bwMode="gray">
          <a:xfrm>
            <a:off x="521901"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a:solidFill>
                  <a:schemeClr val="tx1"/>
                </a:solidFill>
              </a:rPr>
              <a:t>Logo</a:t>
            </a:r>
          </a:p>
          <a:p>
            <a:pPr algn="ctr"/>
            <a:r>
              <a:rPr lang="de-DE" sz="1800">
                <a:solidFill>
                  <a:schemeClr val="tx1"/>
                </a:solidFill>
              </a:rPr>
              <a:t>Schutz</a:t>
            </a:r>
          </a:p>
        </p:txBody>
      </p:sp>
      <p:pic>
        <p:nvPicPr>
          <p:cNvPr id="9" name="Picture 2">
            <a:extLst>
              <a:ext uri="{FF2B5EF4-FFF2-40B4-BE49-F238E27FC236}">
                <a16:creationId xmlns:a16="http://schemas.microsoft.com/office/drawing/2014/main" id="{C769529F-CC38-414D-A4AD-36F4B3ECB6C4}"/>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gray">
          <a:xfrm>
            <a:off x="597316" y="646112"/>
            <a:ext cx="856692" cy="856580"/>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Gerader Verbinder 10">
            <a:extLst>
              <a:ext uri="{FF2B5EF4-FFF2-40B4-BE49-F238E27FC236}">
                <a16:creationId xmlns:a16="http://schemas.microsoft.com/office/drawing/2014/main" id="{CDF8D785-2A4E-4B40-A5F8-8F1EDDA0AD4B}"/>
              </a:ext>
            </a:extLst>
          </p:cNvPr>
          <p:cNvCxnSpPr/>
          <p:nvPr userDrawn="1"/>
        </p:nvCxnSpPr>
        <p:spPr bwMode="gray">
          <a:xfrm flipV="1">
            <a:off x="7478098" y="4760681"/>
            <a:ext cx="5315642" cy="2317608"/>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1342214-1888-4663-A1D7-65FA83D5DBD9}"/>
              </a:ext>
            </a:extLst>
          </p:cNvPr>
          <p:cNvCxnSpPr>
            <a:cxnSpLocks/>
          </p:cNvCxnSpPr>
          <p:nvPr userDrawn="1"/>
        </p:nvCxnSpPr>
        <p:spPr bwMode="gray">
          <a:xfrm flipV="1">
            <a:off x="4367291" y="3"/>
            <a:ext cx="2573990" cy="7306889"/>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63991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bg>
      <p:bgPr>
        <a:gradFill>
          <a:gsLst>
            <a:gs pos="0">
              <a:schemeClr val="bg1"/>
            </a:gs>
            <a:gs pos="72000">
              <a:srgbClr val="D2EEF5"/>
            </a:gs>
            <a:gs pos="100000">
              <a:srgbClr val="B9CDE5"/>
            </a:gs>
          </a:gsLst>
          <a:lin ang="13800000" scaled="0"/>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83346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op Title &amp; Content">
    <p:bg>
      <p:bgPr>
        <a:solidFill>
          <a:schemeClr val="bg1"/>
        </a:solidFill>
        <a:effectLst/>
      </p:bgPr>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640648D8-01C8-4406-95EB-8442CBC0EFD0}"/>
              </a:ext>
            </a:extLst>
          </p:cNvPr>
          <p:cNvSpPr>
            <a:spLocks noGrp="1"/>
          </p:cNvSpPr>
          <p:nvPr>
            <p:ph sz="half" idx="1" hasCustomPrompt="1"/>
          </p:nvPr>
        </p:nvSpPr>
        <p:spPr>
          <a:xfrm>
            <a:off x="381002" y="990600"/>
            <a:ext cx="11429999" cy="5105400"/>
          </a:xfrm>
        </p:spPr>
        <p:txBody>
          <a:bodyPr>
            <a:normAutofit/>
          </a:bodyPr>
          <a:lstStyle>
            <a:lvl1pPr marL="0" marR="0" indent="0" algn="l" defTabSz="121914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sz="3200">
                <a:latin typeface="+mj-lt"/>
              </a:defRPr>
            </a:lvl1pPr>
            <a:lvl2pPr marL="609569" indent="0">
              <a:buNone/>
              <a:defRPr sz="2000"/>
            </a:lvl2pPr>
            <a:lvl3pPr marL="1219140" indent="0">
              <a:buNone/>
              <a:defRPr sz="2000"/>
            </a:lvl3pPr>
            <a:lvl4pPr marL="1828709" indent="0">
              <a:buNone/>
              <a:defRPr sz="2000"/>
            </a:lvl4pPr>
            <a:lvl5pPr marL="2438278" indent="0">
              <a:buNone/>
              <a:defRPr sz="2000"/>
            </a:lvl5pPr>
            <a:lvl6pPr>
              <a:defRPr sz="2400"/>
            </a:lvl6pPr>
            <a:lvl7pPr>
              <a:defRPr sz="2400"/>
            </a:lvl7pPr>
            <a:lvl8pPr>
              <a:defRPr sz="2400"/>
            </a:lvl8pPr>
            <a:lvl9pPr>
              <a:defRPr sz="2400"/>
            </a:lvl9pPr>
          </a:lstStyle>
          <a:p>
            <a:r>
              <a:rPr lang="en-US"/>
              <a:t>Click to add subtitle</a:t>
            </a:r>
          </a:p>
        </p:txBody>
      </p:sp>
      <p:sp>
        <p:nvSpPr>
          <p:cNvPr id="4" name="Title Placeholder 1">
            <a:extLst>
              <a:ext uri="{FF2B5EF4-FFF2-40B4-BE49-F238E27FC236}">
                <a16:creationId xmlns:a16="http://schemas.microsoft.com/office/drawing/2014/main" id="{A20942E4-24CC-484A-9845-8D2666BDC9D6}"/>
              </a:ext>
            </a:extLst>
          </p:cNvPr>
          <p:cNvSpPr>
            <a:spLocks noGrp="1"/>
          </p:cNvSpPr>
          <p:nvPr>
            <p:ph type="title"/>
          </p:nvPr>
        </p:nvSpPr>
        <p:spPr>
          <a:xfrm>
            <a:off x="381000" y="76202"/>
            <a:ext cx="9372600" cy="732607"/>
          </a:xfrm>
          <a:prstGeom prst="rect">
            <a:avLst/>
          </a:prstGeom>
          <a:effectLst/>
        </p:spPr>
        <p:txBody>
          <a:bodyPr vert="horz" lIns="91440" tIns="45720" rIns="91440" bIns="45720" rtlCol="0" anchor="ctr">
            <a:normAutofit/>
          </a:bodyPr>
          <a:lstStyle/>
          <a:p>
            <a:r>
              <a:rPr lang="en-GB"/>
              <a:t>Click to edit Master title style</a:t>
            </a:r>
            <a:endParaRPr lang="en-US"/>
          </a:p>
        </p:txBody>
      </p:sp>
    </p:spTree>
    <p:extLst>
      <p:ext uri="{BB962C8B-B14F-4D97-AF65-F5344CB8AC3E}">
        <p14:creationId xmlns:p14="http://schemas.microsoft.com/office/powerpoint/2010/main" val="25083835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p:nvSpPr>
        <p:spPr>
          <a:xfrm>
            <a:off x="6210301" y="0"/>
            <a:ext cx="5981700" cy="6858000"/>
          </a:xfrm>
          <a:prstGeom prst="rect">
            <a:avLst/>
          </a:prstGeom>
          <a:solidFill>
            <a:srgbClr val="1D34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7124701" y="1423416"/>
            <a:ext cx="4141767" cy="4011168"/>
          </a:xfrm>
        </p:spPr>
        <p:txBody>
          <a:bodyPr anchor="ctr">
            <a:noAutofit/>
          </a:bodyPr>
          <a:lstStyle>
            <a:lvl1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1pPr>
            <a:lvl2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2pPr>
            <a:lvl3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3pPr>
            <a:lvl4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4pPr>
            <a:lvl5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itle 1">
            <a:extLst>
              <a:ext uri="{FF2B5EF4-FFF2-40B4-BE49-F238E27FC236}">
                <a16:creationId xmlns:a16="http://schemas.microsoft.com/office/drawing/2014/main" id="{FAA20DFE-70D2-CF4D-BCBB-4A953010B701}"/>
              </a:ext>
            </a:extLst>
          </p:cNvPr>
          <p:cNvSpPr>
            <a:spLocks noGrp="1"/>
          </p:cNvSpPr>
          <p:nvPr>
            <p:ph type="title"/>
          </p:nvPr>
        </p:nvSpPr>
        <p:spPr>
          <a:xfrm>
            <a:off x="887897" y="801624"/>
            <a:ext cx="4318089" cy="2356104"/>
          </a:xfrm>
          <a:prstGeom prst="rect">
            <a:avLst/>
          </a:prstGeom>
        </p:spPr>
        <p:txBody>
          <a:bodyPr anchor="b"/>
          <a:lstStyle>
            <a:lvl1pPr>
              <a:defRPr>
                <a:latin typeface="Arial" panose="020B0604020202020204" pitchFamily="34" charset="0"/>
                <a:cs typeface="Arial" panose="020B0604020202020204" pitchFamily="34" charset="0"/>
              </a:defRPr>
            </a:lvl1pPr>
          </a:lstStyle>
          <a:p>
            <a:r>
              <a:rPr lang="en-GB"/>
              <a:t>Click to edit Master title style</a:t>
            </a:r>
            <a:endParaRPr lang="en-US"/>
          </a:p>
        </p:txBody>
      </p:sp>
      <p:sp>
        <p:nvSpPr>
          <p:cNvPr id="6" name="Text Placeholder 9">
            <a:extLst>
              <a:ext uri="{FF2B5EF4-FFF2-40B4-BE49-F238E27FC236}">
                <a16:creationId xmlns:a16="http://schemas.microsoft.com/office/drawing/2014/main" id="{05D0DC0F-FDE9-1848-AD3E-95851A341261}"/>
              </a:ext>
            </a:extLst>
          </p:cNvPr>
          <p:cNvSpPr>
            <a:spLocks noGrp="1"/>
          </p:cNvSpPr>
          <p:nvPr>
            <p:ph type="body" sz="quarter" idx="17" hasCustomPrompt="1"/>
          </p:nvPr>
        </p:nvSpPr>
        <p:spPr>
          <a:xfrm>
            <a:off x="887413" y="3239391"/>
            <a:ext cx="4318000" cy="1008888"/>
          </a:xfrm>
        </p:spPr>
        <p:txBody>
          <a:bodyPr>
            <a:noAutofit/>
          </a:bodyPr>
          <a:lstStyle>
            <a:lvl1pPr marL="0" indent="0">
              <a:buNone/>
              <a:defRPr lang="en-US" b="0" i="0" smtClean="0">
                <a:effectLst/>
                <a:latin typeface="Arial" panose="020B0604020202020204" pitchFamily="34" charset="0"/>
                <a:ea typeface="Open Sans" panose="020B0606030504020204" pitchFamily="34" charset="0"/>
                <a:cs typeface="Arial" panose="020B0604020202020204" pitchFamily="34" charset="0"/>
              </a:defRPr>
            </a:lvl1pPr>
            <a:lvl2pPr marL="228594" indent="0">
              <a:buNone/>
              <a:defRPr/>
            </a:lvl2pPr>
            <a:lvl3pPr marL="457189" indent="0">
              <a:buNone/>
              <a:defRPr/>
            </a:lvl3pPr>
            <a:lvl4pPr marL="731502" indent="0">
              <a:buNone/>
              <a:defRPr/>
            </a:lvl4pPr>
            <a:lvl5pPr marL="1005815" indent="0">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pic>
        <p:nvPicPr>
          <p:cNvPr id="7" name="Graphic 6">
            <a:extLst>
              <a:ext uri="{FF2B5EF4-FFF2-40B4-BE49-F238E27FC236}">
                <a16:creationId xmlns:a16="http://schemas.microsoft.com/office/drawing/2014/main" id="{B6ED1190-C68C-8B43-8044-8F294778753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81633" y="6179616"/>
            <a:ext cx="2198183" cy="492363"/>
          </a:xfrm>
          <a:prstGeom prst="rect">
            <a:avLst/>
          </a:prstGeom>
        </p:spPr>
      </p:pic>
    </p:spTree>
    <p:extLst>
      <p:ext uri="{BB962C8B-B14F-4D97-AF65-F5344CB8AC3E}">
        <p14:creationId xmlns:p14="http://schemas.microsoft.com/office/powerpoint/2010/main" val="26871490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6A638F1-B6E2-A7B8-7F3D-5814FC4807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62500" y="1552575"/>
            <a:ext cx="7429500" cy="5305425"/>
          </a:xfrm>
          <a:prstGeom prst="rect">
            <a:avLst/>
          </a:prstGeom>
        </p:spPr>
      </p:pic>
      <p:sp>
        <p:nvSpPr>
          <p:cNvPr id="11" name="Title 1">
            <a:extLst>
              <a:ext uri="{FF2B5EF4-FFF2-40B4-BE49-F238E27FC236}">
                <a16:creationId xmlns:a16="http://schemas.microsoft.com/office/drawing/2014/main" id="{11191324-3A4D-B745-BDAC-FA074E5EA914}"/>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12" name="Subtitle 2">
            <a:extLst>
              <a:ext uri="{FF2B5EF4-FFF2-40B4-BE49-F238E27FC236}">
                <a16:creationId xmlns:a16="http://schemas.microsoft.com/office/drawing/2014/main" id="{77A44848-3A08-1545-98D7-3523DA9848F7}"/>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2" name="Graphic 1">
            <a:extLst>
              <a:ext uri="{FF2B5EF4-FFF2-40B4-BE49-F238E27FC236}">
                <a16:creationId xmlns:a16="http://schemas.microsoft.com/office/drawing/2014/main" id="{D24E8A85-6C91-146B-087A-D3B1F1AC61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3" name="Text Box 92">
            <a:extLst>
              <a:ext uri="{FF2B5EF4-FFF2-40B4-BE49-F238E27FC236}">
                <a16:creationId xmlns:a16="http://schemas.microsoft.com/office/drawing/2014/main" id="{3BF45DA8-68D1-8131-9975-4F39534CB32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55992794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C43D9B-44E5-5227-2E45-EF9EF0AB6A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0100" y="2057400"/>
            <a:ext cx="7581900" cy="4819650"/>
          </a:xfrm>
          <a:prstGeom prst="rect">
            <a:avLst/>
          </a:prstGeom>
        </p:spPr>
      </p:pic>
      <p:pic>
        <p:nvPicPr>
          <p:cNvPr id="9" name="Graphic 8">
            <a:extLst>
              <a:ext uri="{FF2B5EF4-FFF2-40B4-BE49-F238E27FC236}">
                <a16:creationId xmlns:a16="http://schemas.microsoft.com/office/drawing/2014/main" id="{6AF26A37-6D9C-028E-B089-617CA487F7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03B90F01-9144-92B6-4A82-AD6C6A59A290}"/>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6" name="Subtitle 2">
            <a:extLst>
              <a:ext uri="{FF2B5EF4-FFF2-40B4-BE49-F238E27FC236}">
                <a16:creationId xmlns:a16="http://schemas.microsoft.com/office/drawing/2014/main" id="{40B2C54C-82AC-6F71-3673-3413CCC132F8}"/>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4C068EF-639A-971F-5B13-7F9CD52D7CC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411656774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412045" y="954155"/>
            <a:ext cx="2833510" cy="4949687"/>
          </a:xfrm>
        </p:spPr>
        <p:txBody>
          <a:bodyPr anchor="t">
            <a:noAutofit/>
          </a:bodyPr>
          <a:lstStyle>
            <a:lvl1pPr marL="0" inden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44235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DD8DD629-CE62-2B44-686E-C8D97BF02A10}"/>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4955468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CE662D8-62C3-47F2-EDE3-9DB967B3CC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34025" y="1104900"/>
            <a:ext cx="6657975" cy="5753100"/>
          </a:xfrm>
          <a:prstGeom prst="rect">
            <a:avLst/>
          </a:prstGeom>
        </p:spPr>
      </p:pic>
      <p:pic>
        <p:nvPicPr>
          <p:cNvPr id="7" name="Graphic 6">
            <a:extLst>
              <a:ext uri="{FF2B5EF4-FFF2-40B4-BE49-F238E27FC236}">
                <a16:creationId xmlns:a16="http://schemas.microsoft.com/office/drawing/2014/main" id="{5DFEFA29-493C-1925-FDD7-818B07FD3F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2627850A-8FA8-CAAF-0158-84DBDE327DF9}"/>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8" name="Subtitle 2">
            <a:extLst>
              <a:ext uri="{FF2B5EF4-FFF2-40B4-BE49-F238E27FC236}">
                <a16:creationId xmlns:a16="http://schemas.microsoft.com/office/drawing/2014/main" id="{94BA46CF-A280-58D5-246B-2DF37611893F}"/>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12867A4-1FF1-9652-48AE-B5949D27B84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2300369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Agenda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6096000" y="0"/>
            <a:ext cx="609043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6760299" y="1423416"/>
            <a:ext cx="4761835" cy="4011168"/>
          </a:xfrm>
        </p:spPr>
        <p:txBody>
          <a:bodyPr anchor="ctr">
            <a:noAutofit/>
          </a:bodyPr>
          <a:lstStyle>
            <a:lvl1pPr marL="228600" indent="-228600">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FAA20DFE-70D2-CF4D-BCBB-4A953010B701}"/>
              </a:ext>
            </a:extLst>
          </p:cNvPr>
          <p:cNvSpPr>
            <a:spLocks noGrp="1"/>
          </p:cNvSpPr>
          <p:nvPr>
            <p:ph type="title"/>
          </p:nvPr>
        </p:nvSpPr>
        <p:spPr>
          <a:xfrm>
            <a:off x="887895" y="801624"/>
            <a:ext cx="4318089" cy="2356104"/>
          </a:xfrm>
        </p:spPr>
        <p:txBody>
          <a:bodyPr anchor="b"/>
          <a:lstStyle>
            <a:lvl1pPr>
              <a:defRPr sz="4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6" name="Text Placeholder 9">
            <a:extLst>
              <a:ext uri="{FF2B5EF4-FFF2-40B4-BE49-F238E27FC236}">
                <a16:creationId xmlns:a16="http://schemas.microsoft.com/office/drawing/2014/main" id="{05D0DC0F-FDE9-1848-AD3E-95851A341261}"/>
              </a:ext>
            </a:extLst>
          </p:cNvPr>
          <p:cNvSpPr>
            <a:spLocks noGrp="1"/>
          </p:cNvSpPr>
          <p:nvPr>
            <p:ph type="body" sz="quarter" idx="17" hasCustomPrompt="1"/>
          </p:nvPr>
        </p:nvSpPr>
        <p:spPr>
          <a:xfrm>
            <a:off x="887413" y="3239390"/>
            <a:ext cx="4318000" cy="1008888"/>
          </a:xfrm>
        </p:spPr>
        <p:txBody>
          <a:bodyPr>
            <a:noAutofit/>
          </a:bodyPr>
          <a:lstStyle>
            <a:lvl1pPr marL="0" indent="0">
              <a:buNone/>
              <a:defRPr lang="en-US" sz="2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r>
              <a:rPr lang="en-US"/>
              <a:t>Click to edit subtitle</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E40FFB5E-A62A-2D74-54FC-40E139B23BF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7287946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412045" y="954155"/>
            <a:ext cx="2833510" cy="4949687"/>
          </a:xfrm>
        </p:spPr>
        <p:txBody>
          <a:bodyPr anchor="t">
            <a:noAutofit/>
          </a:bodyPr>
          <a:lstStyle>
            <a:lvl1pPr marL="0" inden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44235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DD8DD629-CE62-2B44-686E-C8D97BF02A10}"/>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6403415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853440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8946445" y="954155"/>
            <a:ext cx="2833510" cy="4949687"/>
          </a:xfrm>
        </p:spPr>
        <p:txBody>
          <a:bodyPr anchor="t">
            <a:noAutofit/>
          </a:bodyPr>
          <a:lstStyle>
            <a:lvl1pPr marL="0" indent="0">
              <a:buFont typeface="Arial" panose="020B0604020202020204" pitchFamily="34" charse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7659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7AB9DE36-93EE-5F1D-B2F7-934AEF322D4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2157907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720B5-B745-42C3-9BE3-1DEFB1BB2964}"/>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3" name="Content Placeholder 2">
            <a:extLst>
              <a:ext uri="{FF2B5EF4-FFF2-40B4-BE49-F238E27FC236}">
                <a16:creationId xmlns:a16="http://schemas.microsoft.com/office/drawing/2014/main" id="{3EA42DD3-EE0E-47DC-B9A6-3CDAE75AA5D9}"/>
              </a:ext>
            </a:extLst>
          </p:cNvPr>
          <p:cNvSpPr>
            <a:spLocks noGrp="1"/>
          </p:cNvSpPr>
          <p:nvPr>
            <p:ph idx="1" hasCustomPrompt="1"/>
          </p:nvPr>
        </p:nvSpPr>
        <p:spPr>
          <a:xfrm>
            <a:off x="381000" y="1066800"/>
            <a:ext cx="11430000" cy="5029200"/>
          </a:xfrm>
        </p:spPr>
        <p:txBody>
          <a:bodyPr/>
          <a:lstStyle>
            <a:lvl1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744347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C53B9-FF92-7DC2-B8CC-3BEE1F497CED}"/>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126190711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338139"/>
            <a:ext cx="11430000" cy="1122528"/>
          </a:xfrm>
        </p:spPr>
        <p:txBody>
          <a:bodyPr anchor="b">
            <a:normAutofit/>
          </a:bodyPr>
          <a:lstStyle>
            <a:lvl1pPr>
              <a:defRPr sz="4000" b="1" i="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69313038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Emphasis">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78A86BC-81A0-D64A-8E1C-839DCC18C7D8}"/>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CA97B3DF-AE92-604F-9263-CEE3C35F7CFE}"/>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213696986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Business Wo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2DDDBE96-C72E-A94B-0D67-F51DB499ECD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C3ABB9F6-F192-48B4-D09E-E2F065648E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610A513C-8357-4D6C-EF6F-BD685AD8A3B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CEFD2A14-B2F1-4B2A-B82D-7681E9F4C6F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F59D9166-27EA-0592-45FD-8480DA61A701}"/>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4078182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usiness 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78B3FD4F-770F-E7EC-81A0-45718D40CC59}"/>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373B6521-B3E6-25A2-EAB6-C3D40E2D71B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53588A47-6BEA-B4A7-A211-EA9DE3EE73A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7D326E3C-0BD8-6294-2B89-AE946101171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790F872-9520-EB1F-9EAA-FEBDE9EBC37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7263627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853440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8946445" y="954155"/>
            <a:ext cx="2833510" cy="4949687"/>
          </a:xfrm>
        </p:spPr>
        <p:txBody>
          <a:bodyPr anchor="t">
            <a:noAutofit/>
          </a:bodyPr>
          <a:lstStyle>
            <a:lvl1pPr marL="0" indent="0">
              <a:buFont typeface="Arial" panose="020B0604020202020204" pitchFamily="34" charse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7659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7AB9DE36-93EE-5F1D-B2F7-934AEF322D4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7035597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Manufacturin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67B63D-7099-3F57-C03C-3CDA1C73F3F5}"/>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C8F2BBB2-DB59-4E0F-1D53-745462D53AF8}"/>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0EB61488-405B-9EE9-4F60-D62969654BB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2530776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Grocer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04AB27-5EDE-E210-D67A-7E688C2BE419}"/>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pic>
        <p:nvPicPr>
          <p:cNvPr id="9" name="Graphic 8">
            <a:extLst>
              <a:ext uri="{FF2B5EF4-FFF2-40B4-BE49-F238E27FC236}">
                <a16:creationId xmlns:a16="http://schemas.microsoft.com/office/drawing/2014/main" id="{46954B25-EFFE-9298-4DF7-9124EF4A0C9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6CC5FCEF-DA56-0308-2EB0-254DAC7E5ACB}"/>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741E72A9-1849-7F2B-CB01-9104792FF95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0123281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Retail">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B741AE74-1BB3-C9B1-F81A-3662076861D3}"/>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10815CF8-5FAD-0C60-5E3A-EEC56204B73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B9FA2EAE-F132-9C58-FF7A-5763E8D25B4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D1357D72-C1D7-5893-D14C-F984DA4D92E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B2B1E7AA-EE8B-21F1-358F-342DF1874C8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3288298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Logistics 1">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B7356CFE-70B6-7BB8-DB18-C9205300EEA1}"/>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6" name="Graphic 5">
            <a:extLst>
              <a:ext uri="{FF2B5EF4-FFF2-40B4-BE49-F238E27FC236}">
                <a16:creationId xmlns:a16="http://schemas.microsoft.com/office/drawing/2014/main" id="{8D357C04-2103-4044-1B2E-F2693BB586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80F12EB3-81B9-B03D-6EA8-D963B02C7A20}"/>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B737D7D-2A3B-1C0D-8A32-ADF223BD320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09F0470F-D6BA-B366-D6E3-DBE9BE8BF49E}"/>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4501940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Logistics 2">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A876F87F-E5E0-1E7F-8888-4717B311B8C7}"/>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268C4367-80C5-F838-E9BC-73491685D3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51D491F3-7420-C959-35C4-196DA8B48D9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5880051F-DCD6-E1D8-CA2F-40EA8DFAA3A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695B3F8-1B67-78AD-BC94-0215CA55834F}"/>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4265923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High-Tech">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E057B152-6E36-22D3-D988-81AF461A6AC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9651510-7314-165A-E1D3-B5A2F1BABF1C}"/>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5D402ECA-D171-6D57-6B42-8883F8FDCCC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504775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Life Scienc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691745-EAFF-4908-8282-0391E07A0E20}"/>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Text Box 92">
            <a:extLst>
              <a:ext uri="{FF2B5EF4-FFF2-40B4-BE49-F238E27FC236}">
                <a16:creationId xmlns:a16="http://schemas.microsoft.com/office/drawing/2014/main" id="{92D25312-027F-2C67-8299-447FCA222D7A}"/>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9BCCE209-6D74-FB8B-9459-09E5680375A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8476421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Healthcar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A13073-7078-8DE6-27E7-37512079F95A}"/>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66A9C3AC-B3AC-EE47-4C59-D94B1CE1F906}"/>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76A9AA13-BC0D-C9FD-32FB-76FEE938161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5569992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451134"/>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447800"/>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143256682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895302"/>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891968"/>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Text Placeholder 9">
            <a:extLst>
              <a:ext uri="{FF2B5EF4-FFF2-40B4-BE49-F238E27FC236}">
                <a16:creationId xmlns:a16="http://schemas.microsoft.com/office/drawing/2014/main" id="{409D40C6-75F1-CF12-4FA0-36F4CB209EF1}"/>
              </a:ext>
            </a:extLst>
          </p:cNvPr>
          <p:cNvSpPr>
            <a:spLocks noGrp="1"/>
          </p:cNvSpPr>
          <p:nvPr>
            <p:ph type="body" sz="quarter" idx="17" hasCustomPrompt="1"/>
          </p:nvPr>
        </p:nvSpPr>
        <p:spPr>
          <a:xfrm>
            <a:off x="380999"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3" name="Text Placeholder 9">
            <a:extLst>
              <a:ext uri="{FF2B5EF4-FFF2-40B4-BE49-F238E27FC236}">
                <a16:creationId xmlns:a16="http://schemas.microsoft.com/office/drawing/2014/main" id="{73002B2B-8303-458A-A69E-8633AADCA004}"/>
              </a:ext>
            </a:extLst>
          </p:cNvPr>
          <p:cNvSpPr>
            <a:spLocks noGrp="1"/>
          </p:cNvSpPr>
          <p:nvPr>
            <p:ph type="body" sz="quarter" idx="19" hasCustomPrompt="1"/>
          </p:nvPr>
        </p:nvSpPr>
        <p:spPr>
          <a:xfrm>
            <a:off x="6169651"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147633114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720B5-B745-42C3-9BE3-1DEFB1BB2964}"/>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3" name="Content Placeholder 2">
            <a:extLst>
              <a:ext uri="{FF2B5EF4-FFF2-40B4-BE49-F238E27FC236}">
                <a16:creationId xmlns:a16="http://schemas.microsoft.com/office/drawing/2014/main" id="{3EA42DD3-EE0E-47DC-B9A6-3CDAE75AA5D9}"/>
              </a:ext>
            </a:extLst>
          </p:cNvPr>
          <p:cNvSpPr>
            <a:spLocks noGrp="1"/>
          </p:cNvSpPr>
          <p:nvPr>
            <p:ph idx="1" hasCustomPrompt="1"/>
          </p:nvPr>
        </p:nvSpPr>
        <p:spPr>
          <a:xfrm>
            <a:off x="381000" y="1066800"/>
            <a:ext cx="11430000" cy="5029200"/>
          </a:xfrm>
        </p:spPr>
        <p:txBody>
          <a:bodyPr/>
          <a:lstStyle>
            <a:lvl1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717612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183499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3" name="Text Placeholder 9">
            <a:extLst>
              <a:ext uri="{FF2B5EF4-FFF2-40B4-BE49-F238E27FC236}">
                <a16:creationId xmlns:a16="http://schemas.microsoft.com/office/drawing/2014/main" id="{F5561ADC-51AB-973D-7B23-B08AA34F11B2}"/>
              </a:ext>
            </a:extLst>
          </p:cNvPr>
          <p:cNvSpPr>
            <a:spLocks noGrp="1"/>
          </p:cNvSpPr>
          <p:nvPr>
            <p:ph type="body" sz="quarter" idx="17" hasCustomPrompt="1"/>
          </p:nvPr>
        </p:nvSpPr>
        <p:spPr>
          <a:xfrm>
            <a:off x="609600"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382777"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9">
            <a:extLst>
              <a:ext uri="{FF2B5EF4-FFF2-40B4-BE49-F238E27FC236}">
                <a16:creationId xmlns:a16="http://schemas.microsoft.com/office/drawing/2014/main" id="{986B4E32-8D99-9493-A159-B21154F0A63E}"/>
              </a:ext>
            </a:extLst>
          </p:cNvPr>
          <p:cNvSpPr>
            <a:spLocks noGrp="1"/>
          </p:cNvSpPr>
          <p:nvPr>
            <p:ph type="body" sz="quarter" idx="21" hasCustomPrompt="1"/>
          </p:nvPr>
        </p:nvSpPr>
        <p:spPr>
          <a:xfrm>
            <a:off x="8153401"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170425401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Grid Six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943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943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00150"/>
            <a:ext cx="10970247" cy="4667250"/>
            <a:chOff x="609600" y="1200150"/>
            <a:chExt cx="10970247" cy="466725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421005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0A57B38-92C2-7376-8D15-F988849DBCF7}"/>
                </a:ext>
              </a:extLst>
            </p:cNvPr>
            <p:cNvCxnSpPr>
              <a:cxnSpLocks/>
            </p:cNvCxnSpPr>
            <p:nvPr userDrawn="1"/>
          </p:nvCxnSpPr>
          <p:spPr>
            <a:xfrm flipV="1">
              <a:off x="7991475" y="120015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4517405"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0" name="Content Placeholder 2">
            <a:extLst>
              <a:ext uri="{FF2B5EF4-FFF2-40B4-BE49-F238E27FC236}">
                <a16:creationId xmlns:a16="http://schemas.microsoft.com/office/drawing/2014/main" id="{7DCC6415-F2FB-89EE-2944-F0BCCFC4BE62}"/>
              </a:ext>
            </a:extLst>
          </p:cNvPr>
          <p:cNvSpPr>
            <a:spLocks noGrp="1"/>
          </p:cNvSpPr>
          <p:nvPr>
            <p:ph idx="28" hasCustomPrompt="1"/>
          </p:nvPr>
        </p:nvSpPr>
        <p:spPr>
          <a:xfrm>
            <a:off x="8714098" y="1888561"/>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1" name="Text Placeholder 9">
            <a:extLst>
              <a:ext uri="{FF2B5EF4-FFF2-40B4-BE49-F238E27FC236}">
                <a16:creationId xmlns:a16="http://schemas.microsoft.com/office/drawing/2014/main" id="{D2519197-4EDB-7B44-D048-7FE409D25AFE}"/>
              </a:ext>
            </a:extLst>
          </p:cNvPr>
          <p:cNvSpPr>
            <a:spLocks noGrp="1"/>
          </p:cNvSpPr>
          <p:nvPr>
            <p:ph type="body" sz="quarter" idx="29" hasCustomPrompt="1"/>
          </p:nvPr>
        </p:nvSpPr>
        <p:spPr>
          <a:xfrm>
            <a:off x="8714097"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2" name="Group 41">
            <a:extLst>
              <a:ext uri="{FF2B5EF4-FFF2-40B4-BE49-F238E27FC236}">
                <a16:creationId xmlns:a16="http://schemas.microsoft.com/office/drawing/2014/main" id="{F547BF1F-2DD4-9D0C-8CEF-DCCF864E030F}"/>
              </a:ext>
            </a:extLst>
          </p:cNvPr>
          <p:cNvGrpSpPr>
            <a:grpSpLocks noChangeAspect="1"/>
          </p:cNvGrpSpPr>
          <p:nvPr userDrawn="1"/>
        </p:nvGrpSpPr>
        <p:grpSpPr>
          <a:xfrm>
            <a:off x="8288027" y="1337851"/>
            <a:ext cx="365760" cy="365760"/>
            <a:chOff x="1161489" y="1923489"/>
            <a:chExt cx="457200" cy="457200"/>
          </a:xfrm>
        </p:grpSpPr>
        <p:sp>
          <p:nvSpPr>
            <p:cNvPr id="43" name="Rounded Rectangle 30">
              <a:extLst>
                <a:ext uri="{FF2B5EF4-FFF2-40B4-BE49-F238E27FC236}">
                  <a16:creationId xmlns:a16="http://schemas.microsoft.com/office/drawing/2014/main" id="{418FCA71-3C5E-EDB0-2AB3-0D641C9B30EB}"/>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4" name="Graphic 43" descr="Checkmark with solid fill">
              <a:extLst>
                <a:ext uri="{FF2B5EF4-FFF2-40B4-BE49-F238E27FC236}">
                  <a16:creationId xmlns:a16="http://schemas.microsoft.com/office/drawing/2014/main" id="{6DFE2BE5-E9C5-0CC7-0B12-50B243FAFEC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4943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4943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4517403"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5" name="Content Placeholder 2">
            <a:extLst>
              <a:ext uri="{FF2B5EF4-FFF2-40B4-BE49-F238E27FC236}">
                <a16:creationId xmlns:a16="http://schemas.microsoft.com/office/drawing/2014/main" id="{C08056FB-BF77-D0E8-5B85-DE5AA20E0E7D}"/>
              </a:ext>
            </a:extLst>
          </p:cNvPr>
          <p:cNvSpPr>
            <a:spLocks noGrp="1"/>
          </p:cNvSpPr>
          <p:nvPr>
            <p:ph idx="34" hasCustomPrompt="1"/>
          </p:nvPr>
        </p:nvSpPr>
        <p:spPr>
          <a:xfrm>
            <a:off x="8714096" y="4352007"/>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6" name="Text Placeholder 9">
            <a:extLst>
              <a:ext uri="{FF2B5EF4-FFF2-40B4-BE49-F238E27FC236}">
                <a16:creationId xmlns:a16="http://schemas.microsoft.com/office/drawing/2014/main" id="{1441E5D8-B614-5958-97D8-4AAF59FC38F2}"/>
              </a:ext>
            </a:extLst>
          </p:cNvPr>
          <p:cNvSpPr>
            <a:spLocks noGrp="1"/>
          </p:cNvSpPr>
          <p:nvPr>
            <p:ph type="body" sz="quarter" idx="35" hasCustomPrompt="1"/>
          </p:nvPr>
        </p:nvSpPr>
        <p:spPr>
          <a:xfrm>
            <a:off x="8714095"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7" name="Group 56">
            <a:extLst>
              <a:ext uri="{FF2B5EF4-FFF2-40B4-BE49-F238E27FC236}">
                <a16:creationId xmlns:a16="http://schemas.microsoft.com/office/drawing/2014/main" id="{BEEFC022-A505-A170-665B-893FA044C1BB}"/>
              </a:ext>
            </a:extLst>
          </p:cNvPr>
          <p:cNvGrpSpPr>
            <a:grpSpLocks noChangeAspect="1"/>
          </p:cNvGrpSpPr>
          <p:nvPr userDrawn="1"/>
        </p:nvGrpSpPr>
        <p:grpSpPr>
          <a:xfrm>
            <a:off x="8288025" y="3801297"/>
            <a:ext cx="365760" cy="365760"/>
            <a:chOff x="1161489" y="1923489"/>
            <a:chExt cx="457200" cy="457200"/>
          </a:xfrm>
        </p:grpSpPr>
        <p:sp>
          <p:nvSpPr>
            <p:cNvPr id="58" name="Rounded Rectangle 30">
              <a:extLst>
                <a:ext uri="{FF2B5EF4-FFF2-40B4-BE49-F238E27FC236}">
                  <a16:creationId xmlns:a16="http://schemas.microsoft.com/office/drawing/2014/main" id="{6DC2B077-69BC-A87D-5818-2C1F18BD0E1A}"/>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9" name="Graphic 58" descr="Checkmark with solid fill">
              <a:extLst>
                <a:ext uri="{FF2B5EF4-FFF2-40B4-BE49-F238E27FC236}">
                  <a16:creationId xmlns:a16="http://schemas.microsoft.com/office/drawing/2014/main" id="{35DB04CB-A210-EE42-2EDB-0410D1CBB28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325934492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Grid Four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6844893"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6844891"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19200"/>
            <a:ext cx="10970247" cy="4648200"/>
            <a:chOff x="609600" y="1219200"/>
            <a:chExt cx="10970247" cy="464820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609600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6418822"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4"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6844891"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6844889"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6418820"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2"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332961790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isual &amp; Tex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C9A9C-1F1D-7B13-A172-E1E3D876715A}"/>
              </a:ext>
            </a:extLst>
          </p:cNvPr>
          <p:cNvSpPr>
            <a:spLocks noGrp="1"/>
          </p:cNvSpPr>
          <p:nvPr>
            <p:ph type="title" hasCustomPrompt="1"/>
          </p:nvPr>
        </p:nvSpPr>
        <p:spPr/>
        <p:txBody>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10" name="Content Placeholder 2">
            <a:extLst>
              <a:ext uri="{FF2B5EF4-FFF2-40B4-BE49-F238E27FC236}">
                <a16:creationId xmlns:a16="http://schemas.microsoft.com/office/drawing/2014/main" id="{B91E5054-03B7-DBB6-FD72-2384015A20EA}"/>
              </a:ext>
            </a:extLst>
          </p:cNvPr>
          <p:cNvSpPr>
            <a:spLocks noGrp="1"/>
          </p:cNvSpPr>
          <p:nvPr>
            <p:ph idx="20" hasCustomPrompt="1"/>
          </p:nvPr>
        </p:nvSpPr>
        <p:spPr>
          <a:xfrm>
            <a:off x="8375904" y="1447800"/>
            <a:ext cx="3203944"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4850ED68-9AA5-EB85-CFAB-831B927DF76E}"/>
              </a:ext>
            </a:extLst>
          </p:cNvPr>
          <p:cNvSpPr>
            <a:spLocks noGrp="1"/>
          </p:cNvSpPr>
          <p:nvPr>
            <p:ph idx="21" hasCustomPrompt="1"/>
          </p:nvPr>
        </p:nvSpPr>
        <p:spPr>
          <a:xfrm>
            <a:off x="381000" y="1447800"/>
            <a:ext cx="7772399"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793477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Visual &amp; Text 2">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59D609AE-CE09-C774-5AAA-5F44219B7E72}"/>
              </a:ext>
            </a:extLst>
          </p:cNvPr>
          <p:cNvSpPr>
            <a:spLocks noGrp="1"/>
          </p:cNvSpPr>
          <p:nvPr>
            <p:ph idx="20" hasCustomPrompt="1"/>
          </p:nvPr>
        </p:nvSpPr>
        <p:spPr>
          <a:xfrm>
            <a:off x="8724900" y="2143759"/>
            <a:ext cx="3108960" cy="36576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C562A788-3FBD-AC78-96BF-9CC5E02EA62C}"/>
              </a:ext>
            </a:extLst>
          </p:cNvPr>
          <p:cNvSpPr>
            <a:spLocks noGrp="1"/>
          </p:cNvSpPr>
          <p:nvPr>
            <p:ph type="body" sz="quarter" idx="21" hasCustomPrompt="1"/>
          </p:nvPr>
        </p:nvSpPr>
        <p:spPr>
          <a:xfrm>
            <a:off x="8724900" y="1242800"/>
            <a:ext cx="3108960" cy="8229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marL="0" marR="0" lvl="0" indent="0" algn="l" defTabSz="121917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a:pPr>
            <a:r>
              <a:rPr lang="en-US"/>
              <a:t>Click to edit title</a:t>
            </a:r>
          </a:p>
        </p:txBody>
      </p:sp>
      <p:sp>
        <p:nvSpPr>
          <p:cNvPr id="2" name="Content Placeholder 2">
            <a:extLst>
              <a:ext uri="{FF2B5EF4-FFF2-40B4-BE49-F238E27FC236}">
                <a16:creationId xmlns:a16="http://schemas.microsoft.com/office/drawing/2014/main" id="{EE855AA4-22AC-B470-96BD-5604052CD9BD}"/>
              </a:ext>
            </a:extLst>
          </p:cNvPr>
          <p:cNvSpPr>
            <a:spLocks noGrp="1"/>
          </p:cNvSpPr>
          <p:nvPr>
            <p:ph idx="22" hasCustomPrompt="1"/>
          </p:nvPr>
        </p:nvSpPr>
        <p:spPr>
          <a:xfrm>
            <a:off x="381000" y="1242800"/>
            <a:ext cx="8127999" cy="45720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962366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Section 1">
    <p:bg>
      <p:bgPr>
        <a:solidFill>
          <a:srgbClr val="00003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F946ACA-A5AA-EED2-C848-6ED9133153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Box 1">
            <a:extLst>
              <a:ext uri="{FF2B5EF4-FFF2-40B4-BE49-F238E27FC236}">
                <a16:creationId xmlns:a16="http://schemas.microsoft.com/office/drawing/2014/main" id="{09465EFD-2BDD-1D40-975C-9BB4BDE2AE8E}"/>
              </a:ext>
            </a:extLst>
          </p:cNvPr>
          <p:cNvSpPr txBox="1"/>
          <p:nvPr userDrawn="1"/>
        </p:nvSpPr>
        <p:spPr>
          <a:xfrm>
            <a:off x="-357447" y="3690851"/>
            <a:ext cx="0" cy="0"/>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ctr">
            <a:normAutofit fontScale="25000" lnSpcReduction="20000"/>
          </a:bodyPr>
          <a:lstStyle/>
          <a:p>
            <a:pPr algn="l"/>
            <a:endParaRPr lang="en-US" sz="4400" b="0" i="0" kern="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Footer Placeholder 4">
            <a:extLst>
              <a:ext uri="{FF2B5EF4-FFF2-40B4-BE49-F238E27FC236}">
                <a16:creationId xmlns:a16="http://schemas.microsoft.com/office/drawing/2014/main" id="{45E1E5AA-4AE0-A751-5E7E-4A46F9283F00}"/>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6" name="Graphic 5">
            <a:extLst>
              <a:ext uri="{FF2B5EF4-FFF2-40B4-BE49-F238E27FC236}">
                <a16:creationId xmlns:a16="http://schemas.microsoft.com/office/drawing/2014/main" id="{ACF16567-3476-234C-F230-34791BA12D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8" name="Text Box 92">
            <a:extLst>
              <a:ext uri="{FF2B5EF4-FFF2-40B4-BE49-F238E27FC236}">
                <a16:creationId xmlns:a16="http://schemas.microsoft.com/office/drawing/2014/main" id="{C30F8BBC-3861-688C-7ECC-25674554608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12042B61-7F7F-EB1D-31A7-31178B719617}"/>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9021467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ection 2">
    <p:bg>
      <p:bgPr>
        <a:solidFill>
          <a:srgbClr val="F5F8FD"/>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1827E4B-E306-81BA-D9E8-0ECE54D931F8}"/>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Footer Placeholder 4">
            <a:extLst>
              <a:ext uri="{FF2B5EF4-FFF2-40B4-BE49-F238E27FC236}">
                <a16:creationId xmlns:a16="http://schemas.microsoft.com/office/drawing/2014/main" id="{2B0907F5-52ED-9C0D-B057-E38D08DA6B02}"/>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4" name="Graphic 3">
            <a:extLst>
              <a:ext uri="{FF2B5EF4-FFF2-40B4-BE49-F238E27FC236}">
                <a16:creationId xmlns:a16="http://schemas.microsoft.com/office/drawing/2014/main" id="{440F785A-3107-6D3E-C9E6-B2AA5C58504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2719AF64-4315-1813-2084-A6D0BE13CBE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D4B5ACA5-87F8-8BC7-261E-60FF8E58F533}"/>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408496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Section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9BCF50-C4CD-C162-E06D-4CBD5C2DD811}"/>
              </a:ext>
            </a:extLst>
          </p:cNvPr>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36C061D7-9E76-8737-471B-3FDFB6F8E57E}"/>
              </a:ext>
            </a:extLst>
          </p:cNvPr>
          <p:cNvSpPr/>
          <p:nvPr userDrawn="1"/>
        </p:nvSpPr>
        <p:spPr>
          <a:xfrm>
            <a:off x="0" y="0"/>
            <a:ext cx="12192000" cy="6858000"/>
          </a:xfrm>
          <a:prstGeom prst="rect">
            <a:avLst/>
          </a:prstGeom>
          <a:gradFill flip="none" rotWithShape="1">
            <a:gsLst>
              <a:gs pos="0">
                <a:schemeClr val="accent2">
                  <a:lumMod val="75000"/>
                </a:schemeClr>
              </a:gs>
              <a:gs pos="100000">
                <a:schemeClr val="accent3">
                  <a:lumMod val="75000"/>
                  <a:alpha val="79903"/>
                </a:schemeClr>
              </a:gs>
            </a:gsLst>
            <a:lin ang="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0B7E309B-9BFF-D88D-FF7C-E65F09F6E2D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4" name="Title 1">
            <a:extLst>
              <a:ext uri="{FF2B5EF4-FFF2-40B4-BE49-F238E27FC236}">
                <a16:creationId xmlns:a16="http://schemas.microsoft.com/office/drawing/2014/main" id="{F5662734-77ED-EF2A-B73D-353976AD01F4}"/>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B9DEB9FE-E9AB-5F44-C73D-D7DD69A9934B}"/>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6" name="Footer Placeholder 4">
            <a:extLst>
              <a:ext uri="{FF2B5EF4-FFF2-40B4-BE49-F238E27FC236}">
                <a16:creationId xmlns:a16="http://schemas.microsoft.com/office/drawing/2014/main" id="{6D790AFE-B243-3E1A-D68D-C7D6ADFB60B8}"/>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sp>
        <p:nvSpPr>
          <p:cNvPr id="7" name="Text Box 92">
            <a:extLst>
              <a:ext uri="{FF2B5EF4-FFF2-40B4-BE49-F238E27FC236}">
                <a16:creationId xmlns:a16="http://schemas.microsoft.com/office/drawing/2014/main" id="{6DBABA46-43E0-5208-A011-26D401F9E70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10" name="Slide Number Placeholder 5">
            <a:extLst>
              <a:ext uri="{FF2B5EF4-FFF2-40B4-BE49-F238E27FC236}">
                <a16:creationId xmlns:a16="http://schemas.microsoft.com/office/drawing/2014/main" id="{280BCE49-B135-816A-9434-9B6A1DFED8D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2010909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Branded">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57F405F9-D6B0-E463-4908-CA589AF18D10}"/>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93397995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C53B9-FF92-7DC2-B8CC-3BEE1F497CED}"/>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385723103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otally Blank">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112011757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D36F64-BEDC-DE00-3D63-8D02C212CC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981198" y="4705464"/>
            <a:ext cx="8229600" cy="457200"/>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Jane Doe | CEO, Company</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5357397" y="135856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5400" b="0" i="0">
                <a:solidFill>
                  <a:schemeClr val="tx2"/>
                </a:solidFill>
                <a:latin typeface="Open Sans" panose="020B0606030504020204" pitchFamily="34" charset="0"/>
                <a:ea typeface="Open Sans" panose="020B0606030504020204" pitchFamily="34" charset="0"/>
                <a:cs typeface="Open Sans" panose="020B0606030504020204" pitchFamily="34" charset="0"/>
              </a:rPr>
              <a:t>“ ” </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1981198" y="2101736"/>
            <a:ext cx="8229600" cy="2286000"/>
          </a:xfrm>
        </p:spPr>
        <p:txBody>
          <a:bodyPr/>
          <a:lstStyle>
            <a:lvl1pPr marL="0" indent="0" algn="ctr">
              <a:lnSpc>
                <a:spcPct val="120000"/>
              </a:lnSpc>
              <a:spcBef>
                <a:spcPts val="600"/>
              </a:spcBef>
              <a:buNone/>
              <a:defRPr b="0" i="0">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2" name="Footer Placeholder 4">
            <a:extLst>
              <a:ext uri="{FF2B5EF4-FFF2-40B4-BE49-F238E27FC236}">
                <a16:creationId xmlns:a16="http://schemas.microsoft.com/office/drawing/2014/main" id="{0CA5C54C-5BEF-8BD2-417E-0F91888C65DD}"/>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5" name="Graphic 4">
            <a:extLst>
              <a:ext uri="{FF2B5EF4-FFF2-40B4-BE49-F238E27FC236}">
                <a16:creationId xmlns:a16="http://schemas.microsoft.com/office/drawing/2014/main" id="{253EEEED-11B5-D1FD-B00A-8F102F25489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9" name="Text Box 92">
            <a:extLst>
              <a:ext uri="{FF2B5EF4-FFF2-40B4-BE49-F238E27FC236}">
                <a16:creationId xmlns:a16="http://schemas.microsoft.com/office/drawing/2014/main" id="{66C4394F-1EBA-BB96-1E44-0793D8C7B86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7F779458-B9EA-CDC4-F33A-E90B326C9D02}"/>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6856107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4" name="Speech Bubble: Rectangle with Corners Rounded 3">
            <a:extLst>
              <a:ext uri="{FF2B5EF4-FFF2-40B4-BE49-F238E27FC236}">
                <a16:creationId xmlns:a16="http://schemas.microsoft.com/office/drawing/2014/main" id="{53C3751A-635A-CF50-DDB9-0318FD9CB5FD}"/>
              </a:ext>
            </a:extLst>
          </p:cNvPr>
          <p:cNvSpPr/>
          <p:nvPr userDrawn="1"/>
        </p:nvSpPr>
        <p:spPr>
          <a:xfrm>
            <a:off x="4021240" y="1283100"/>
            <a:ext cx="7132320" cy="3474720"/>
          </a:xfrm>
          <a:prstGeom prst="wedgeRoundRectCallout">
            <a:avLst>
              <a:gd name="adj1" fmla="val -59634"/>
              <a:gd name="adj2" fmla="val -8252"/>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005194" y="4052999"/>
            <a:ext cx="2128837" cy="353470"/>
          </a:xfrm>
        </p:spPr>
        <p:txBody>
          <a:bodyPr>
            <a:noAutofit/>
          </a:bodyPr>
          <a:lstStyle>
            <a:lvl1pPr marL="0" indent="0" algn="ctr">
              <a:buNone/>
              <a:defRPr lang="en-US" sz="1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name</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3882507" y="145935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7200" b="0" i="0">
                <a:solidFill>
                  <a:schemeClr val="accent2">
                    <a:lumMod val="75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4854780" y="1832997"/>
            <a:ext cx="5943600" cy="2286000"/>
          </a:xfrm>
        </p:spPr>
        <p:txBody>
          <a:bodyPr/>
          <a:lstStyle>
            <a:lvl1pPr marL="0" indent="0" algn="l">
              <a:lnSpc>
                <a:spcPct val="120000"/>
              </a:lnSpc>
              <a:spcBef>
                <a:spcPts val="600"/>
              </a:spcBef>
              <a:buNone/>
              <a:defRPr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6" name="Picture Placeholder 5">
            <a:extLst>
              <a:ext uri="{FF2B5EF4-FFF2-40B4-BE49-F238E27FC236}">
                <a16:creationId xmlns:a16="http://schemas.microsoft.com/office/drawing/2014/main" id="{55647432-2A62-2A47-F81C-A724F979227C}"/>
              </a:ext>
            </a:extLst>
          </p:cNvPr>
          <p:cNvSpPr>
            <a:spLocks noGrp="1"/>
          </p:cNvSpPr>
          <p:nvPr>
            <p:ph type="pic" sz="quarter" idx="18"/>
          </p:nvPr>
        </p:nvSpPr>
        <p:spPr>
          <a:xfrm>
            <a:off x="1005193" y="1821067"/>
            <a:ext cx="2128838" cy="2127250"/>
          </a:xfrm>
        </p:spPr>
        <p:txBody>
          <a:bodyPr/>
          <a:lstStyle>
            <a:lvl1pPr>
              <a:defRPr b="0" i="0">
                <a:latin typeface="Open Sans" panose="020B0606030504020204" pitchFamily="34" charset="0"/>
                <a:ea typeface="Open Sans" panose="020B0606030504020204" pitchFamily="34" charset="0"/>
                <a:cs typeface="Open Sans" panose="020B0606030504020204" pitchFamily="34" charset="0"/>
              </a:defRPr>
            </a:lvl1pPr>
          </a:lstStyle>
          <a:p>
            <a:r>
              <a:rPr lang="en-US"/>
              <a:t>Click icon to add picture</a:t>
            </a:r>
          </a:p>
        </p:txBody>
      </p:sp>
      <p:sp>
        <p:nvSpPr>
          <p:cNvPr id="9" name="Text Placeholder 9">
            <a:extLst>
              <a:ext uri="{FF2B5EF4-FFF2-40B4-BE49-F238E27FC236}">
                <a16:creationId xmlns:a16="http://schemas.microsoft.com/office/drawing/2014/main" id="{6276E121-90C4-1E7B-4D2F-23C799CA9853}"/>
              </a:ext>
            </a:extLst>
          </p:cNvPr>
          <p:cNvSpPr>
            <a:spLocks noGrp="1"/>
          </p:cNvSpPr>
          <p:nvPr>
            <p:ph type="body" sz="quarter" idx="19" hasCustomPrompt="1"/>
          </p:nvPr>
        </p:nvSpPr>
        <p:spPr>
          <a:xfrm>
            <a:off x="1005193" y="4502389"/>
            <a:ext cx="2128836" cy="813616"/>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title and company</a:t>
            </a:r>
          </a:p>
        </p:txBody>
      </p:sp>
    </p:spTree>
    <p:extLst>
      <p:ext uri="{BB962C8B-B14F-4D97-AF65-F5344CB8AC3E}">
        <p14:creationId xmlns:p14="http://schemas.microsoft.com/office/powerpoint/2010/main" val="84394646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Logo Only">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pic>
        <p:nvPicPr>
          <p:cNvPr id="2" name="Graphic 1">
            <a:extLst>
              <a:ext uri="{FF2B5EF4-FFF2-40B4-BE49-F238E27FC236}">
                <a16:creationId xmlns:a16="http://schemas.microsoft.com/office/drawing/2014/main" id="{5F5FD03C-2AA3-4ADE-188F-80933E1A45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52800" y="2369005"/>
            <a:ext cx="5486400" cy="2119989"/>
          </a:xfrm>
          <a:prstGeom prst="rect">
            <a:avLst/>
          </a:prstGeom>
        </p:spPr>
      </p:pic>
    </p:spTree>
    <p:extLst>
      <p:ext uri="{BB962C8B-B14F-4D97-AF65-F5344CB8AC3E}">
        <p14:creationId xmlns:p14="http://schemas.microsoft.com/office/powerpoint/2010/main" val="407987665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43334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6A638F1-B6E2-A7B8-7F3D-5814FC4807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62500" y="1552575"/>
            <a:ext cx="7429500" cy="5305425"/>
          </a:xfrm>
          <a:prstGeom prst="rect">
            <a:avLst/>
          </a:prstGeom>
        </p:spPr>
      </p:pic>
      <p:sp>
        <p:nvSpPr>
          <p:cNvPr id="11" name="Title 1">
            <a:extLst>
              <a:ext uri="{FF2B5EF4-FFF2-40B4-BE49-F238E27FC236}">
                <a16:creationId xmlns:a16="http://schemas.microsoft.com/office/drawing/2014/main" id="{11191324-3A4D-B745-BDAC-FA074E5EA914}"/>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12" name="Subtitle 2">
            <a:extLst>
              <a:ext uri="{FF2B5EF4-FFF2-40B4-BE49-F238E27FC236}">
                <a16:creationId xmlns:a16="http://schemas.microsoft.com/office/drawing/2014/main" id="{77A44848-3A08-1545-98D7-3523DA9848F7}"/>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2" name="Graphic 1">
            <a:extLst>
              <a:ext uri="{FF2B5EF4-FFF2-40B4-BE49-F238E27FC236}">
                <a16:creationId xmlns:a16="http://schemas.microsoft.com/office/drawing/2014/main" id="{D24E8A85-6C91-146B-087A-D3B1F1AC61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3" name="Text Box 92">
            <a:extLst>
              <a:ext uri="{FF2B5EF4-FFF2-40B4-BE49-F238E27FC236}">
                <a16:creationId xmlns:a16="http://schemas.microsoft.com/office/drawing/2014/main" id="{3BF45DA8-68D1-8131-9975-4F39534CB32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418452258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C43D9B-44E5-5227-2E45-EF9EF0AB6A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0100" y="2057400"/>
            <a:ext cx="7581900" cy="4819650"/>
          </a:xfrm>
          <a:prstGeom prst="rect">
            <a:avLst/>
          </a:prstGeom>
        </p:spPr>
      </p:pic>
      <p:pic>
        <p:nvPicPr>
          <p:cNvPr id="9" name="Graphic 8">
            <a:extLst>
              <a:ext uri="{FF2B5EF4-FFF2-40B4-BE49-F238E27FC236}">
                <a16:creationId xmlns:a16="http://schemas.microsoft.com/office/drawing/2014/main" id="{6AF26A37-6D9C-028E-B089-617CA487F7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03B90F01-9144-92B6-4A82-AD6C6A59A290}"/>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6" name="Subtitle 2">
            <a:extLst>
              <a:ext uri="{FF2B5EF4-FFF2-40B4-BE49-F238E27FC236}">
                <a16:creationId xmlns:a16="http://schemas.microsoft.com/office/drawing/2014/main" id="{40B2C54C-82AC-6F71-3673-3413CCC132F8}"/>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4C068EF-639A-971F-5B13-7F9CD52D7CC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42931618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CE662D8-62C3-47F2-EDE3-9DB967B3CC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34025" y="1104900"/>
            <a:ext cx="6657975" cy="5753100"/>
          </a:xfrm>
          <a:prstGeom prst="rect">
            <a:avLst/>
          </a:prstGeom>
        </p:spPr>
      </p:pic>
      <p:pic>
        <p:nvPicPr>
          <p:cNvPr id="7" name="Graphic 6">
            <a:extLst>
              <a:ext uri="{FF2B5EF4-FFF2-40B4-BE49-F238E27FC236}">
                <a16:creationId xmlns:a16="http://schemas.microsoft.com/office/drawing/2014/main" id="{5DFEFA29-493C-1925-FDD7-818B07FD3F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2627850A-8FA8-CAAF-0158-84DBDE327DF9}"/>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8" name="Subtitle 2">
            <a:extLst>
              <a:ext uri="{FF2B5EF4-FFF2-40B4-BE49-F238E27FC236}">
                <a16:creationId xmlns:a16="http://schemas.microsoft.com/office/drawing/2014/main" id="{94BA46CF-A280-58D5-246B-2DF37611893F}"/>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12867A4-1FF1-9652-48AE-B5949D27B84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12996467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Agenda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6096000" y="0"/>
            <a:ext cx="609043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6760299" y="1423416"/>
            <a:ext cx="4761835" cy="4011168"/>
          </a:xfrm>
        </p:spPr>
        <p:txBody>
          <a:bodyPr anchor="ctr">
            <a:noAutofit/>
          </a:bodyPr>
          <a:lstStyle>
            <a:lvl1pPr marL="228600" indent="-228600">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FAA20DFE-70D2-CF4D-BCBB-4A953010B701}"/>
              </a:ext>
            </a:extLst>
          </p:cNvPr>
          <p:cNvSpPr>
            <a:spLocks noGrp="1"/>
          </p:cNvSpPr>
          <p:nvPr>
            <p:ph type="title"/>
          </p:nvPr>
        </p:nvSpPr>
        <p:spPr>
          <a:xfrm>
            <a:off x="887895" y="801624"/>
            <a:ext cx="4318089" cy="2356104"/>
          </a:xfrm>
        </p:spPr>
        <p:txBody>
          <a:bodyPr anchor="b"/>
          <a:lstStyle>
            <a:lvl1pPr>
              <a:defRPr sz="4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a:t>
            </a:r>
          </a:p>
        </p:txBody>
      </p:sp>
      <p:sp>
        <p:nvSpPr>
          <p:cNvPr id="6" name="Text Placeholder 9">
            <a:extLst>
              <a:ext uri="{FF2B5EF4-FFF2-40B4-BE49-F238E27FC236}">
                <a16:creationId xmlns:a16="http://schemas.microsoft.com/office/drawing/2014/main" id="{05D0DC0F-FDE9-1848-AD3E-95851A341261}"/>
              </a:ext>
            </a:extLst>
          </p:cNvPr>
          <p:cNvSpPr>
            <a:spLocks noGrp="1"/>
          </p:cNvSpPr>
          <p:nvPr>
            <p:ph type="body" sz="quarter" idx="17" hasCustomPrompt="1"/>
          </p:nvPr>
        </p:nvSpPr>
        <p:spPr>
          <a:xfrm>
            <a:off x="887413" y="3239390"/>
            <a:ext cx="4318000" cy="1008888"/>
          </a:xfrm>
        </p:spPr>
        <p:txBody>
          <a:bodyPr>
            <a:noAutofit/>
          </a:bodyPr>
          <a:lstStyle>
            <a:lvl1pPr marL="0" indent="0">
              <a:buNone/>
              <a:defRPr lang="en-US" sz="2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r>
              <a:rPr lang="en-US"/>
              <a:t>Click to edit subtitle</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E40FFB5E-A62A-2D74-54FC-40E139B23BF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8322364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412045" y="954155"/>
            <a:ext cx="2833510" cy="4949687"/>
          </a:xfrm>
        </p:spPr>
        <p:txBody>
          <a:bodyPr anchor="t">
            <a:noAutofit/>
          </a:bodyPr>
          <a:lstStyle>
            <a:lvl1pPr marL="0" inden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44235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DD8DD629-CE62-2B44-686E-C8D97BF02A10}"/>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065978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338139"/>
            <a:ext cx="11430000" cy="1122528"/>
          </a:xfrm>
        </p:spPr>
        <p:txBody>
          <a:bodyPr anchor="b">
            <a:normAutofit/>
          </a:bodyPr>
          <a:lstStyle>
            <a:lvl1pPr>
              <a:defRPr sz="4000" b="1" i="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357807440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853440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8946445" y="954155"/>
            <a:ext cx="2833510" cy="4949687"/>
          </a:xfrm>
        </p:spPr>
        <p:txBody>
          <a:bodyPr anchor="t">
            <a:noAutofit/>
          </a:bodyPr>
          <a:lstStyle>
            <a:lvl1pPr marL="0" indent="0">
              <a:buFont typeface="Arial" panose="020B0604020202020204" pitchFamily="34" charse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7659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7AB9DE36-93EE-5F1D-B2F7-934AEF322D4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4728206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720B5-B745-42C3-9BE3-1DEFB1BB2964}"/>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3" name="Content Placeholder 2">
            <a:extLst>
              <a:ext uri="{FF2B5EF4-FFF2-40B4-BE49-F238E27FC236}">
                <a16:creationId xmlns:a16="http://schemas.microsoft.com/office/drawing/2014/main" id="{3EA42DD3-EE0E-47DC-B9A6-3CDAE75AA5D9}"/>
              </a:ext>
            </a:extLst>
          </p:cNvPr>
          <p:cNvSpPr>
            <a:spLocks noGrp="1"/>
          </p:cNvSpPr>
          <p:nvPr>
            <p:ph idx="1" hasCustomPrompt="1"/>
          </p:nvPr>
        </p:nvSpPr>
        <p:spPr>
          <a:xfrm>
            <a:off x="381000" y="1066800"/>
            <a:ext cx="11430000" cy="5029200"/>
          </a:xfrm>
        </p:spPr>
        <p:txBody>
          <a:bodyPr/>
          <a:lstStyle>
            <a:lvl1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28405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C53B9-FF92-7DC2-B8CC-3BEE1F497CED}"/>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28518041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338139"/>
            <a:ext cx="11430000" cy="1122528"/>
          </a:xfrm>
        </p:spPr>
        <p:txBody>
          <a:bodyPr anchor="b">
            <a:normAutofit/>
          </a:bodyPr>
          <a:lstStyle>
            <a:lvl1pPr>
              <a:defRPr sz="4000" b="1" i="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5649033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Emphasis">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78A86BC-81A0-D64A-8E1C-839DCC18C7D8}"/>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CA97B3DF-AE92-604F-9263-CEE3C35F7CFE}"/>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11363665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Business Wo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2DDDBE96-C72E-A94B-0D67-F51DB499ECD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C3ABB9F6-F192-48B4-D09E-E2F065648E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610A513C-8357-4D6C-EF6F-BD685AD8A3B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CEFD2A14-B2F1-4B2A-B82D-7681E9F4C6F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F59D9166-27EA-0592-45FD-8480DA61A701}"/>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154917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usiness 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78B3FD4F-770F-E7EC-81A0-45718D40CC59}"/>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373B6521-B3E6-25A2-EAB6-C3D40E2D71B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53588A47-6BEA-B4A7-A211-EA9DE3EE73A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7D326E3C-0BD8-6294-2B89-AE946101171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790F872-9520-EB1F-9EAA-FEBDE9EBC37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683724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Manufacturin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67B63D-7099-3F57-C03C-3CDA1C73F3F5}"/>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C8F2BBB2-DB59-4E0F-1D53-745462D53AF8}"/>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0EB61488-405B-9EE9-4F60-D62969654BB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583571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ocer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04AB27-5EDE-E210-D67A-7E688C2BE419}"/>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pic>
        <p:nvPicPr>
          <p:cNvPr id="9" name="Graphic 8">
            <a:extLst>
              <a:ext uri="{FF2B5EF4-FFF2-40B4-BE49-F238E27FC236}">
                <a16:creationId xmlns:a16="http://schemas.microsoft.com/office/drawing/2014/main" id="{46954B25-EFFE-9298-4DF7-9124EF4A0C9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6CC5FCEF-DA56-0308-2EB0-254DAC7E5ACB}"/>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741E72A9-1849-7F2B-CB01-9104792FF95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220755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Retail">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B741AE74-1BB3-C9B1-F81A-3662076861D3}"/>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10815CF8-5FAD-0C60-5E3A-EEC56204B73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B9FA2EAE-F132-9C58-FF7A-5763E8D25B4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D1357D72-C1D7-5893-D14C-F984DA4D92E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B2B1E7AA-EE8B-21F1-358F-342DF1874C8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811415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2.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9" Type="http://schemas.openxmlformats.org/officeDocument/2006/relationships/image" Target="../media/image1.png"/><Relationship Id="rId21" Type="http://schemas.openxmlformats.org/officeDocument/2006/relationships/slideLayout" Target="../slideLayouts/slideLayout68.xml"/><Relationship Id="rId34" Type="http://schemas.openxmlformats.org/officeDocument/2006/relationships/slideLayout" Target="../slideLayouts/slideLayout81.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38" Type="http://schemas.openxmlformats.org/officeDocument/2006/relationships/theme" Target="../theme/theme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37" Type="http://schemas.openxmlformats.org/officeDocument/2006/relationships/slideLayout" Target="../slideLayouts/slideLayout84.xml"/><Relationship Id="rId40" Type="http://schemas.openxmlformats.org/officeDocument/2006/relationships/image" Target="../media/image2.svg"/><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slideLayout" Target="../slideLayouts/slideLayout83.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slideLayout" Target="../slideLayouts/slideLayout78.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slideLayout" Target="../slideLayouts/slideLayout82.xml"/><Relationship Id="rId8" Type="http://schemas.openxmlformats.org/officeDocument/2006/relationships/slideLayout" Target="../slideLayouts/slideLayout55.xml"/><Relationship Id="rId3"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9" Type="http://schemas.openxmlformats.org/officeDocument/2006/relationships/slideLayout" Target="../slideLayouts/slideLayout123.xml"/><Relationship Id="rId21" Type="http://schemas.openxmlformats.org/officeDocument/2006/relationships/slideLayout" Target="../slideLayouts/slideLayout105.xml"/><Relationship Id="rId34" Type="http://schemas.openxmlformats.org/officeDocument/2006/relationships/slideLayout" Target="../slideLayouts/slideLayout118.xml"/><Relationship Id="rId42" Type="http://schemas.openxmlformats.org/officeDocument/2006/relationships/image" Target="../media/image1.png"/><Relationship Id="rId7" Type="http://schemas.openxmlformats.org/officeDocument/2006/relationships/slideLayout" Target="../slideLayouts/slideLayout9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41" Type="http://schemas.openxmlformats.org/officeDocument/2006/relationships/theme" Target="../theme/theme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slideLayout" Target="../slideLayouts/slideLayout116.xml"/><Relationship Id="rId37" Type="http://schemas.openxmlformats.org/officeDocument/2006/relationships/slideLayout" Target="../slideLayouts/slideLayout121.xml"/><Relationship Id="rId40" Type="http://schemas.openxmlformats.org/officeDocument/2006/relationships/slideLayout" Target="../slideLayouts/slideLayout124.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36" Type="http://schemas.openxmlformats.org/officeDocument/2006/relationships/slideLayout" Target="../slideLayouts/slideLayout120.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35" Type="http://schemas.openxmlformats.org/officeDocument/2006/relationships/slideLayout" Target="../slideLayouts/slideLayout119.xml"/><Relationship Id="rId43" Type="http://schemas.openxmlformats.org/officeDocument/2006/relationships/image" Target="../media/image2.svg"/><Relationship Id="rId8" Type="http://schemas.openxmlformats.org/officeDocument/2006/relationships/slideLayout" Target="../slideLayouts/slideLayout92.xml"/><Relationship Id="rId3" Type="http://schemas.openxmlformats.org/officeDocument/2006/relationships/slideLayout" Target="../slideLayouts/slideLayout87.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slideLayout" Target="../slideLayouts/slideLayout117.xml"/><Relationship Id="rId38" Type="http://schemas.openxmlformats.org/officeDocument/2006/relationships/slideLayout" Target="../slideLayouts/slideLayout12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9" Type="http://schemas.openxmlformats.org/officeDocument/2006/relationships/slideLayout" Target="../slideLayouts/slideLayout163.xml"/><Relationship Id="rId21" Type="http://schemas.openxmlformats.org/officeDocument/2006/relationships/slideLayout" Target="../slideLayouts/slideLayout145.xml"/><Relationship Id="rId34" Type="http://schemas.openxmlformats.org/officeDocument/2006/relationships/slideLayout" Target="../slideLayouts/slideLayout158.xml"/><Relationship Id="rId42" Type="http://schemas.openxmlformats.org/officeDocument/2006/relationships/image" Target="../media/image1.png"/><Relationship Id="rId7" Type="http://schemas.openxmlformats.org/officeDocument/2006/relationships/slideLayout" Target="../slideLayouts/slideLayout13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41" Type="http://schemas.openxmlformats.org/officeDocument/2006/relationships/theme" Target="../theme/theme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32" Type="http://schemas.openxmlformats.org/officeDocument/2006/relationships/slideLayout" Target="../slideLayouts/slideLayout156.xml"/><Relationship Id="rId37" Type="http://schemas.openxmlformats.org/officeDocument/2006/relationships/slideLayout" Target="../slideLayouts/slideLayout161.xml"/><Relationship Id="rId40" Type="http://schemas.openxmlformats.org/officeDocument/2006/relationships/slideLayout" Target="../slideLayouts/slideLayout164.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36" Type="http://schemas.openxmlformats.org/officeDocument/2006/relationships/slideLayout" Target="../slideLayouts/slideLayout160.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31" Type="http://schemas.openxmlformats.org/officeDocument/2006/relationships/slideLayout" Target="../slideLayouts/slideLayout155.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slideLayout" Target="../slideLayouts/slideLayout154.xml"/><Relationship Id="rId35" Type="http://schemas.openxmlformats.org/officeDocument/2006/relationships/slideLayout" Target="../slideLayouts/slideLayout159.xml"/><Relationship Id="rId43" Type="http://schemas.openxmlformats.org/officeDocument/2006/relationships/image" Target="../media/image2.svg"/><Relationship Id="rId8" Type="http://schemas.openxmlformats.org/officeDocument/2006/relationships/slideLayout" Target="../slideLayouts/slideLayout132.xml"/><Relationship Id="rId3" Type="http://schemas.openxmlformats.org/officeDocument/2006/relationships/slideLayout" Target="../slideLayouts/slideLayout127.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33" Type="http://schemas.openxmlformats.org/officeDocument/2006/relationships/slideLayout" Target="../slideLayouts/slideLayout157.xml"/><Relationship Id="rId38" Type="http://schemas.openxmlformats.org/officeDocument/2006/relationships/slideLayout" Target="../slideLayouts/slideLayout16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9" Type="http://schemas.openxmlformats.org/officeDocument/2006/relationships/slideLayout" Target="../slideLayouts/slideLayout203.xml"/><Relationship Id="rId21" Type="http://schemas.openxmlformats.org/officeDocument/2006/relationships/slideLayout" Target="../slideLayouts/slideLayout185.xml"/><Relationship Id="rId34" Type="http://schemas.openxmlformats.org/officeDocument/2006/relationships/slideLayout" Target="../slideLayouts/slideLayout198.xml"/><Relationship Id="rId42" Type="http://schemas.openxmlformats.org/officeDocument/2006/relationships/image" Target="../media/image1.png"/><Relationship Id="rId7" Type="http://schemas.openxmlformats.org/officeDocument/2006/relationships/slideLayout" Target="../slideLayouts/slideLayout171.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29" Type="http://schemas.openxmlformats.org/officeDocument/2006/relationships/slideLayout" Target="../slideLayouts/slideLayout193.xml"/><Relationship Id="rId41" Type="http://schemas.openxmlformats.org/officeDocument/2006/relationships/theme" Target="../theme/theme5.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32" Type="http://schemas.openxmlformats.org/officeDocument/2006/relationships/slideLayout" Target="../slideLayouts/slideLayout196.xml"/><Relationship Id="rId37" Type="http://schemas.openxmlformats.org/officeDocument/2006/relationships/slideLayout" Target="../slideLayouts/slideLayout201.xml"/><Relationship Id="rId40" Type="http://schemas.openxmlformats.org/officeDocument/2006/relationships/slideLayout" Target="../slideLayouts/slideLayout204.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36" Type="http://schemas.openxmlformats.org/officeDocument/2006/relationships/slideLayout" Target="../slideLayouts/slideLayout200.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31" Type="http://schemas.openxmlformats.org/officeDocument/2006/relationships/slideLayout" Target="../slideLayouts/slideLayout195.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slideLayout" Target="../slideLayouts/slideLayout194.xml"/><Relationship Id="rId35" Type="http://schemas.openxmlformats.org/officeDocument/2006/relationships/slideLayout" Target="../slideLayouts/slideLayout199.xml"/><Relationship Id="rId43" Type="http://schemas.openxmlformats.org/officeDocument/2006/relationships/image" Target="../media/image2.svg"/><Relationship Id="rId8" Type="http://schemas.openxmlformats.org/officeDocument/2006/relationships/slideLayout" Target="../slideLayouts/slideLayout172.xml"/><Relationship Id="rId3" Type="http://schemas.openxmlformats.org/officeDocument/2006/relationships/slideLayout" Target="../slideLayouts/slideLayout167.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33" Type="http://schemas.openxmlformats.org/officeDocument/2006/relationships/slideLayout" Target="../slideLayouts/slideLayout197.xml"/><Relationship Id="rId38" Type="http://schemas.openxmlformats.org/officeDocument/2006/relationships/slideLayout" Target="../slideLayouts/slideLayout20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26" Type="http://schemas.openxmlformats.org/officeDocument/2006/relationships/slideLayout" Target="../slideLayouts/slideLayout230.xml"/><Relationship Id="rId39" Type="http://schemas.openxmlformats.org/officeDocument/2006/relationships/slideLayout" Target="../slideLayouts/slideLayout243.xml"/><Relationship Id="rId21" Type="http://schemas.openxmlformats.org/officeDocument/2006/relationships/slideLayout" Target="../slideLayouts/slideLayout225.xml"/><Relationship Id="rId34" Type="http://schemas.openxmlformats.org/officeDocument/2006/relationships/slideLayout" Target="../slideLayouts/slideLayout238.xml"/><Relationship Id="rId42" Type="http://schemas.openxmlformats.org/officeDocument/2006/relationships/theme" Target="../theme/theme6.xml"/><Relationship Id="rId7" Type="http://schemas.openxmlformats.org/officeDocument/2006/relationships/slideLayout" Target="../slideLayouts/slideLayout211.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slideLayout" Target="../slideLayouts/slideLayout224.xml"/><Relationship Id="rId29" Type="http://schemas.openxmlformats.org/officeDocument/2006/relationships/slideLayout" Target="../slideLayouts/slideLayout233.xml"/><Relationship Id="rId41" Type="http://schemas.openxmlformats.org/officeDocument/2006/relationships/slideLayout" Target="../slideLayouts/slideLayout245.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32" Type="http://schemas.openxmlformats.org/officeDocument/2006/relationships/slideLayout" Target="../slideLayouts/slideLayout236.xml"/><Relationship Id="rId37" Type="http://schemas.openxmlformats.org/officeDocument/2006/relationships/slideLayout" Target="../slideLayouts/slideLayout241.xml"/><Relationship Id="rId40" Type="http://schemas.openxmlformats.org/officeDocument/2006/relationships/slideLayout" Target="../slideLayouts/slideLayout244.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36" Type="http://schemas.openxmlformats.org/officeDocument/2006/relationships/slideLayout" Target="../slideLayouts/slideLayout240.xml"/><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31" Type="http://schemas.openxmlformats.org/officeDocument/2006/relationships/slideLayout" Target="../slideLayouts/slideLayout235.xml"/><Relationship Id="rId44" Type="http://schemas.openxmlformats.org/officeDocument/2006/relationships/image" Target="../media/image2.svg"/><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30" Type="http://schemas.openxmlformats.org/officeDocument/2006/relationships/slideLayout" Target="../slideLayouts/slideLayout234.xml"/><Relationship Id="rId35" Type="http://schemas.openxmlformats.org/officeDocument/2006/relationships/slideLayout" Target="../slideLayouts/slideLayout239.xml"/><Relationship Id="rId43" Type="http://schemas.openxmlformats.org/officeDocument/2006/relationships/image" Target="../media/image1.png"/><Relationship Id="rId8" Type="http://schemas.openxmlformats.org/officeDocument/2006/relationships/slideLayout" Target="../slideLayouts/slideLayout212.xml"/><Relationship Id="rId3" Type="http://schemas.openxmlformats.org/officeDocument/2006/relationships/slideLayout" Target="../slideLayouts/slideLayout207.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33" Type="http://schemas.openxmlformats.org/officeDocument/2006/relationships/slideLayout" Target="../slideLayouts/slideLayout237.xml"/><Relationship Id="rId38" Type="http://schemas.openxmlformats.org/officeDocument/2006/relationships/slideLayout" Target="../slideLayouts/slideLayout2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38139"/>
            <a:ext cx="11430000" cy="594360"/>
          </a:xfrm>
          <a:prstGeom prst="rect">
            <a:avLst/>
          </a:prstGeom>
          <a:effectLst/>
        </p:spPr>
        <p:txBody>
          <a:bodyPr vert="horz" lIns="91440" tIns="45720" rIns="91440" bIns="45720" rtlCol="0" anchor="t">
            <a:noAutofit/>
          </a:bodyPr>
          <a:lstStyle/>
          <a:p>
            <a:r>
              <a:rPr lang="en-US"/>
              <a:t>Click to edit title</a:t>
            </a:r>
          </a:p>
        </p:txBody>
      </p:sp>
      <p:sp>
        <p:nvSpPr>
          <p:cNvPr id="3" name="Text Placeholder 2"/>
          <p:cNvSpPr>
            <a:spLocks noGrp="1"/>
          </p:cNvSpPr>
          <p:nvPr>
            <p:ph type="body" idx="1"/>
          </p:nvPr>
        </p:nvSpPr>
        <p:spPr>
          <a:xfrm>
            <a:off x="381000" y="1066800"/>
            <a:ext cx="11430000" cy="4572000"/>
          </a:xfrm>
          <a:prstGeom prst="rect">
            <a:avLst/>
          </a:prstGeom>
        </p:spPr>
        <p:txBody>
          <a:bodyPr vert="horz" lIns="91440" tIns="45720" rIns="91440" bIns="45720" rtlCol="0">
            <a:normAutofit/>
          </a:body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89B39007-7A08-4059-B67B-36B42E8C25D8}"/>
              </a:ext>
            </a:extLst>
          </p:cNvPr>
          <p:cNvSpPr txBox="1">
            <a:spLocks/>
          </p:cNvSpPr>
          <p:nvPr userDrawn="1"/>
        </p:nvSpPr>
        <p:spPr>
          <a:xfrm>
            <a:off x="33528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ct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a:t>
            </a:r>
          </a:p>
        </p:txBody>
      </p:sp>
      <p:sp>
        <p:nvSpPr>
          <p:cNvPr id="9" name="Slide Number Placeholder 5">
            <a:extLst>
              <a:ext uri="{FF2B5EF4-FFF2-40B4-BE49-F238E27FC236}">
                <a16:creationId xmlns:a16="http://schemas.microsoft.com/office/drawing/2014/main" id="{4E5A0778-8329-47F0-8388-2E9FE5C8D0C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Graphic 3">
            <a:extLst>
              <a:ext uri="{FF2B5EF4-FFF2-40B4-BE49-F238E27FC236}">
                <a16:creationId xmlns:a16="http://schemas.microsoft.com/office/drawing/2014/main" id="{F58EC363-85AF-47D2-9A53-8973E2530A68}"/>
              </a:ext>
            </a:extLst>
          </p:cNvPr>
          <p:cNvPicPr>
            <a:picLocks noChangeAspect="1"/>
          </p:cNvPicPr>
          <p:nvPr userDrawn="1"/>
        </p:nvPicPr>
        <p:blipFill>
          <a:blip r:embed="rId49">
            <a:extLst>
              <a:ext uri="{96DAC541-7B7A-43D3-8B79-37D633B846F1}">
                <asvg:svgBlip xmlns:asvg="http://schemas.microsoft.com/office/drawing/2016/SVG/main" r:embed="rId50"/>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476668EA-A562-82CF-DFA8-333EA366957F}"/>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2758596200"/>
      </p:ext>
    </p:extLst>
  </p:cSld>
  <p:clrMap bg1="lt1" tx1="dk1" bg2="lt2" tx2="dk2" accent1="accent1" accent2="accent2" accent3="accent3" accent4="accent4" accent5="accent5" accent6="accent6" hlink="hlink" folHlink="folHlink"/>
  <p:sldLayoutIdLst>
    <p:sldLayoutId id="2147484363" r:id="rId1"/>
    <p:sldLayoutId id="2147484364" r:id="rId2"/>
    <p:sldLayoutId id="2147484365" r:id="rId3"/>
    <p:sldLayoutId id="2147484366" r:id="rId4"/>
    <p:sldLayoutId id="2147484367" r:id="rId5"/>
    <p:sldLayoutId id="2147484368" r:id="rId6"/>
    <p:sldLayoutId id="2147484074" r:id="rId7"/>
    <p:sldLayoutId id="2147484084" r:id="rId8"/>
    <p:sldLayoutId id="2147483773" r:id="rId9"/>
    <p:sldLayoutId id="2147484000" r:id="rId10"/>
    <p:sldLayoutId id="2147484369" r:id="rId11"/>
    <p:sldLayoutId id="2147484370" r:id="rId12"/>
    <p:sldLayoutId id="2147484371" r:id="rId13"/>
    <p:sldLayoutId id="2147484372" r:id="rId14"/>
    <p:sldLayoutId id="2147484373" r:id="rId15"/>
    <p:sldLayoutId id="2147484374" r:id="rId16"/>
    <p:sldLayoutId id="2147484375" r:id="rId17"/>
    <p:sldLayoutId id="2147484376" r:id="rId18"/>
    <p:sldLayoutId id="2147484377" r:id="rId19"/>
    <p:sldLayoutId id="2147484378" r:id="rId20"/>
    <p:sldLayoutId id="2147484093" r:id="rId21"/>
    <p:sldLayoutId id="2147484133" r:id="rId22"/>
    <p:sldLayoutId id="2147484094" r:id="rId23"/>
    <p:sldLayoutId id="2147484134" r:id="rId24"/>
    <p:sldLayoutId id="2147484379" r:id="rId25"/>
    <p:sldLayoutId id="2147484380" r:id="rId26"/>
    <p:sldLayoutId id="2147484136" r:id="rId27"/>
    <p:sldLayoutId id="2147484135" r:id="rId28"/>
    <p:sldLayoutId id="2147484381" r:id="rId29"/>
    <p:sldLayoutId id="2147484382" r:id="rId30"/>
    <p:sldLayoutId id="2147484383" r:id="rId31"/>
    <p:sldLayoutId id="2147484148" r:id="rId32"/>
    <p:sldLayoutId id="2147484143" r:id="rId33"/>
    <p:sldLayoutId id="2147484073" r:id="rId34"/>
    <p:sldLayoutId id="2147484384" r:id="rId35"/>
    <p:sldLayoutId id="2147484132" r:id="rId36"/>
    <p:sldLayoutId id="2147484385" r:id="rId37"/>
    <p:sldLayoutId id="2147484357" r:id="rId38"/>
    <p:sldLayoutId id="2147484386" r:id="rId39"/>
    <p:sldLayoutId id="2147484358" r:id="rId40"/>
    <p:sldLayoutId id="2147484359" r:id="rId41"/>
    <p:sldLayoutId id="2147484360" r:id="rId42"/>
    <p:sldLayoutId id="2147484361" r:id="rId43"/>
    <p:sldLayoutId id="2147484362" r:id="rId44"/>
    <p:sldLayoutId id="2147484387" r:id="rId45"/>
    <p:sldLayoutId id="2147484388" r:id="rId46"/>
    <p:sldLayoutId id="2147484389" r:id="rId47"/>
  </p:sldLayoutIdLst>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xStyles>
    <p:titleStyle>
      <a:lvl1pPr algn="l" defTabSz="1219170" rtl="0" eaLnBrk="1" latinLnBrk="0" hangingPunct="1">
        <a:spcBef>
          <a:spcPct val="0"/>
        </a:spcBef>
        <a:buNone/>
        <a:defRPr sz="3200" b="1" i="0" kern="1200" spc="0">
          <a:solidFill>
            <a:schemeClr val="tx2"/>
          </a:solidFill>
          <a:effectLst/>
          <a:latin typeface="+mn-lt"/>
          <a:ea typeface="Open Sans ExtraBold" panose="020B0906030804020204" pitchFamily="34" charset="0"/>
          <a:cs typeface="Open Sans ExtraBold" panose="020B0906030804020204" pitchFamily="34" charset="0"/>
        </a:defRPr>
      </a:lvl1pPr>
    </p:titleStyle>
    <p:bodyStyle>
      <a:lvl1pPr marL="347663" indent="-347663" algn="l" defTabSz="1219170" rtl="0" eaLnBrk="1" latinLnBrk="0" hangingPunct="1">
        <a:spcBef>
          <a:spcPts val="1200"/>
        </a:spcBef>
        <a:buClr>
          <a:srgbClr val="2DA2BF"/>
        </a:buClr>
        <a:buFont typeface="Arial" panose="020B0604020202020204" pitchFamily="34" charset="0"/>
        <a:buChar char="•"/>
        <a:tabLst/>
        <a:defRPr sz="2800" b="0" i="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38139"/>
            <a:ext cx="11430000" cy="594360"/>
          </a:xfrm>
          <a:prstGeom prst="rect">
            <a:avLst/>
          </a:prstGeom>
          <a:effectLst/>
        </p:spPr>
        <p:txBody>
          <a:bodyPr vert="horz" lIns="91440" tIns="45720" rIns="91440" bIns="45720" rtlCol="0" anchor="t">
            <a:noAutofit/>
          </a:bodyPr>
          <a:lstStyle/>
          <a:p>
            <a:r>
              <a:rPr lang="en-US"/>
              <a:t>Click to edit title</a:t>
            </a:r>
          </a:p>
        </p:txBody>
      </p:sp>
      <p:sp>
        <p:nvSpPr>
          <p:cNvPr id="3" name="Text Placeholder 2"/>
          <p:cNvSpPr>
            <a:spLocks noGrp="1"/>
          </p:cNvSpPr>
          <p:nvPr>
            <p:ph type="body" idx="1"/>
          </p:nvPr>
        </p:nvSpPr>
        <p:spPr>
          <a:xfrm>
            <a:off x="381000" y="1066800"/>
            <a:ext cx="11430000" cy="4572000"/>
          </a:xfrm>
          <a:prstGeom prst="rect">
            <a:avLst/>
          </a:prstGeom>
        </p:spPr>
        <p:txBody>
          <a:bodyPr vert="horz" lIns="91440" tIns="45720" rIns="91440" bIns="45720" rtlCol="0">
            <a:normAutofit/>
          </a:body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89B39007-7A08-4059-B67B-36B42E8C25D8}"/>
              </a:ext>
            </a:extLst>
          </p:cNvPr>
          <p:cNvSpPr txBox="1">
            <a:spLocks/>
          </p:cNvSpPr>
          <p:nvPr userDrawn="1"/>
        </p:nvSpPr>
        <p:spPr>
          <a:xfrm>
            <a:off x="33528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ct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a:t>
            </a:r>
          </a:p>
        </p:txBody>
      </p:sp>
      <p:sp>
        <p:nvSpPr>
          <p:cNvPr id="9" name="Slide Number Placeholder 5">
            <a:extLst>
              <a:ext uri="{FF2B5EF4-FFF2-40B4-BE49-F238E27FC236}">
                <a16:creationId xmlns:a16="http://schemas.microsoft.com/office/drawing/2014/main" id="{4E5A0778-8329-47F0-8388-2E9FE5C8D0C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Graphic 3">
            <a:extLst>
              <a:ext uri="{FF2B5EF4-FFF2-40B4-BE49-F238E27FC236}">
                <a16:creationId xmlns:a16="http://schemas.microsoft.com/office/drawing/2014/main" id="{F58EC363-85AF-47D2-9A53-8973E2530A68}"/>
              </a:ext>
            </a:extLst>
          </p:cNvPr>
          <p:cNvPicPr>
            <a:picLocks noChangeAspect="1"/>
          </p:cNvPicPr>
          <p:nvPr userDrawn="1"/>
        </p:nvPicPr>
        <p:blipFill>
          <a:blip r:embed="rId39">
            <a:extLst>
              <a:ext uri="{96DAC541-7B7A-43D3-8B79-37D633B846F1}">
                <asvg:svgBlip xmlns:asvg="http://schemas.microsoft.com/office/drawing/2016/SVG/main" r:embed="rId40"/>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476668EA-A562-82CF-DFA8-333EA366957F}"/>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4217293861"/>
      </p:ext>
    </p:extLst>
  </p:cSld>
  <p:clrMap bg1="lt1" tx1="dk1" bg2="lt2" tx2="dk2" accent1="accent1" accent2="accent2" accent3="accent3" accent4="accent4" accent5="accent5" accent6="accent6" hlink="hlink" folHlink="folHlink"/>
  <p:sldLayoutIdLst>
    <p:sldLayoutId id="2147484157" r:id="rId1"/>
    <p:sldLayoutId id="2147484158" r:id="rId2"/>
    <p:sldLayoutId id="2147484159" r:id="rId3"/>
    <p:sldLayoutId id="2147484160" r:id="rId4"/>
    <p:sldLayoutId id="2147484161" r:id="rId5"/>
    <p:sldLayoutId id="2147484162" r:id="rId6"/>
    <p:sldLayoutId id="2147484163" r:id="rId7"/>
    <p:sldLayoutId id="2147484164" r:id="rId8"/>
    <p:sldLayoutId id="2147484165" r:id="rId9"/>
    <p:sldLayoutId id="2147484166" r:id="rId10"/>
    <p:sldLayoutId id="2147484167" r:id="rId11"/>
    <p:sldLayoutId id="2147484168" r:id="rId12"/>
    <p:sldLayoutId id="2147484169" r:id="rId13"/>
    <p:sldLayoutId id="2147484170" r:id="rId14"/>
    <p:sldLayoutId id="2147484171" r:id="rId15"/>
    <p:sldLayoutId id="2147484172" r:id="rId16"/>
    <p:sldLayoutId id="2147484173" r:id="rId17"/>
    <p:sldLayoutId id="2147484174" r:id="rId18"/>
    <p:sldLayoutId id="2147484175" r:id="rId19"/>
    <p:sldLayoutId id="2147484176" r:id="rId20"/>
    <p:sldLayoutId id="2147484177" r:id="rId21"/>
    <p:sldLayoutId id="2147484178" r:id="rId22"/>
    <p:sldLayoutId id="2147484179" r:id="rId23"/>
    <p:sldLayoutId id="2147484180" r:id="rId24"/>
    <p:sldLayoutId id="2147484181" r:id="rId25"/>
    <p:sldLayoutId id="2147484182" r:id="rId26"/>
    <p:sldLayoutId id="2147484183" r:id="rId27"/>
    <p:sldLayoutId id="2147484184" r:id="rId28"/>
    <p:sldLayoutId id="2147484185" r:id="rId29"/>
    <p:sldLayoutId id="2147484186" r:id="rId30"/>
    <p:sldLayoutId id="2147484187" r:id="rId31"/>
    <p:sldLayoutId id="2147484188" r:id="rId32"/>
    <p:sldLayoutId id="2147484189" r:id="rId33"/>
    <p:sldLayoutId id="2147484190" r:id="rId34"/>
    <p:sldLayoutId id="2147484191" r:id="rId35"/>
    <p:sldLayoutId id="2147484192" r:id="rId36"/>
    <p:sldLayoutId id="2147484195" r:id="rId37"/>
  </p:sldLayoutIdLst>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xStyles>
    <p:titleStyle>
      <a:lvl1pPr algn="l" defTabSz="1219170" rtl="0" eaLnBrk="1" latinLnBrk="0" hangingPunct="1">
        <a:spcBef>
          <a:spcPct val="0"/>
        </a:spcBef>
        <a:buNone/>
        <a:defRPr sz="3200" b="1" i="0" kern="1200" spc="0">
          <a:solidFill>
            <a:schemeClr val="tx2"/>
          </a:solidFill>
          <a:effectLst/>
          <a:latin typeface="+mn-lt"/>
          <a:ea typeface="Open Sans Extrabold" panose="020B0906030804020204" pitchFamily="34" charset="0"/>
          <a:cs typeface="Open Sans Extrabold" panose="020B0906030804020204" pitchFamily="34" charset="0"/>
        </a:defRPr>
      </a:lvl1pPr>
    </p:titleStyle>
    <p:bodyStyle>
      <a:lvl1pPr marL="347663" indent="-347663" algn="l" defTabSz="1219170" rtl="0" eaLnBrk="1" latinLnBrk="0" hangingPunct="1">
        <a:spcBef>
          <a:spcPts val="1200"/>
        </a:spcBef>
        <a:buClr>
          <a:srgbClr val="2DA2BF"/>
        </a:buClr>
        <a:buFont typeface="Arial" panose="020B0604020202020204" pitchFamily="34" charset="0"/>
        <a:buChar char="•"/>
        <a:tabLst/>
        <a:defRPr sz="2800" b="0" i="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38139"/>
            <a:ext cx="11430000" cy="594360"/>
          </a:xfrm>
          <a:prstGeom prst="rect">
            <a:avLst/>
          </a:prstGeom>
          <a:effectLst/>
        </p:spPr>
        <p:txBody>
          <a:bodyPr vert="horz" lIns="91440" tIns="45720" rIns="91440" bIns="45720" rtlCol="0" anchor="t">
            <a:noAutofit/>
          </a:bodyPr>
          <a:lstStyle/>
          <a:p>
            <a:r>
              <a:rPr lang="en-US"/>
              <a:t>Click to edit title</a:t>
            </a:r>
          </a:p>
        </p:txBody>
      </p:sp>
      <p:sp>
        <p:nvSpPr>
          <p:cNvPr id="3" name="Text Placeholder 2"/>
          <p:cNvSpPr>
            <a:spLocks noGrp="1"/>
          </p:cNvSpPr>
          <p:nvPr>
            <p:ph type="body" idx="1"/>
          </p:nvPr>
        </p:nvSpPr>
        <p:spPr>
          <a:xfrm>
            <a:off x="381000" y="1066800"/>
            <a:ext cx="11430000" cy="4572000"/>
          </a:xfrm>
          <a:prstGeom prst="rect">
            <a:avLst/>
          </a:prstGeom>
        </p:spPr>
        <p:txBody>
          <a:bodyPr vert="horz" lIns="91440" tIns="45720" rIns="91440" bIns="45720" rtlCol="0">
            <a:normAutofit/>
          </a:body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89B39007-7A08-4059-B67B-36B42E8C25D8}"/>
              </a:ext>
            </a:extLst>
          </p:cNvPr>
          <p:cNvSpPr txBox="1">
            <a:spLocks/>
          </p:cNvSpPr>
          <p:nvPr userDrawn="1"/>
        </p:nvSpPr>
        <p:spPr>
          <a:xfrm>
            <a:off x="33528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ct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a:t>
            </a:r>
          </a:p>
        </p:txBody>
      </p:sp>
      <p:sp>
        <p:nvSpPr>
          <p:cNvPr id="9" name="Slide Number Placeholder 5">
            <a:extLst>
              <a:ext uri="{FF2B5EF4-FFF2-40B4-BE49-F238E27FC236}">
                <a16:creationId xmlns:a16="http://schemas.microsoft.com/office/drawing/2014/main" id="{4E5A0778-8329-47F0-8388-2E9FE5C8D0C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Graphic 3">
            <a:extLst>
              <a:ext uri="{FF2B5EF4-FFF2-40B4-BE49-F238E27FC236}">
                <a16:creationId xmlns:a16="http://schemas.microsoft.com/office/drawing/2014/main" id="{F58EC363-85AF-47D2-9A53-8973E2530A68}"/>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476668EA-A562-82CF-DFA8-333EA366957F}"/>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1688114746"/>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 id="2147484026" r:id="rId8"/>
    <p:sldLayoutId id="2147484027" r:id="rId9"/>
    <p:sldLayoutId id="2147484028" r:id="rId10"/>
    <p:sldLayoutId id="2147484029" r:id="rId11"/>
    <p:sldLayoutId id="2147484030" r:id="rId12"/>
    <p:sldLayoutId id="2147484031" r:id="rId13"/>
    <p:sldLayoutId id="2147484032" r:id="rId14"/>
    <p:sldLayoutId id="2147484033" r:id="rId15"/>
    <p:sldLayoutId id="2147484034" r:id="rId16"/>
    <p:sldLayoutId id="2147484035" r:id="rId17"/>
    <p:sldLayoutId id="2147484036" r:id="rId18"/>
    <p:sldLayoutId id="2147484037" r:id="rId19"/>
    <p:sldLayoutId id="2147484038" r:id="rId20"/>
    <p:sldLayoutId id="2147484039" r:id="rId21"/>
    <p:sldLayoutId id="2147484040" r:id="rId22"/>
    <p:sldLayoutId id="2147484041" r:id="rId23"/>
    <p:sldLayoutId id="2147484042" r:id="rId24"/>
    <p:sldLayoutId id="2147484043" r:id="rId25"/>
    <p:sldLayoutId id="2147484044" r:id="rId26"/>
    <p:sldLayoutId id="2147484045" r:id="rId27"/>
    <p:sldLayoutId id="2147484046" r:id="rId28"/>
    <p:sldLayoutId id="2147484047" r:id="rId29"/>
    <p:sldLayoutId id="2147484048" r:id="rId30"/>
    <p:sldLayoutId id="2147484049" r:id="rId31"/>
    <p:sldLayoutId id="2147484050" r:id="rId32"/>
    <p:sldLayoutId id="2147484051" r:id="rId33"/>
    <p:sldLayoutId id="2147484052" r:id="rId34"/>
    <p:sldLayoutId id="2147484053" r:id="rId35"/>
    <p:sldLayoutId id="2147484054" r:id="rId36"/>
    <p:sldLayoutId id="2147484055" r:id="rId37"/>
    <p:sldLayoutId id="2147484057" r:id="rId38"/>
    <p:sldLayoutId id="2147484059" r:id="rId39"/>
    <p:sldLayoutId id="2147484063" r:id="rId40"/>
  </p:sldLayoutIdLst>
  <p:txStyles>
    <p:titleStyle>
      <a:lvl1pPr algn="l" defTabSz="1219170" rtl="0" eaLnBrk="1" latinLnBrk="0" hangingPunct="1">
        <a:spcBef>
          <a:spcPct val="0"/>
        </a:spcBef>
        <a:buNone/>
        <a:defRPr sz="3200" b="1" i="0" kern="1200" spc="0">
          <a:solidFill>
            <a:schemeClr val="tx2"/>
          </a:solidFill>
          <a:effectLst/>
          <a:latin typeface="+mn-lt"/>
          <a:ea typeface="Open Sans Extrabold" panose="020B0906030804020204" pitchFamily="34" charset="0"/>
          <a:cs typeface="Open Sans Extrabold" panose="020B0906030804020204" pitchFamily="34" charset="0"/>
        </a:defRPr>
      </a:lvl1pPr>
    </p:titleStyle>
    <p:bodyStyle>
      <a:lvl1pPr marL="347663" indent="-347663" algn="l" defTabSz="1219170" rtl="0" eaLnBrk="1" latinLnBrk="0" hangingPunct="1">
        <a:spcBef>
          <a:spcPts val="1200"/>
        </a:spcBef>
        <a:buClr>
          <a:srgbClr val="2DA2BF"/>
        </a:buClr>
        <a:buFont typeface="Arial" panose="020B0604020202020204" pitchFamily="34" charset="0"/>
        <a:buChar char="•"/>
        <a:tabLst/>
        <a:defRPr sz="2800" b="0" i="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38139"/>
            <a:ext cx="11430000" cy="594360"/>
          </a:xfrm>
          <a:prstGeom prst="rect">
            <a:avLst/>
          </a:prstGeom>
          <a:effectLst/>
        </p:spPr>
        <p:txBody>
          <a:bodyPr vert="horz" lIns="91440" tIns="45720" rIns="91440" bIns="45720" rtlCol="0" anchor="t">
            <a:noAutofit/>
          </a:bodyPr>
          <a:lstStyle/>
          <a:p>
            <a:r>
              <a:rPr lang="en-US"/>
              <a:t>Click to edit title</a:t>
            </a:r>
          </a:p>
        </p:txBody>
      </p:sp>
      <p:sp>
        <p:nvSpPr>
          <p:cNvPr id="3" name="Text Placeholder 2"/>
          <p:cNvSpPr>
            <a:spLocks noGrp="1"/>
          </p:cNvSpPr>
          <p:nvPr>
            <p:ph type="body" idx="1"/>
          </p:nvPr>
        </p:nvSpPr>
        <p:spPr>
          <a:xfrm>
            <a:off x="381000" y="1066800"/>
            <a:ext cx="11430000" cy="4572000"/>
          </a:xfrm>
          <a:prstGeom prst="rect">
            <a:avLst/>
          </a:prstGeom>
        </p:spPr>
        <p:txBody>
          <a:bodyPr vert="horz" lIns="91440" tIns="45720" rIns="91440" bIns="45720" rtlCol="0">
            <a:normAutofit/>
          </a:body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89B39007-7A08-4059-B67B-36B42E8C25D8}"/>
              </a:ext>
            </a:extLst>
          </p:cNvPr>
          <p:cNvSpPr txBox="1">
            <a:spLocks/>
          </p:cNvSpPr>
          <p:nvPr userDrawn="1"/>
        </p:nvSpPr>
        <p:spPr>
          <a:xfrm>
            <a:off x="33528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ct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a:t>
            </a:r>
          </a:p>
        </p:txBody>
      </p:sp>
      <p:sp>
        <p:nvSpPr>
          <p:cNvPr id="9" name="Slide Number Placeholder 5">
            <a:extLst>
              <a:ext uri="{FF2B5EF4-FFF2-40B4-BE49-F238E27FC236}">
                <a16:creationId xmlns:a16="http://schemas.microsoft.com/office/drawing/2014/main" id="{4E5A0778-8329-47F0-8388-2E9FE5C8D0C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Graphic 3">
            <a:extLst>
              <a:ext uri="{FF2B5EF4-FFF2-40B4-BE49-F238E27FC236}">
                <a16:creationId xmlns:a16="http://schemas.microsoft.com/office/drawing/2014/main" id="{F58EC363-85AF-47D2-9A53-8973E2530A68}"/>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476668EA-A562-82CF-DFA8-333EA366957F}"/>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9013273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700" r:id="rId38"/>
    <p:sldLayoutId id="2147483701" r:id="rId39"/>
    <p:sldLayoutId id="2147483702" r:id="rId40"/>
  </p:sldLayoutIdLst>
  <p:txStyles>
    <p:titleStyle>
      <a:lvl1pPr algn="l" defTabSz="1219170" rtl="0" eaLnBrk="1" latinLnBrk="0" hangingPunct="1">
        <a:spcBef>
          <a:spcPct val="0"/>
        </a:spcBef>
        <a:buNone/>
        <a:defRPr sz="3200" b="1" i="0" kern="1200" spc="0">
          <a:solidFill>
            <a:schemeClr val="tx2"/>
          </a:solidFill>
          <a:effectLst/>
          <a:latin typeface="+mn-lt"/>
          <a:ea typeface="Open Sans ExtraBold" panose="020B0906030804020204" pitchFamily="34" charset="0"/>
          <a:cs typeface="Open Sans ExtraBold" panose="020B0906030804020204" pitchFamily="34" charset="0"/>
        </a:defRPr>
      </a:lvl1pPr>
    </p:titleStyle>
    <p:bodyStyle>
      <a:lvl1pPr marL="347663" indent="-347663" algn="l" defTabSz="1219170" rtl="0" eaLnBrk="1" latinLnBrk="0" hangingPunct="1">
        <a:spcBef>
          <a:spcPts val="1200"/>
        </a:spcBef>
        <a:buClr>
          <a:srgbClr val="2DA2BF"/>
        </a:buClr>
        <a:buFont typeface="Arial" panose="020B0604020202020204" pitchFamily="34" charset="0"/>
        <a:buChar char="•"/>
        <a:tabLst/>
        <a:defRPr sz="2800" b="0" i="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38139"/>
            <a:ext cx="11430000" cy="594360"/>
          </a:xfrm>
          <a:prstGeom prst="rect">
            <a:avLst/>
          </a:prstGeom>
          <a:effectLst/>
        </p:spPr>
        <p:txBody>
          <a:bodyPr vert="horz" lIns="91440" tIns="45720" rIns="91440" bIns="45720" rtlCol="0" anchor="t">
            <a:noAutofit/>
          </a:bodyPr>
          <a:lstStyle/>
          <a:p>
            <a:r>
              <a:rPr lang="en-US"/>
              <a:t>Click to edit title</a:t>
            </a:r>
          </a:p>
        </p:txBody>
      </p:sp>
      <p:sp>
        <p:nvSpPr>
          <p:cNvPr id="3" name="Text Placeholder 2"/>
          <p:cNvSpPr>
            <a:spLocks noGrp="1"/>
          </p:cNvSpPr>
          <p:nvPr>
            <p:ph type="body" idx="1"/>
          </p:nvPr>
        </p:nvSpPr>
        <p:spPr>
          <a:xfrm>
            <a:off x="381000" y="1066800"/>
            <a:ext cx="11430000" cy="4572000"/>
          </a:xfrm>
          <a:prstGeom prst="rect">
            <a:avLst/>
          </a:prstGeom>
        </p:spPr>
        <p:txBody>
          <a:bodyPr vert="horz" lIns="91440" tIns="45720" rIns="91440" bIns="45720" rtlCol="0">
            <a:normAutofit/>
          </a:body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89B39007-7A08-4059-B67B-36B42E8C25D8}"/>
              </a:ext>
            </a:extLst>
          </p:cNvPr>
          <p:cNvSpPr txBox="1">
            <a:spLocks/>
          </p:cNvSpPr>
          <p:nvPr userDrawn="1"/>
        </p:nvSpPr>
        <p:spPr>
          <a:xfrm>
            <a:off x="33528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ct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a:t>
            </a:r>
          </a:p>
        </p:txBody>
      </p:sp>
      <p:sp>
        <p:nvSpPr>
          <p:cNvPr id="9" name="Slide Number Placeholder 5">
            <a:extLst>
              <a:ext uri="{FF2B5EF4-FFF2-40B4-BE49-F238E27FC236}">
                <a16:creationId xmlns:a16="http://schemas.microsoft.com/office/drawing/2014/main" id="{4E5A0778-8329-47F0-8388-2E9FE5C8D0C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Graphic 3">
            <a:extLst>
              <a:ext uri="{FF2B5EF4-FFF2-40B4-BE49-F238E27FC236}">
                <a16:creationId xmlns:a16="http://schemas.microsoft.com/office/drawing/2014/main" id="{F58EC363-85AF-47D2-9A53-8973E2530A68}"/>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476668EA-A562-82CF-DFA8-333EA366957F}"/>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901327391"/>
      </p:ext>
    </p:extLst>
  </p:cSld>
  <p:clrMap bg1="lt1" tx1="dk1" bg2="lt2" tx2="dk2" accent1="accent1" accent2="accent2" accent3="accent3" accent4="accent4" accent5="accent5" accent6="accent6" hlink="hlink" folHlink="folHlink"/>
  <p:sldLayoutIdLst>
    <p:sldLayoutId id="2147484274" r:id="rId1"/>
    <p:sldLayoutId id="2147484275" r:id="rId2"/>
    <p:sldLayoutId id="2147484276" r:id="rId3"/>
    <p:sldLayoutId id="2147484277" r:id="rId4"/>
    <p:sldLayoutId id="2147484278" r:id="rId5"/>
    <p:sldLayoutId id="2147484279" r:id="rId6"/>
    <p:sldLayoutId id="2147484280" r:id="rId7"/>
    <p:sldLayoutId id="2147484281" r:id="rId8"/>
    <p:sldLayoutId id="2147484282" r:id="rId9"/>
    <p:sldLayoutId id="2147484283" r:id="rId10"/>
    <p:sldLayoutId id="2147484284" r:id="rId11"/>
    <p:sldLayoutId id="2147484285" r:id="rId12"/>
    <p:sldLayoutId id="2147484286" r:id="rId13"/>
    <p:sldLayoutId id="2147484287" r:id="rId14"/>
    <p:sldLayoutId id="2147484288" r:id="rId15"/>
    <p:sldLayoutId id="2147484289" r:id="rId16"/>
    <p:sldLayoutId id="2147484290" r:id="rId17"/>
    <p:sldLayoutId id="2147484291" r:id="rId18"/>
    <p:sldLayoutId id="2147484292" r:id="rId19"/>
    <p:sldLayoutId id="2147484293" r:id="rId20"/>
    <p:sldLayoutId id="2147484294" r:id="rId21"/>
    <p:sldLayoutId id="2147484295" r:id="rId22"/>
    <p:sldLayoutId id="2147484296" r:id="rId23"/>
    <p:sldLayoutId id="2147484297" r:id="rId24"/>
    <p:sldLayoutId id="2147484298" r:id="rId25"/>
    <p:sldLayoutId id="2147484299" r:id="rId26"/>
    <p:sldLayoutId id="2147484300" r:id="rId27"/>
    <p:sldLayoutId id="2147484301" r:id="rId28"/>
    <p:sldLayoutId id="2147484302" r:id="rId29"/>
    <p:sldLayoutId id="2147484303" r:id="rId30"/>
    <p:sldLayoutId id="2147484304" r:id="rId31"/>
    <p:sldLayoutId id="2147484305" r:id="rId32"/>
    <p:sldLayoutId id="2147484306" r:id="rId33"/>
    <p:sldLayoutId id="2147484307" r:id="rId34"/>
    <p:sldLayoutId id="2147484308" r:id="rId35"/>
    <p:sldLayoutId id="2147484309" r:id="rId36"/>
    <p:sldLayoutId id="2147484310" r:id="rId37"/>
    <p:sldLayoutId id="2147484311" r:id="rId38"/>
    <p:sldLayoutId id="2147484312" r:id="rId39"/>
    <p:sldLayoutId id="2147484313" r:id="rId40"/>
  </p:sldLayoutIdLst>
  <p:txStyles>
    <p:titleStyle>
      <a:lvl1pPr algn="l" defTabSz="1219170" rtl="0" eaLnBrk="1" latinLnBrk="0" hangingPunct="1">
        <a:spcBef>
          <a:spcPct val="0"/>
        </a:spcBef>
        <a:buNone/>
        <a:defRPr sz="3200" b="1" i="0" kern="1200" spc="0">
          <a:solidFill>
            <a:schemeClr val="tx2"/>
          </a:solidFill>
          <a:effectLst/>
          <a:latin typeface="+mn-lt"/>
          <a:ea typeface="Open Sans ExtraBold" panose="020B0906030804020204" pitchFamily="34" charset="0"/>
          <a:cs typeface="Open Sans ExtraBold" panose="020B0906030804020204" pitchFamily="34" charset="0"/>
        </a:defRPr>
      </a:lvl1pPr>
    </p:titleStyle>
    <p:bodyStyle>
      <a:lvl1pPr marL="347663" indent="-347663" algn="l" defTabSz="1219170" rtl="0" eaLnBrk="1" latinLnBrk="0" hangingPunct="1">
        <a:spcBef>
          <a:spcPts val="1200"/>
        </a:spcBef>
        <a:buClr>
          <a:srgbClr val="2DA2BF"/>
        </a:buClr>
        <a:buFont typeface="Arial" panose="020B0604020202020204" pitchFamily="34" charset="0"/>
        <a:buChar char="•"/>
        <a:tabLst/>
        <a:defRPr sz="2800" b="0" i="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38139"/>
            <a:ext cx="11430000" cy="594360"/>
          </a:xfrm>
          <a:prstGeom prst="rect">
            <a:avLst/>
          </a:prstGeom>
          <a:effectLst/>
        </p:spPr>
        <p:txBody>
          <a:bodyPr vert="horz" lIns="91440" tIns="45720" rIns="91440" bIns="45720" rtlCol="0" anchor="t">
            <a:noAutofit/>
          </a:bodyPr>
          <a:lstStyle/>
          <a:p>
            <a:r>
              <a:rPr lang="en-US"/>
              <a:t>Click to edit title</a:t>
            </a:r>
          </a:p>
        </p:txBody>
      </p:sp>
      <p:sp>
        <p:nvSpPr>
          <p:cNvPr id="3" name="Text Placeholder 2"/>
          <p:cNvSpPr>
            <a:spLocks noGrp="1"/>
          </p:cNvSpPr>
          <p:nvPr>
            <p:ph type="body" idx="1"/>
          </p:nvPr>
        </p:nvSpPr>
        <p:spPr>
          <a:xfrm>
            <a:off x="381000" y="1066800"/>
            <a:ext cx="11430000" cy="4572000"/>
          </a:xfrm>
          <a:prstGeom prst="rect">
            <a:avLst/>
          </a:prstGeom>
        </p:spPr>
        <p:txBody>
          <a:bodyPr vert="horz" lIns="91440" tIns="45720" rIns="91440" bIns="45720" rtlCol="0">
            <a:normAutofit/>
          </a:body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89B39007-7A08-4059-B67B-36B42E8C25D8}"/>
              </a:ext>
            </a:extLst>
          </p:cNvPr>
          <p:cNvSpPr txBox="1">
            <a:spLocks/>
          </p:cNvSpPr>
          <p:nvPr userDrawn="1"/>
        </p:nvSpPr>
        <p:spPr>
          <a:xfrm>
            <a:off x="33528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ct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a:t>
            </a:r>
          </a:p>
        </p:txBody>
      </p:sp>
      <p:sp>
        <p:nvSpPr>
          <p:cNvPr id="9" name="Slide Number Placeholder 5">
            <a:extLst>
              <a:ext uri="{FF2B5EF4-FFF2-40B4-BE49-F238E27FC236}">
                <a16:creationId xmlns:a16="http://schemas.microsoft.com/office/drawing/2014/main" id="{4E5A0778-8329-47F0-8388-2E9FE5C8D0C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Graphic 3">
            <a:extLst>
              <a:ext uri="{FF2B5EF4-FFF2-40B4-BE49-F238E27FC236}">
                <a16:creationId xmlns:a16="http://schemas.microsoft.com/office/drawing/2014/main" id="{F58EC363-85AF-47D2-9A53-8973E2530A68}"/>
              </a:ext>
            </a:extLst>
          </p:cNvPr>
          <p:cNvPicPr>
            <a:picLocks noChangeAspect="1"/>
          </p:cNvPicPr>
          <p:nvPr userDrawn="1"/>
        </p:nvPicPr>
        <p:blipFill>
          <a:blip r:embed="rId43">
            <a:extLst>
              <a:ext uri="{96DAC541-7B7A-43D3-8B79-37D633B846F1}">
                <asvg:svgBlip xmlns:asvg="http://schemas.microsoft.com/office/drawing/2016/SVG/main" r:embed="rId44"/>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476668EA-A562-82CF-DFA8-333EA366957F}"/>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901327391"/>
      </p:ext>
    </p:extLst>
  </p:cSld>
  <p:clrMap bg1="lt1" tx1="dk1" bg2="lt2" tx2="dk2" accent1="accent1" accent2="accent2" accent3="accent3" accent4="accent4" accent5="accent5" accent6="accent6" hlink="hlink" folHlink="folHlink"/>
  <p:sldLayoutIdLst>
    <p:sldLayoutId id="2147484316" r:id="rId1"/>
    <p:sldLayoutId id="2147484317" r:id="rId2"/>
    <p:sldLayoutId id="2147484318" r:id="rId3"/>
    <p:sldLayoutId id="2147484319" r:id="rId4"/>
    <p:sldLayoutId id="2147484320" r:id="rId5"/>
    <p:sldLayoutId id="2147484321" r:id="rId6"/>
    <p:sldLayoutId id="2147484322" r:id="rId7"/>
    <p:sldLayoutId id="2147484323" r:id="rId8"/>
    <p:sldLayoutId id="2147484324" r:id="rId9"/>
    <p:sldLayoutId id="2147484325" r:id="rId10"/>
    <p:sldLayoutId id="2147484326" r:id="rId11"/>
    <p:sldLayoutId id="2147484327" r:id="rId12"/>
    <p:sldLayoutId id="2147484328" r:id="rId13"/>
    <p:sldLayoutId id="2147484329" r:id="rId14"/>
    <p:sldLayoutId id="2147484330" r:id="rId15"/>
    <p:sldLayoutId id="2147484331" r:id="rId16"/>
    <p:sldLayoutId id="2147484332" r:id="rId17"/>
    <p:sldLayoutId id="2147484333" r:id="rId18"/>
    <p:sldLayoutId id="2147484334" r:id="rId19"/>
    <p:sldLayoutId id="2147484335" r:id="rId20"/>
    <p:sldLayoutId id="2147484336" r:id="rId21"/>
    <p:sldLayoutId id="2147484337" r:id="rId22"/>
    <p:sldLayoutId id="2147484338" r:id="rId23"/>
    <p:sldLayoutId id="2147484339" r:id="rId24"/>
    <p:sldLayoutId id="2147484340" r:id="rId25"/>
    <p:sldLayoutId id="2147484341" r:id="rId26"/>
    <p:sldLayoutId id="2147484342" r:id="rId27"/>
    <p:sldLayoutId id="2147484343" r:id="rId28"/>
    <p:sldLayoutId id="2147484344" r:id="rId29"/>
    <p:sldLayoutId id="2147484345" r:id="rId30"/>
    <p:sldLayoutId id="2147484346" r:id="rId31"/>
    <p:sldLayoutId id="2147484347" r:id="rId32"/>
    <p:sldLayoutId id="2147484348" r:id="rId33"/>
    <p:sldLayoutId id="2147484349" r:id="rId34"/>
    <p:sldLayoutId id="2147484350" r:id="rId35"/>
    <p:sldLayoutId id="2147484351" r:id="rId36"/>
    <p:sldLayoutId id="2147484352" r:id="rId37"/>
    <p:sldLayoutId id="2147484353" r:id="rId38"/>
    <p:sldLayoutId id="2147484354" r:id="rId39"/>
    <p:sldLayoutId id="2147484355" r:id="rId40"/>
    <p:sldLayoutId id="2147484356" r:id="rId41"/>
  </p:sldLayoutIdLst>
  <p:txStyles>
    <p:titleStyle>
      <a:lvl1pPr algn="l" defTabSz="1219170" rtl="0" eaLnBrk="1" latinLnBrk="0" hangingPunct="1">
        <a:spcBef>
          <a:spcPct val="0"/>
        </a:spcBef>
        <a:buNone/>
        <a:defRPr sz="3200" b="1" i="0" kern="1200" spc="0">
          <a:solidFill>
            <a:schemeClr val="tx2"/>
          </a:solidFill>
          <a:effectLst/>
          <a:latin typeface="+mn-lt"/>
          <a:ea typeface="Open Sans ExtraBold" panose="020B0906030804020204" pitchFamily="34" charset="0"/>
          <a:cs typeface="Open Sans ExtraBold" panose="020B0906030804020204" pitchFamily="34" charset="0"/>
        </a:defRPr>
      </a:lvl1pPr>
    </p:titleStyle>
    <p:bodyStyle>
      <a:lvl1pPr marL="347663" indent="-347663" algn="l" defTabSz="1219170" rtl="0" eaLnBrk="1" latinLnBrk="0" hangingPunct="1">
        <a:spcBef>
          <a:spcPts val="1200"/>
        </a:spcBef>
        <a:buClr>
          <a:srgbClr val="2DA2BF"/>
        </a:buClr>
        <a:buFont typeface="Arial" panose="020B0604020202020204" pitchFamily="34" charset="0"/>
        <a:buChar char="•"/>
        <a:tabLst/>
        <a:defRPr sz="2800" b="0" i="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xml"/><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jpeg"/><Relationship Id="rId1" Type="http://schemas.openxmlformats.org/officeDocument/2006/relationships/slideLayout" Target="../slideLayouts/slideLayout42.xml"/><Relationship Id="rId5" Type="http://schemas.openxmlformats.org/officeDocument/2006/relationships/image" Target="../media/image91.png"/><Relationship Id="rId4" Type="http://schemas.openxmlformats.org/officeDocument/2006/relationships/image" Target="../media/image90.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hyperlink" Target="https://bayer.onenetwork.com/" TargetMode="External"/><Relationship Id="rId1" Type="http://schemas.openxmlformats.org/officeDocument/2006/relationships/slideLayout" Target="../slideLayouts/slideLayout42.xml"/></Relationships>
</file>

<file path=ppt/slides/_rels/slide16.xml.rels><?xml version="1.0" encoding="UTF-8" standalone="yes"?>
<Relationships xmlns="http://schemas.openxmlformats.org/package/2006/relationships"><Relationship Id="rId3" Type="http://schemas.openxmlformats.org/officeDocument/2006/relationships/hyperlink" Target="https://bayer.onenetwork.com/carrier-integration/" TargetMode="External"/><Relationship Id="rId2" Type="http://schemas.openxmlformats.org/officeDocument/2006/relationships/hyperlink" Target="https://bayer.onenetwork.com/supplier-integration/" TargetMode="External"/><Relationship Id="rId1" Type="http://schemas.openxmlformats.org/officeDocument/2006/relationships/slideLayout" Target="../slideLayouts/slideLayout42.xml"/><Relationship Id="rId4" Type="http://schemas.openxmlformats.org/officeDocument/2006/relationships/image" Target="../media/image93.png"/></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jpeg"/><Relationship Id="rId2" Type="http://schemas.openxmlformats.org/officeDocument/2006/relationships/notesSlide" Target="../notesSlides/notesSlide2.xml"/><Relationship Id="rId1" Type="http://schemas.openxmlformats.org/officeDocument/2006/relationships/slideLayout" Target="../slideLayouts/slideLayout42.xml"/><Relationship Id="rId6" Type="http://schemas.openxmlformats.org/officeDocument/2006/relationships/image" Target="../media/image46.png"/><Relationship Id="rId11" Type="http://schemas.openxmlformats.org/officeDocument/2006/relationships/image" Target="../media/image51.jpeg"/><Relationship Id="rId5" Type="http://schemas.openxmlformats.org/officeDocument/2006/relationships/image" Target="../media/image45.png"/><Relationship Id="rId10" Type="http://schemas.openxmlformats.org/officeDocument/2006/relationships/image" Target="../media/image50.png"/><Relationship Id="rId4" Type="http://schemas.openxmlformats.org/officeDocument/2006/relationships/image" Target="../media/image44.svg"/><Relationship Id="rId9" Type="http://schemas.openxmlformats.org/officeDocument/2006/relationships/image" Target="../media/image49.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svg"/><Relationship Id="rId18" Type="http://schemas.openxmlformats.org/officeDocument/2006/relationships/image" Target="../media/image68.png"/><Relationship Id="rId3" Type="http://schemas.openxmlformats.org/officeDocument/2006/relationships/image" Target="../media/image53.svg"/><Relationship Id="rId21" Type="http://schemas.openxmlformats.org/officeDocument/2006/relationships/image" Target="../media/image71.svg"/><Relationship Id="rId7" Type="http://schemas.openxmlformats.org/officeDocument/2006/relationships/image" Target="../media/image57.svg"/><Relationship Id="rId12" Type="http://schemas.openxmlformats.org/officeDocument/2006/relationships/image" Target="../media/image62.png"/><Relationship Id="rId17" Type="http://schemas.openxmlformats.org/officeDocument/2006/relationships/image" Target="../media/image67.svg"/><Relationship Id="rId2" Type="http://schemas.openxmlformats.org/officeDocument/2006/relationships/image" Target="../media/image52.png"/><Relationship Id="rId16" Type="http://schemas.openxmlformats.org/officeDocument/2006/relationships/image" Target="../media/image66.png"/><Relationship Id="rId20" Type="http://schemas.openxmlformats.org/officeDocument/2006/relationships/image" Target="../media/image70.png"/><Relationship Id="rId1" Type="http://schemas.openxmlformats.org/officeDocument/2006/relationships/slideLayout" Target="../slideLayouts/slideLayout4.xml"/><Relationship Id="rId6" Type="http://schemas.openxmlformats.org/officeDocument/2006/relationships/image" Target="../media/image56.png"/><Relationship Id="rId11" Type="http://schemas.openxmlformats.org/officeDocument/2006/relationships/image" Target="../media/image61.svg"/><Relationship Id="rId5" Type="http://schemas.openxmlformats.org/officeDocument/2006/relationships/image" Target="../media/image55.svg"/><Relationship Id="rId15" Type="http://schemas.openxmlformats.org/officeDocument/2006/relationships/image" Target="../media/image65.svg"/><Relationship Id="rId10" Type="http://schemas.openxmlformats.org/officeDocument/2006/relationships/image" Target="../media/image60.png"/><Relationship Id="rId19" Type="http://schemas.openxmlformats.org/officeDocument/2006/relationships/image" Target="../media/image69.svg"/><Relationship Id="rId4" Type="http://schemas.openxmlformats.org/officeDocument/2006/relationships/image" Target="../media/image54.png"/><Relationship Id="rId9" Type="http://schemas.openxmlformats.org/officeDocument/2006/relationships/image" Target="../media/image59.svg"/><Relationship Id="rId14" Type="http://schemas.openxmlformats.org/officeDocument/2006/relationships/image" Target="../media/image64.png"/></Relationships>
</file>

<file path=ppt/slides/_rels/slide8.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svg"/><Relationship Id="rId7" Type="http://schemas.openxmlformats.org/officeDocument/2006/relationships/image" Target="../media/image77.svg"/><Relationship Id="rId2" Type="http://schemas.openxmlformats.org/officeDocument/2006/relationships/image" Target="../media/image72.png"/><Relationship Id="rId1" Type="http://schemas.openxmlformats.org/officeDocument/2006/relationships/slideLayout" Target="../slideLayouts/slideLayout42.xml"/><Relationship Id="rId6" Type="http://schemas.openxmlformats.org/officeDocument/2006/relationships/image" Target="../media/image76.png"/><Relationship Id="rId5" Type="http://schemas.openxmlformats.org/officeDocument/2006/relationships/image" Target="../media/image75.svg"/><Relationship Id="rId4" Type="http://schemas.openxmlformats.org/officeDocument/2006/relationships/image" Target="../media/image74.png"/><Relationship Id="rId9" Type="http://schemas.openxmlformats.org/officeDocument/2006/relationships/image" Target="../media/image79.svg"/></Relationships>
</file>

<file path=ppt/slides/_rels/slide9.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Layout" Target="../slideLayouts/slideLayout42.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 Id="rId9" Type="http://schemas.openxmlformats.org/officeDocument/2006/relationships/image" Target="../media/image8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5">
            <a:extLst>
              <a:ext uri="{FF2B5EF4-FFF2-40B4-BE49-F238E27FC236}">
                <a16:creationId xmlns:a16="http://schemas.microsoft.com/office/drawing/2014/main" id="{94FB46C5-B2D8-F91B-A412-DE98DA8F897A}"/>
              </a:ext>
            </a:extLst>
          </p:cNvPr>
          <p:cNvSpPr>
            <a:spLocks noGrp="1"/>
          </p:cNvSpPr>
          <p:nvPr>
            <p:ph type="subTitle" idx="1"/>
          </p:nvPr>
        </p:nvSpPr>
        <p:spPr>
          <a:xfrm>
            <a:off x="778528" y="4399679"/>
            <a:ext cx="5060639" cy="1214595"/>
          </a:xfrm>
        </p:spPr>
        <p:txBody>
          <a:bodyPr vert="horz" lIns="0" tIns="45720" rIns="0" bIns="45720" rtlCol="0" anchor="t">
            <a:noAutofit/>
          </a:bodyPr>
          <a:lstStyle/>
          <a:p>
            <a:r>
              <a:rPr lang="en-US" sz="2000" b="1" i="1">
                <a:solidFill>
                  <a:srgbClr val="FFFFFF"/>
                </a:solidFill>
                <a:latin typeface="+mn-lt"/>
                <a:ea typeface="Open Sans"/>
                <a:cs typeface="Open Sans"/>
              </a:rPr>
              <a:t>Bayer &amp; One Network Partner Summit</a:t>
            </a:r>
          </a:p>
          <a:p>
            <a:endParaRPr lang="en-US" b="1" i="1">
              <a:solidFill>
                <a:srgbClr val="FFFFFF"/>
              </a:solidFill>
              <a:latin typeface="+mn-lt"/>
              <a:ea typeface="Open Sans"/>
              <a:cs typeface="Open Sans"/>
            </a:endParaRPr>
          </a:p>
          <a:p>
            <a:r>
              <a:rPr lang="en-US" b="1" i="1">
                <a:solidFill>
                  <a:srgbClr val="FFFFFF"/>
                </a:solidFill>
                <a:latin typeface="+mn-lt"/>
                <a:ea typeface="Open Sans"/>
                <a:cs typeface="Open Sans"/>
              </a:rPr>
              <a:t>April</a:t>
            </a:r>
            <a:r>
              <a:rPr lang="en-US" sz="2000" b="1" i="1">
                <a:solidFill>
                  <a:srgbClr val="FFFFFF"/>
                </a:solidFill>
                <a:latin typeface="+mn-lt"/>
                <a:ea typeface="Open Sans"/>
                <a:cs typeface="Open Sans"/>
              </a:rPr>
              <a:t> 2024</a:t>
            </a:r>
            <a:endParaRPr lang="en-US"/>
          </a:p>
        </p:txBody>
      </p:sp>
      <p:sp>
        <p:nvSpPr>
          <p:cNvPr id="5" name="Title 6">
            <a:extLst>
              <a:ext uri="{FF2B5EF4-FFF2-40B4-BE49-F238E27FC236}">
                <a16:creationId xmlns:a16="http://schemas.microsoft.com/office/drawing/2014/main" id="{68B40D5D-5711-E36B-CAA0-22CD09BD77D2}"/>
              </a:ext>
            </a:extLst>
          </p:cNvPr>
          <p:cNvSpPr>
            <a:spLocks noGrp="1"/>
          </p:cNvSpPr>
          <p:nvPr>
            <p:ph type="ctrTitle"/>
          </p:nvPr>
        </p:nvSpPr>
        <p:spPr>
          <a:xfrm>
            <a:off x="780288" y="2136531"/>
            <a:ext cx="7772400" cy="1568041"/>
          </a:xfrm>
        </p:spPr>
        <p:txBody>
          <a:bodyPr/>
          <a:lstStyle/>
          <a:p>
            <a:r>
              <a:rPr lang="en-US">
                <a:solidFill>
                  <a:srgbClr val="FFFFFF"/>
                </a:solidFill>
              </a:rPr>
              <a:t>Supply Chain Visibility</a:t>
            </a:r>
          </a:p>
        </p:txBody>
      </p:sp>
      <p:pic>
        <p:nvPicPr>
          <p:cNvPr id="6" name="Picture 5">
            <a:extLst>
              <a:ext uri="{FF2B5EF4-FFF2-40B4-BE49-F238E27FC236}">
                <a16:creationId xmlns:a16="http://schemas.microsoft.com/office/drawing/2014/main" id="{AC919731-A265-E161-CFB9-6054C1B4F960}"/>
              </a:ext>
            </a:extLst>
          </p:cNvPr>
          <p:cNvPicPr>
            <a:picLocks noChangeAspect="1"/>
          </p:cNvPicPr>
          <p:nvPr/>
        </p:nvPicPr>
        <p:blipFill>
          <a:blip r:embed="rId3"/>
          <a:stretch>
            <a:fillRect/>
          </a:stretch>
        </p:blipFill>
        <p:spPr>
          <a:xfrm>
            <a:off x="1746815" y="638152"/>
            <a:ext cx="948992" cy="846556"/>
          </a:xfrm>
          <a:prstGeom prst="rect">
            <a:avLst/>
          </a:prstGeom>
        </p:spPr>
      </p:pic>
    </p:spTree>
    <p:extLst>
      <p:ext uri="{BB962C8B-B14F-4D97-AF65-F5344CB8AC3E}">
        <p14:creationId xmlns:p14="http://schemas.microsoft.com/office/powerpoint/2010/main" val="14340491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29E297-E798-08B1-A1CC-65371311D18E}"/>
              </a:ext>
            </a:extLst>
          </p:cNvPr>
          <p:cNvSpPr>
            <a:spLocks noGrp="1"/>
          </p:cNvSpPr>
          <p:nvPr>
            <p:ph type="body" sz="quarter" idx="11"/>
          </p:nvPr>
        </p:nvSpPr>
        <p:spPr/>
        <p:txBody>
          <a:bodyPr/>
          <a:lstStyle/>
          <a:p>
            <a:r>
              <a:rPr lang="en-US" sz="3200">
                <a:latin typeface="Open Sans"/>
                <a:ea typeface="Open Sans"/>
              </a:rPr>
              <a:t>All Partners Benefit</a:t>
            </a:r>
            <a:endParaRPr lang="en-US" sz="3200">
              <a:latin typeface="Open Sans"/>
            </a:endParaRPr>
          </a:p>
        </p:txBody>
      </p:sp>
      <p:graphicFrame>
        <p:nvGraphicFramePr>
          <p:cNvPr id="3" name="Table 2">
            <a:extLst>
              <a:ext uri="{FF2B5EF4-FFF2-40B4-BE49-F238E27FC236}">
                <a16:creationId xmlns:a16="http://schemas.microsoft.com/office/drawing/2014/main" id="{1C312072-B092-412E-81AA-32A802D2C4FF}"/>
              </a:ext>
            </a:extLst>
          </p:cNvPr>
          <p:cNvGraphicFramePr>
            <a:graphicFrameLocks noGrp="1"/>
          </p:cNvGraphicFramePr>
          <p:nvPr>
            <p:extLst>
              <p:ext uri="{D42A27DB-BD31-4B8C-83A1-F6EECF244321}">
                <p14:modId xmlns:p14="http://schemas.microsoft.com/office/powerpoint/2010/main" val="1998282365"/>
              </p:ext>
            </p:extLst>
          </p:nvPr>
        </p:nvGraphicFramePr>
        <p:xfrm>
          <a:off x="385111" y="1424651"/>
          <a:ext cx="11326046" cy="4914160"/>
        </p:xfrm>
        <a:graphic>
          <a:graphicData uri="http://schemas.openxmlformats.org/drawingml/2006/table">
            <a:tbl>
              <a:tblPr firstRow="1" bandRow="1">
                <a:tableStyleId>{5C22544A-7EE6-4342-B048-85BDC9FD1C3A}</a:tableStyleId>
              </a:tblPr>
              <a:tblGrid>
                <a:gridCol w="7213526">
                  <a:extLst>
                    <a:ext uri="{9D8B030D-6E8A-4147-A177-3AD203B41FA5}">
                      <a16:colId xmlns:a16="http://schemas.microsoft.com/office/drawing/2014/main" val="20001"/>
                    </a:ext>
                  </a:extLst>
                </a:gridCol>
                <a:gridCol w="149706">
                  <a:extLst>
                    <a:ext uri="{9D8B030D-6E8A-4147-A177-3AD203B41FA5}">
                      <a16:colId xmlns:a16="http://schemas.microsoft.com/office/drawing/2014/main" val="20002"/>
                    </a:ext>
                  </a:extLst>
                </a:gridCol>
                <a:gridCol w="1372014">
                  <a:extLst>
                    <a:ext uri="{9D8B030D-6E8A-4147-A177-3AD203B41FA5}">
                      <a16:colId xmlns:a16="http://schemas.microsoft.com/office/drawing/2014/main" val="20003"/>
                    </a:ext>
                  </a:extLst>
                </a:gridCol>
                <a:gridCol w="1320461">
                  <a:extLst>
                    <a:ext uri="{9D8B030D-6E8A-4147-A177-3AD203B41FA5}">
                      <a16:colId xmlns:a16="http://schemas.microsoft.com/office/drawing/2014/main" val="595203637"/>
                    </a:ext>
                  </a:extLst>
                </a:gridCol>
                <a:gridCol w="1270339">
                  <a:extLst>
                    <a:ext uri="{9D8B030D-6E8A-4147-A177-3AD203B41FA5}">
                      <a16:colId xmlns:a16="http://schemas.microsoft.com/office/drawing/2014/main" val="1350958320"/>
                    </a:ext>
                  </a:extLst>
                </a:gridCol>
              </a:tblGrid>
              <a:tr h="645863">
                <a:tc>
                  <a:txBody>
                    <a:bodyPr/>
                    <a:lstStyle/>
                    <a:p>
                      <a:pPr algn="l"/>
                      <a:r>
                        <a:rPr lang="en-US" sz="2000" b="1" i="0">
                          <a:solidFill>
                            <a:schemeClr val="bg1"/>
                          </a:solidFill>
                          <a:latin typeface="Poppins Medium"/>
                          <a:ea typeface="Lato"/>
                          <a:cs typeface="Poppins Medium"/>
                        </a:rPr>
                        <a:t>Value Driver</a:t>
                      </a:r>
                    </a:p>
                  </a:txBody>
                  <a:tcPr marL="62153" marR="62153" marT="31076" marB="310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2000" b="0" i="0">
                        <a:solidFill>
                          <a:schemeClr val="bg1"/>
                        </a:solidFill>
                        <a:latin typeface="Poppins Medium" pitchFamily="2" charset="77"/>
                        <a:ea typeface="Lato" panose="020F0502020204030203" pitchFamily="34" charset="0"/>
                        <a:cs typeface="Poppins Medium" pitchFamily="2" charset="77"/>
                      </a:endParaRPr>
                    </a:p>
                  </a:txBody>
                  <a:tcPr marL="62153" marR="62153" marT="31076" marB="310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US" sz="2000" b="0" i="0">
                          <a:solidFill>
                            <a:schemeClr val="bg1"/>
                          </a:solidFill>
                          <a:latin typeface="Poppins Medium"/>
                          <a:ea typeface="Lato"/>
                          <a:cs typeface="Poppins Medium"/>
                        </a:rPr>
                        <a:t>Bayer</a:t>
                      </a:r>
                    </a:p>
                  </a:txBody>
                  <a:tcPr marL="62153" marR="62153" marT="31076" marB="310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US" sz="2000" b="0" i="0">
                          <a:solidFill>
                            <a:schemeClr val="bg1"/>
                          </a:solidFill>
                          <a:latin typeface="Poppins Medium"/>
                          <a:ea typeface="Lato"/>
                          <a:cs typeface="Poppins Medium"/>
                        </a:rPr>
                        <a:t>RMS</a:t>
                      </a:r>
                    </a:p>
                  </a:txBody>
                  <a:tcPr marL="62153" marR="62153" marT="31076" marB="310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US" sz="2000" b="0" i="0">
                          <a:solidFill>
                            <a:schemeClr val="bg1"/>
                          </a:solidFill>
                          <a:latin typeface="Poppins Medium"/>
                          <a:ea typeface="Lato"/>
                          <a:cs typeface="Poppins Medium"/>
                        </a:rPr>
                        <a:t>LSP</a:t>
                      </a:r>
                    </a:p>
                  </a:txBody>
                  <a:tcPr marL="62153" marR="62153" marT="31076" marB="310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1940196">
                <a:tc>
                  <a:txBody>
                    <a:bodyPr/>
                    <a:lstStyle/>
                    <a:p>
                      <a:pPr marL="0" indent="0" algn="l">
                        <a:buFont typeface="Arial" panose="020B0604020202020204" pitchFamily="34" charset="0"/>
                        <a:buNone/>
                      </a:pPr>
                      <a:r>
                        <a:rPr lang="en-US" sz="1600" b="1" i="0">
                          <a:solidFill>
                            <a:schemeClr val="tx1"/>
                          </a:solidFill>
                          <a:latin typeface="+mn-lt"/>
                          <a:ea typeface="Lato Light"/>
                          <a:cs typeface="Lato Light"/>
                        </a:rPr>
                        <a:t>Revenue</a:t>
                      </a:r>
                    </a:p>
                    <a:p>
                      <a:pPr marL="285750" indent="-285750" algn="l">
                        <a:lnSpc>
                          <a:spcPct val="150000"/>
                        </a:lnSpc>
                        <a:spcBef>
                          <a:spcPts val="600"/>
                        </a:spcBef>
                        <a:buFont typeface="Arial" panose="020B0604020202020204" pitchFamily="34" charset="0"/>
                        <a:buChar char="•"/>
                      </a:pPr>
                      <a:r>
                        <a:rPr lang="en-US" sz="1400" b="0" i="0">
                          <a:solidFill>
                            <a:schemeClr val="tx1"/>
                          </a:solidFill>
                          <a:latin typeface="+mn-lt"/>
                          <a:ea typeface="Lato Light"/>
                          <a:cs typeface="Lato Light"/>
                        </a:rPr>
                        <a:t>Improved sell-through through, reduction in stockouts</a:t>
                      </a:r>
                    </a:p>
                    <a:p>
                      <a:pPr marL="285750" indent="-285750" algn="l">
                        <a:lnSpc>
                          <a:spcPct val="150000"/>
                        </a:lnSpc>
                        <a:buFont typeface="Arial" panose="020B0604020202020204" pitchFamily="34" charset="0"/>
                        <a:buChar char="•"/>
                      </a:pPr>
                      <a:r>
                        <a:rPr lang="en-US" sz="1400" b="0" i="0">
                          <a:solidFill>
                            <a:schemeClr val="tx1"/>
                          </a:solidFill>
                          <a:latin typeface="+mn-lt"/>
                          <a:ea typeface="Lato Light"/>
                          <a:cs typeface="Lato Light"/>
                        </a:rPr>
                        <a:t>Reduction in detention and demurrage charges</a:t>
                      </a:r>
                    </a:p>
                    <a:p>
                      <a:pPr marL="285750" indent="-285750" algn="l">
                        <a:lnSpc>
                          <a:spcPct val="150000"/>
                        </a:lnSpc>
                        <a:buFont typeface="Arial" panose="020B0604020202020204" pitchFamily="34" charset="0"/>
                        <a:buChar char="•"/>
                      </a:pPr>
                      <a:r>
                        <a:rPr lang="en-US" sz="1400" b="0" i="0">
                          <a:solidFill>
                            <a:schemeClr val="tx1"/>
                          </a:solidFill>
                          <a:latin typeface="+mn-lt"/>
                          <a:ea typeface="Lato Light"/>
                          <a:cs typeface="Lato Light"/>
                        </a:rPr>
                        <a:t>Reduction in driver turnaround times</a:t>
                      </a:r>
                    </a:p>
                    <a:p>
                      <a:pPr marL="0" indent="0" algn="l">
                        <a:lnSpc>
                          <a:spcPct val="100000"/>
                        </a:lnSpc>
                        <a:buFont typeface="Arial" panose="020B0604020202020204" pitchFamily="34" charset="0"/>
                        <a:buNone/>
                      </a:pPr>
                      <a:endParaRPr lang="en-US" sz="1400" b="0" i="0">
                        <a:solidFill>
                          <a:schemeClr val="tx1"/>
                        </a:solidFill>
                        <a:latin typeface="+mn-lt"/>
                        <a:ea typeface="Lato Light" panose="020F0502020204030203" pitchFamily="34" charset="0"/>
                        <a:cs typeface="Lato Light" panose="020F0502020204030203" pitchFamily="34" charset="0"/>
                      </a:endParaRPr>
                    </a:p>
                  </a:txBody>
                  <a:tcPr marL="18000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10002"/>
                  </a:ext>
                </a:extLst>
              </a:tr>
              <a:tr h="783045">
                <a:tc>
                  <a:txBody>
                    <a:bodyPr/>
                    <a:lstStyle/>
                    <a:p>
                      <a:pPr algn="l"/>
                      <a:r>
                        <a:rPr lang="en-US" sz="1600" b="1" i="0">
                          <a:solidFill>
                            <a:schemeClr val="tx1"/>
                          </a:solidFill>
                          <a:latin typeface="+mn-lt"/>
                          <a:ea typeface="Lato Light"/>
                          <a:cs typeface="Lato Light"/>
                        </a:rPr>
                        <a:t>Asset Utilization</a:t>
                      </a:r>
                    </a:p>
                    <a:p>
                      <a:pPr marL="285750" indent="-285750" algn="l">
                        <a:lnSpc>
                          <a:spcPct val="150000"/>
                        </a:lnSpc>
                        <a:spcBef>
                          <a:spcPts val="600"/>
                        </a:spcBef>
                        <a:buFont typeface="Arial" panose="020B0604020202020204" pitchFamily="34" charset="0"/>
                        <a:buChar char="•"/>
                      </a:pPr>
                      <a:r>
                        <a:rPr lang="en-US" sz="1400" b="0" i="0">
                          <a:solidFill>
                            <a:schemeClr val="tx1"/>
                          </a:solidFill>
                          <a:latin typeface="+mn-lt"/>
                          <a:ea typeface="Lato Light"/>
                          <a:cs typeface="Lato Light"/>
                        </a:rPr>
                        <a:t>Reduction in lead-time and lead-time variability:</a:t>
                      </a:r>
                    </a:p>
                    <a:p>
                      <a:pPr marL="894715" lvl="1" indent="-285750" algn="l">
                        <a:lnSpc>
                          <a:spcPct val="150000"/>
                        </a:lnSpc>
                        <a:buFont typeface="Arial" panose="020B0604020202020204" pitchFamily="34" charset="0"/>
                        <a:buChar char="•"/>
                      </a:pPr>
                      <a:r>
                        <a:rPr lang="en-US" sz="1400" b="0" i="0">
                          <a:solidFill>
                            <a:schemeClr val="tx1"/>
                          </a:solidFill>
                          <a:latin typeface="+mn-lt"/>
                          <a:ea typeface="Lato Light"/>
                          <a:cs typeface="Lato Light"/>
                        </a:rPr>
                        <a:t>Reduction in inventory and carrying costs</a:t>
                      </a:r>
                    </a:p>
                    <a:p>
                      <a:pPr marL="894715" lvl="1" indent="-285750" algn="l">
                        <a:lnSpc>
                          <a:spcPct val="150000"/>
                        </a:lnSpc>
                        <a:buFont typeface="Arial" panose="020B0604020202020204" pitchFamily="34" charset="0"/>
                        <a:buChar char="•"/>
                      </a:pPr>
                      <a:r>
                        <a:rPr lang="en-US" sz="1400" b="0" i="0">
                          <a:solidFill>
                            <a:schemeClr val="tx1"/>
                          </a:solidFill>
                          <a:latin typeface="+mn-lt"/>
                          <a:ea typeface="Lato Light"/>
                          <a:cs typeface="Lato Light"/>
                        </a:rPr>
                        <a:t>Reduction in carrier expedite spend</a:t>
                      </a:r>
                    </a:p>
                    <a:p>
                      <a:pPr marL="0" algn="l">
                        <a:spcBef>
                          <a:spcPts val="600"/>
                        </a:spcBef>
                      </a:pPr>
                      <a:r>
                        <a:rPr lang="en-US" sz="1600" b="1" i="0">
                          <a:solidFill>
                            <a:schemeClr val="tx1"/>
                          </a:solidFill>
                          <a:latin typeface="+mn-lt"/>
                          <a:ea typeface="Lato Light"/>
                          <a:cs typeface="Lato Light"/>
                        </a:rPr>
                        <a:t>Carrier Asset and Driver Utilization</a:t>
                      </a:r>
                    </a:p>
                    <a:p>
                      <a:pPr marL="285750" indent="-285750" algn="l">
                        <a:lnSpc>
                          <a:spcPct val="150000"/>
                        </a:lnSpc>
                        <a:spcBef>
                          <a:spcPts val="600"/>
                        </a:spcBef>
                        <a:buFont typeface="Arial" panose="020B0604020202020204" pitchFamily="34" charset="0"/>
                        <a:buChar char="•"/>
                      </a:pPr>
                      <a:r>
                        <a:rPr lang="en-US" sz="1400" b="0" i="0">
                          <a:solidFill>
                            <a:schemeClr val="tx1"/>
                          </a:solidFill>
                          <a:latin typeface="+mn-lt"/>
                          <a:ea typeface="Lato Light"/>
                          <a:cs typeface="Lato Light"/>
                        </a:rPr>
                        <a:t>Reduction in dwell time</a:t>
                      </a:r>
                    </a:p>
                    <a:p>
                      <a:pPr marL="895335" lvl="1" indent="-285750" algn="l">
                        <a:lnSpc>
                          <a:spcPct val="150000"/>
                        </a:lnSpc>
                        <a:buFont typeface="Arial" panose="020B0604020202020204" pitchFamily="34" charset="0"/>
                        <a:buChar char="•"/>
                      </a:pPr>
                      <a:endParaRPr lang="en-US" sz="1400" b="0" i="0">
                        <a:solidFill>
                          <a:schemeClr val="tx1"/>
                        </a:solidFill>
                        <a:latin typeface="+mn-lt"/>
                        <a:ea typeface="Lato Light" panose="020F0502020204030203" pitchFamily="34" charset="0"/>
                        <a:cs typeface="Lato Light" panose="020F0502020204030203" pitchFamily="34" charset="0"/>
                      </a:endParaRPr>
                    </a:p>
                  </a:txBody>
                  <a:tcPr marL="18000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3"/>
                  </a:ext>
                </a:extLst>
              </a:tr>
            </a:tbl>
          </a:graphicData>
        </a:graphic>
      </p:graphicFrame>
      <p:grpSp>
        <p:nvGrpSpPr>
          <p:cNvPr id="4" name="Group 3">
            <a:extLst>
              <a:ext uri="{FF2B5EF4-FFF2-40B4-BE49-F238E27FC236}">
                <a16:creationId xmlns:a16="http://schemas.microsoft.com/office/drawing/2014/main" id="{163707F5-AD23-FD6A-F363-1927FCAC0362}"/>
              </a:ext>
            </a:extLst>
          </p:cNvPr>
          <p:cNvGrpSpPr/>
          <p:nvPr/>
        </p:nvGrpSpPr>
        <p:grpSpPr>
          <a:xfrm>
            <a:off x="8248940" y="3017277"/>
            <a:ext cx="193549" cy="181413"/>
            <a:chOff x="1876443" y="5905870"/>
            <a:chExt cx="526098" cy="526096"/>
          </a:xfrm>
        </p:grpSpPr>
        <p:sp>
          <p:nvSpPr>
            <p:cNvPr id="5" name="Oval 4">
              <a:extLst>
                <a:ext uri="{FF2B5EF4-FFF2-40B4-BE49-F238E27FC236}">
                  <a16:creationId xmlns:a16="http://schemas.microsoft.com/office/drawing/2014/main" id="{6D051BE3-35E5-7AA4-C14A-7F4CD2BD9C31}"/>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 name="Freeform 16">
              <a:extLst>
                <a:ext uri="{FF2B5EF4-FFF2-40B4-BE49-F238E27FC236}">
                  <a16:creationId xmlns:a16="http://schemas.microsoft.com/office/drawing/2014/main" id="{F5A5EE19-EE96-6C11-D41A-12E79C95B339}"/>
                </a:ext>
              </a:extLst>
            </p:cNvPr>
            <p:cNvSpPr/>
            <p:nvPr/>
          </p:nvSpPr>
          <p:spPr>
            <a:xfrm rot="18641522">
              <a:off x="1995291" y="6074952"/>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7" name="Group 6">
            <a:extLst>
              <a:ext uri="{FF2B5EF4-FFF2-40B4-BE49-F238E27FC236}">
                <a16:creationId xmlns:a16="http://schemas.microsoft.com/office/drawing/2014/main" id="{71DECF8F-2E6A-3E7B-692D-7BC229322368}"/>
              </a:ext>
            </a:extLst>
          </p:cNvPr>
          <p:cNvGrpSpPr/>
          <p:nvPr/>
        </p:nvGrpSpPr>
        <p:grpSpPr>
          <a:xfrm>
            <a:off x="8248940" y="2666716"/>
            <a:ext cx="193549" cy="181413"/>
            <a:chOff x="1876443" y="5905870"/>
            <a:chExt cx="526098" cy="526096"/>
          </a:xfrm>
        </p:grpSpPr>
        <p:sp>
          <p:nvSpPr>
            <p:cNvPr id="8" name="Oval 7">
              <a:extLst>
                <a:ext uri="{FF2B5EF4-FFF2-40B4-BE49-F238E27FC236}">
                  <a16:creationId xmlns:a16="http://schemas.microsoft.com/office/drawing/2014/main" id="{CE3416ED-918D-8467-E0D5-0C5F693EAC04}"/>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Freeform 23">
              <a:extLst>
                <a:ext uri="{FF2B5EF4-FFF2-40B4-BE49-F238E27FC236}">
                  <a16:creationId xmlns:a16="http://schemas.microsoft.com/office/drawing/2014/main" id="{9A9CB002-0728-59EE-ED2A-44FF5872397F}"/>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11" name="Group 10">
            <a:extLst>
              <a:ext uri="{FF2B5EF4-FFF2-40B4-BE49-F238E27FC236}">
                <a16:creationId xmlns:a16="http://schemas.microsoft.com/office/drawing/2014/main" id="{DABAD7F9-2692-AC51-9799-F857B506478F}"/>
              </a:ext>
            </a:extLst>
          </p:cNvPr>
          <p:cNvGrpSpPr/>
          <p:nvPr/>
        </p:nvGrpSpPr>
        <p:grpSpPr>
          <a:xfrm>
            <a:off x="9723915" y="2666716"/>
            <a:ext cx="193549" cy="181413"/>
            <a:chOff x="1876443" y="5905870"/>
            <a:chExt cx="526098" cy="526096"/>
          </a:xfrm>
        </p:grpSpPr>
        <p:sp>
          <p:nvSpPr>
            <p:cNvPr id="12" name="Oval 11">
              <a:extLst>
                <a:ext uri="{FF2B5EF4-FFF2-40B4-BE49-F238E27FC236}">
                  <a16:creationId xmlns:a16="http://schemas.microsoft.com/office/drawing/2014/main" id="{9191DFFF-580F-C1D7-9DAE-767D7ADDE05A}"/>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Freeform 26">
              <a:extLst>
                <a:ext uri="{FF2B5EF4-FFF2-40B4-BE49-F238E27FC236}">
                  <a16:creationId xmlns:a16="http://schemas.microsoft.com/office/drawing/2014/main" id="{C8B5250D-9F24-067E-8C27-9AB90ED20836}"/>
                </a:ext>
              </a:extLst>
            </p:cNvPr>
            <p:cNvSpPr/>
            <p:nvPr/>
          </p:nvSpPr>
          <p:spPr>
            <a:xfrm rot="18641522">
              <a:off x="1995291" y="6074952"/>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14" name="Group 13">
            <a:extLst>
              <a:ext uri="{FF2B5EF4-FFF2-40B4-BE49-F238E27FC236}">
                <a16:creationId xmlns:a16="http://schemas.microsoft.com/office/drawing/2014/main" id="{1F7E9FFB-DDFC-78C1-737B-6D6F47F7603D}"/>
              </a:ext>
            </a:extLst>
          </p:cNvPr>
          <p:cNvGrpSpPr/>
          <p:nvPr/>
        </p:nvGrpSpPr>
        <p:grpSpPr>
          <a:xfrm>
            <a:off x="9723915" y="3017396"/>
            <a:ext cx="193549" cy="181413"/>
            <a:chOff x="1876443" y="5905870"/>
            <a:chExt cx="526098" cy="526096"/>
          </a:xfrm>
        </p:grpSpPr>
        <p:sp>
          <p:nvSpPr>
            <p:cNvPr id="15" name="Oval 14">
              <a:extLst>
                <a:ext uri="{FF2B5EF4-FFF2-40B4-BE49-F238E27FC236}">
                  <a16:creationId xmlns:a16="http://schemas.microsoft.com/office/drawing/2014/main" id="{07EC141C-DEAD-A1E7-075E-29B90210C69C}"/>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Freeform 29">
              <a:extLst>
                <a:ext uri="{FF2B5EF4-FFF2-40B4-BE49-F238E27FC236}">
                  <a16:creationId xmlns:a16="http://schemas.microsoft.com/office/drawing/2014/main" id="{9B410CDC-2B05-6698-752E-88E6AAAAC3B1}"/>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23" name="Group 22">
            <a:extLst>
              <a:ext uri="{FF2B5EF4-FFF2-40B4-BE49-F238E27FC236}">
                <a16:creationId xmlns:a16="http://schemas.microsoft.com/office/drawing/2014/main" id="{570C2F2B-DF78-2263-99A3-16AFD75630AE}"/>
              </a:ext>
            </a:extLst>
          </p:cNvPr>
          <p:cNvGrpSpPr/>
          <p:nvPr/>
        </p:nvGrpSpPr>
        <p:grpSpPr>
          <a:xfrm>
            <a:off x="8248940" y="4731200"/>
            <a:ext cx="193549" cy="181413"/>
            <a:chOff x="1876443" y="5905870"/>
            <a:chExt cx="526098" cy="526096"/>
          </a:xfrm>
        </p:grpSpPr>
        <p:sp>
          <p:nvSpPr>
            <p:cNvPr id="24" name="Oval 23">
              <a:extLst>
                <a:ext uri="{FF2B5EF4-FFF2-40B4-BE49-F238E27FC236}">
                  <a16:creationId xmlns:a16="http://schemas.microsoft.com/office/drawing/2014/main" id="{30799DFC-7D3B-FAF5-3BE2-234FCC0B2F5D}"/>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5" name="Freeform 23">
              <a:extLst>
                <a:ext uri="{FF2B5EF4-FFF2-40B4-BE49-F238E27FC236}">
                  <a16:creationId xmlns:a16="http://schemas.microsoft.com/office/drawing/2014/main" id="{DE86B086-0D0C-12C9-459D-267B64F618E3}"/>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26" name="Group 25">
            <a:extLst>
              <a:ext uri="{FF2B5EF4-FFF2-40B4-BE49-F238E27FC236}">
                <a16:creationId xmlns:a16="http://schemas.microsoft.com/office/drawing/2014/main" id="{272499FA-6902-A59A-ED3A-C6DC32CDE501}"/>
              </a:ext>
            </a:extLst>
          </p:cNvPr>
          <p:cNvGrpSpPr/>
          <p:nvPr/>
        </p:nvGrpSpPr>
        <p:grpSpPr>
          <a:xfrm>
            <a:off x="9723915" y="4731200"/>
            <a:ext cx="193549" cy="181413"/>
            <a:chOff x="1876443" y="5905870"/>
            <a:chExt cx="526098" cy="526096"/>
          </a:xfrm>
        </p:grpSpPr>
        <p:sp>
          <p:nvSpPr>
            <p:cNvPr id="27" name="Oval 26">
              <a:extLst>
                <a:ext uri="{FF2B5EF4-FFF2-40B4-BE49-F238E27FC236}">
                  <a16:creationId xmlns:a16="http://schemas.microsoft.com/office/drawing/2014/main" id="{FBB9B12F-61FA-8B64-D9F3-4F4CC884BEA4}"/>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8" name="Freeform 26">
              <a:extLst>
                <a:ext uri="{FF2B5EF4-FFF2-40B4-BE49-F238E27FC236}">
                  <a16:creationId xmlns:a16="http://schemas.microsoft.com/office/drawing/2014/main" id="{BC131071-B7C8-D1C4-9431-E9812B1E990A}"/>
                </a:ext>
              </a:extLst>
            </p:cNvPr>
            <p:cNvSpPr/>
            <p:nvPr/>
          </p:nvSpPr>
          <p:spPr>
            <a:xfrm rot="18641522">
              <a:off x="1995291" y="6074952"/>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29" name="Group 28">
            <a:extLst>
              <a:ext uri="{FF2B5EF4-FFF2-40B4-BE49-F238E27FC236}">
                <a16:creationId xmlns:a16="http://schemas.microsoft.com/office/drawing/2014/main" id="{3473C23D-589C-737E-C65C-34424C0DE261}"/>
              </a:ext>
            </a:extLst>
          </p:cNvPr>
          <p:cNvGrpSpPr/>
          <p:nvPr/>
        </p:nvGrpSpPr>
        <p:grpSpPr>
          <a:xfrm>
            <a:off x="9723915" y="5094034"/>
            <a:ext cx="193549" cy="181413"/>
            <a:chOff x="1876443" y="5905870"/>
            <a:chExt cx="526098" cy="526096"/>
          </a:xfrm>
        </p:grpSpPr>
        <p:sp>
          <p:nvSpPr>
            <p:cNvPr id="30" name="Oval 29">
              <a:extLst>
                <a:ext uri="{FF2B5EF4-FFF2-40B4-BE49-F238E27FC236}">
                  <a16:creationId xmlns:a16="http://schemas.microsoft.com/office/drawing/2014/main" id="{20F455A9-856C-8F7A-0F34-81F57B8D811C}"/>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1" name="Freeform 29">
              <a:extLst>
                <a:ext uri="{FF2B5EF4-FFF2-40B4-BE49-F238E27FC236}">
                  <a16:creationId xmlns:a16="http://schemas.microsoft.com/office/drawing/2014/main" id="{03FCB6A1-CD8F-B98A-F5F5-7520A0391BF5}"/>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35" name="Group 34">
            <a:extLst>
              <a:ext uri="{FF2B5EF4-FFF2-40B4-BE49-F238E27FC236}">
                <a16:creationId xmlns:a16="http://schemas.microsoft.com/office/drawing/2014/main" id="{48A65659-8C73-A1ED-BC86-1E9D94A81141}"/>
              </a:ext>
            </a:extLst>
          </p:cNvPr>
          <p:cNvGrpSpPr/>
          <p:nvPr/>
        </p:nvGrpSpPr>
        <p:grpSpPr>
          <a:xfrm>
            <a:off x="8248940" y="5108346"/>
            <a:ext cx="193549" cy="181413"/>
            <a:chOff x="1876443" y="5905870"/>
            <a:chExt cx="526098" cy="526096"/>
          </a:xfrm>
        </p:grpSpPr>
        <p:sp>
          <p:nvSpPr>
            <p:cNvPr id="36" name="Oval 35">
              <a:extLst>
                <a:ext uri="{FF2B5EF4-FFF2-40B4-BE49-F238E27FC236}">
                  <a16:creationId xmlns:a16="http://schemas.microsoft.com/office/drawing/2014/main" id="{A41AC4A1-1A4B-8E65-EDB5-937C93AA5C13}"/>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7" name="Freeform 23">
              <a:extLst>
                <a:ext uri="{FF2B5EF4-FFF2-40B4-BE49-F238E27FC236}">
                  <a16:creationId xmlns:a16="http://schemas.microsoft.com/office/drawing/2014/main" id="{556694C2-B5EB-B3B9-F960-9F3954F05707}"/>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44" name="Group 43">
            <a:extLst>
              <a:ext uri="{FF2B5EF4-FFF2-40B4-BE49-F238E27FC236}">
                <a16:creationId xmlns:a16="http://schemas.microsoft.com/office/drawing/2014/main" id="{A09C8D9C-DB21-EEB0-C524-2867FE55FCAE}"/>
              </a:ext>
            </a:extLst>
          </p:cNvPr>
          <p:cNvGrpSpPr/>
          <p:nvPr/>
        </p:nvGrpSpPr>
        <p:grpSpPr>
          <a:xfrm>
            <a:off x="10960139" y="3383438"/>
            <a:ext cx="193549" cy="181413"/>
            <a:chOff x="1876443" y="5905870"/>
            <a:chExt cx="526098" cy="526096"/>
          </a:xfrm>
        </p:grpSpPr>
        <p:sp>
          <p:nvSpPr>
            <p:cNvPr id="45" name="Oval 44">
              <a:extLst>
                <a:ext uri="{FF2B5EF4-FFF2-40B4-BE49-F238E27FC236}">
                  <a16:creationId xmlns:a16="http://schemas.microsoft.com/office/drawing/2014/main" id="{93AB9DEB-249F-9500-3CF6-C4BA65431E93}"/>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6" name="Freeform 16">
              <a:extLst>
                <a:ext uri="{FF2B5EF4-FFF2-40B4-BE49-F238E27FC236}">
                  <a16:creationId xmlns:a16="http://schemas.microsoft.com/office/drawing/2014/main" id="{BFF23A95-E6D1-7FC8-0C45-50D9A25A9E0A}"/>
                </a:ext>
              </a:extLst>
            </p:cNvPr>
            <p:cNvSpPr/>
            <p:nvPr/>
          </p:nvSpPr>
          <p:spPr>
            <a:xfrm rot="18641522">
              <a:off x="1995291" y="6074952"/>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67" name="Group 66">
            <a:extLst>
              <a:ext uri="{FF2B5EF4-FFF2-40B4-BE49-F238E27FC236}">
                <a16:creationId xmlns:a16="http://schemas.microsoft.com/office/drawing/2014/main" id="{DB95FA64-E2BC-46D3-B1B3-451FB312CCD3}"/>
              </a:ext>
            </a:extLst>
          </p:cNvPr>
          <p:cNvGrpSpPr/>
          <p:nvPr/>
        </p:nvGrpSpPr>
        <p:grpSpPr>
          <a:xfrm>
            <a:off x="10960139" y="5850118"/>
            <a:ext cx="193549" cy="181413"/>
            <a:chOff x="1876443" y="5905870"/>
            <a:chExt cx="526098" cy="526096"/>
          </a:xfrm>
        </p:grpSpPr>
        <p:sp>
          <p:nvSpPr>
            <p:cNvPr id="68" name="Oval 67">
              <a:extLst>
                <a:ext uri="{FF2B5EF4-FFF2-40B4-BE49-F238E27FC236}">
                  <a16:creationId xmlns:a16="http://schemas.microsoft.com/office/drawing/2014/main" id="{D62A3676-F8A9-80CF-663E-5AE59CF61DBA}"/>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9" name="Freeform 16">
              <a:extLst>
                <a:ext uri="{FF2B5EF4-FFF2-40B4-BE49-F238E27FC236}">
                  <a16:creationId xmlns:a16="http://schemas.microsoft.com/office/drawing/2014/main" id="{9A656BDD-C66D-1B94-D386-9A1473A86C7D}"/>
                </a:ext>
              </a:extLst>
            </p:cNvPr>
            <p:cNvSpPr/>
            <p:nvPr/>
          </p:nvSpPr>
          <p:spPr>
            <a:xfrm rot="18641522">
              <a:off x="1995291" y="6074952"/>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Tree>
    <p:extLst>
      <p:ext uri="{BB962C8B-B14F-4D97-AF65-F5344CB8AC3E}">
        <p14:creationId xmlns:p14="http://schemas.microsoft.com/office/powerpoint/2010/main" val="34290148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29E297-E798-08B1-A1CC-65371311D18E}"/>
              </a:ext>
            </a:extLst>
          </p:cNvPr>
          <p:cNvSpPr>
            <a:spLocks noGrp="1"/>
          </p:cNvSpPr>
          <p:nvPr>
            <p:ph type="body" sz="quarter" idx="11"/>
          </p:nvPr>
        </p:nvSpPr>
        <p:spPr/>
        <p:txBody>
          <a:bodyPr/>
          <a:lstStyle/>
          <a:p>
            <a:r>
              <a:rPr lang="en-US" sz="3200">
                <a:latin typeface="Open Sans"/>
                <a:ea typeface="Open Sans"/>
              </a:rPr>
              <a:t>All Partners Benefit Cont'd</a:t>
            </a:r>
          </a:p>
        </p:txBody>
      </p:sp>
      <p:graphicFrame>
        <p:nvGraphicFramePr>
          <p:cNvPr id="9" name="Table 8">
            <a:extLst>
              <a:ext uri="{FF2B5EF4-FFF2-40B4-BE49-F238E27FC236}">
                <a16:creationId xmlns:a16="http://schemas.microsoft.com/office/drawing/2014/main" id="{EBC76674-D92C-0398-CE76-269AE286316D}"/>
              </a:ext>
            </a:extLst>
          </p:cNvPr>
          <p:cNvGraphicFramePr>
            <a:graphicFrameLocks noGrp="1"/>
          </p:cNvGraphicFramePr>
          <p:nvPr>
            <p:extLst>
              <p:ext uri="{D42A27DB-BD31-4B8C-83A1-F6EECF244321}">
                <p14:modId xmlns:p14="http://schemas.microsoft.com/office/powerpoint/2010/main" val="3020470658"/>
              </p:ext>
            </p:extLst>
          </p:nvPr>
        </p:nvGraphicFramePr>
        <p:xfrm>
          <a:off x="371607" y="1500058"/>
          <a:ext cx="11326046" cy="3537844"/>
        </p:xfrm>
        <a:graphic>
          <a:graphicData uri="http://schemas.openxmlformats.org/drawingml/2006/table">
            <a:tbl>
              <a:tblPr firstRow="1" bandRow="1">
                <a:tableStyleId>{5C22544A-7EE6-4342-B048-85BDC9FD1C3A}</a:tableStyleId>
              </a:tblPr>
              <a:tblGrid>
                <a:gridCol w="7213526">
                  <a:extLst>
                    <a:ext uri="{9D8B030D-6E8A-4147-A177-3AD203B41FA5}">
                      <a16:colId xmlns:a16="http://schemas.microsoft.com/office/drawing/2014/main" val="20001"/>
                    </a:ext>
                  </a:extLst>
                </a:gridCol>
                <a:gridCol w="149706">
                  <a:extLst>
                    <a:ext uri="{9D8B030D-6E8A-4147-A177-3AD203B41FA5}">
                      <a16:colId xmlns:a16="http://schemas.microsoft.com/office/drawing/2014/main" val="20002"/>
                    </a:ext>
                  </a:extLst>
                </a:gridCol>
                <a:gridCol w="1372014">
                  <a:extLst>
                    <a:ext uri="{9D8B030D-6E8A-4147-A177-3AD203B41FA5}">
                      <a16:colId xmlns:a16="http://schemas.microsoft.com/office/drawing/2014/main" val="20003"/>
                    </a:ext>
                  </a:extLst>
                </a:gridCol>
                <a:gridCol w="1320461">
                  <a:extLst>
                    <a:ext uri="{9D8B030D-6E8A-4147-A177-3AD203B41FA5}">
                      <a16:colId xmlns:a16="http://schemas.microsoft.com/office/drawing/2014/main" val="595203637"/>
                    </a:ext>
                  </a:extLst>
                </a:gridCol>
                <a:gridCol w="1270339">
                  <a:extLst>
                    <a:ext uri="{9D8B030D-6E8A-4147-A177-3AD203B41FA5}">
                      <a16:colId xmlns:a16="http://schemas.microsoft.com/office/drawing/2014/main" val="1350958320"/>
                    </a:ext>
                  </a:extLst>
                </a:gridCol>
              </a:tblGrid>
              <a:tr h="645863">
                <a:tc>
                  <a:txBody>
                    <a:bodyPr/>
                    <a:lstStyle/>
                    <a:p>
                      <a:pPr algn="l"/>
                      <a:r>
                        <a:rPr lang="en-US" sz="2000" b="1" i="0">
                          <a:solidFill>
                            <a:schemeClr val="bg1"/>
                          </a:solidFill>
                          <a:latin typeface="Poppins Medium"/>
                          <a:ea typeface="Lato"/>
                          <a:cs typeface="Poppins Medium"/>
                        </a:rPr>
                        <a:t>Value Driver</a:t>
                      </a:r>
                    </a:p>
                  </a:txBody>
                  <a:tcPr marL="62153" marR="62153" marT="31076" marB="310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2000" b="0" i="0">
                        <a:solidFill>
                          <a:schemeClr val="bg1"/>
                        </a:solidFill>
                        <a:latin typeface="Poppins Medium" pitchFamily="2" charset="77"/>
                        <a:ea typeface="Lato" panose="020F0502020204030203" pitchFamily="34" charset="0"/>
                        <a:cs typeface="Poppins Medium" pitchFamily="2" charset="77"/>
                      </a:endParaRPr>
                    </a:p>
                  </a:txBody>
                  <a:tcPr marL="62153" marR="62153" marT="31076" marB="310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US" sz="2000" b="0" i="0">
                          <a:solidFill>
                            <a:schemeClr val="bg1"/>
                          </a:solidFill>
                          <a:latin typeface="Poppins Medium"/>
                          <a:ea typeface="Lato"/>
                          <a:cs typeface="Poppins Medium"/>
                        </a:rPr>
                        <a:t>Bayer</a:t>
                      </a:r>
                    </a:p>
                  </a:txBody>
                  <a:tcPr marL="62153" marR="62153" marT="31076" marB="310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US" sz="2000" b="0" i="0">
                          <a:solidFill>
                            <a:schemeClr val="bg1"/>
                          </a:solidFill>
                          <a:latin typeface="Poppins Medium"/>
                          <a:ea typeface="Lato"/>
                          <a:cs typeface="Poppins Medium"/>
                        </a:rPr>
                        <a:t>RMS</a:t>
                      </a:r>
                    </a:p>
                  </a:txBody>
                  <a:tcPr marL="62153" marR="62153" marT="31076" marB="310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US" sz="2000" b="0" i="0">
                          <a:solidFill>
                            <a:schemeClr val="bg1"/>
                          </a:solidFill>
                          <a:latin typeface="Poppins Medium"/>
                          <a:ea typeface="Lato"/>
                          <a:cs typeface="Poppins Medium"/>
                        </a:rPr>
                        <a:t>LSP</a:t>
                      </a:r>
                    </a:p>
                  </a:txBody>
                  <a:tcPr marL="62153" marR="62153" marT="31076" marB="310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783045">
                <a:tc>
                  <a:txBody>
                    <a:bodyPr/>
                    <a:lstStyle/>
                    <a:p>
                      <a:pPr algn="l">
                        <a:spcBef>
                          <a:spcPts val="600"/>
                        </a:spcBef>
                      </a:pPr>
                      <a:r>
                        <a:rPr lang="en-US" sz="1600" b="1" i="0">
                          <a:solidFill>
                            <a:schemeClr val="tx1"/>
                          </a:solidFill>
                          <a:latin typeface="+mn-lt"/>
                          <a:ea typeface="Lato Light"/>
                          <a:cs typeface="Lato Light"/>
                        </a:rPr>
                        <a:t>Staff Efficiency and Effectiveness</a:t>
                      </a:r>
                    </a:p>
                    <a:p>
                      <a:pPr marL="285750" indent="-285750" algn="l">
                        <a:lnSpc>
                          <a:spcPct val="150000"/>
                        </a:lnSpc>
                        <a:spcBef>
                          <a:spcPts val="600"/>
                        </a:spcBef>
                        <a:buFont typeface="Arial" panose="020B0604020202020204" pitchFamily="34" charset="0"/>
                        <a:buChar char="•"/>
                      </a:pPr>
                      <a:r>
                        <a:rPr lang="en-US" sz="1400" b="0" i="0">
                          <a:solidFill>
                            <a:schemeClr val="tx1"/>
                          </a:solidFill>
                          <a:latin typeface="+mn-lt"/>
                          <a:ea typeface="Lato Light"/>
                          <a:cs typeface="Lato Light"/>
                        </a:rPr>
                        <a:t>Customer Service and Transportation Scheduling:</a:t>
                      </a:r>
                    </a:p>
                    <a:p>
                      <a:pPr marL="894715" lvl="1" indent="-285750" algn="l">
                        <a:lnSpc>
                          <a:spcPct val="150000"/>
                        </a:lnSpc>
                        <a:buFont typeface="Arial" panose="020B0604020202020204" pitchFamily="34" charset="0"/>
                        <a:buChar char="•"/>
                      </a:pPr>
                      <a:r>
                        <a:rPr lang="en-US" sz="1400" b="0" i="0">
                          <a:solidFill>
                            <a:schemeClr val="tx1"/>
                          </a:solidFill>
                          <a:latin typeface="+mn-lt"/>
                          <a:ea typeface="Lato Light"/>
                          <a:cs typeface="Lato Light"/>
                        </a:rPr>
                        <a:t>Reduction in shipment status time (emails and phone calls)</a:t>
                      </a:r>
                    </a:p>
                    <a:p>
                      <a:pPr marL="285750" lvl="0" indent="-285750" algn="l">
                        <a:lnSpc>
                          <a:spcPct val="150000"/>
                        </a:lnSpc>
                        <a:buFont typeface="Arial" panose="020B0604020202020204" pitchFamily="34" charset="0"/>
                        <a:buChar char="•"/>
                      </a:pPr>
                      <a:r>
                        <a:rPr lang="en-US" sz="1400" b="0" i="0">
                          <a:solidFill>
                            <a:schemeClr val="tx1"/>
                          </a:solidFill>
                          <a:latin typeface="+mn-lt"/>
                          <a:ea typeface="Lato Light"/>
                          <a:cs typeface="Lato Light"/>
                        </a:rPr>
                        <a:t>Cross-functional Staff Efficiency and Effectiveness</a:t>
                      </a:r>
                    </a:p>
                    <a:p>
                      <a:pPr marL="894715" lvl="1" indent="-285750" algn="l">
                        <a:lnSpc>
                          <a:spcPct val="150000"/>
                        </a:lnSpc>
                        <a:buFont typeface="Arial" panose="020B0604020202020204" pitchFamily="34" charset="0"/>
                        <a:buChar char="•"/>
                      </a:pPr>
                      <a:r>
                        <a:rPr lang="en-US" sz="1400" b="0" i="0">
                          <a:solidFill>
                            <a:schemeClr val="tx1"/>
                          </a:solidFill>
                          <a:latin typeface="+mn-lt"/>
                          <a:ea typeface="Lato Light"/>
                          <a:cs typeface="Lato Light"/>
                        </a:rPr>
                        <a:t>Automated reporting and analysis</a:t>
                      </a:r>
                    </a:p>
                    <a:p>
                      <a:pPr marL="894715" lvl="1" indent="-285750" algn="l">
                        <a:lnSpc>
                          <a:spcPct val="150000"/>
                        </a:lnSpc>
                        <a:buFont typeface="Arial" panose="020B0604020202020204" pitchFamily="34" charset="0"/>
                        <a:buChar char="•"/>
                      </a:pPr>
                      <a:r>
                        <a:rPr lang="en-US" sz="1400" b="0" i="0">
                          <a:solidFill>
                            <a:schemeClr val="tx1"/>
                          </a:solidFill>
                          <a:latin typeface="+mn-lt"/>
                          <a:ea typeface="Lato Light"/>
                          <a:cs typeface="Lato Light"/>
                        </a:rPr>
                        <a:t>Historical and real-time shipment status</a:t>
                      </a:r>
                    </a:p>
                    <a:p>
                      <a:pPr marL="894715" lvl="1" indent="-285750" algn="l">
                        <a:lnSpc>
                          <a:spcPct val="150000"/>
                        </a:lnSpc>
                        <a:buFont typeface="Arial" panose="020B0604020202020204" pitchFamily="34" charset="0"/>
                        <a:buChar char="•"/>
                      </a:pPr>
                      <a:r>
                        <a:rPr lang="en-US" sz="1400" b="0" i="0">
                          <a:solidFill>
                            <a:schemeClr val="tx1"/>
                          </a:solidFill>
                          <a:latin typeface="+mn-lt"/>
                          <a:ea typeface="Lato Light"/>
                          <a:cs typeface="Lato Light"/>
                        </a:rPr>
                        <a:t>Predicted late pick-ups and deliveries</a:t>
                      </a:r>
                    </a:p>
                    <a:p>
                      <a:pPr marL="894715" lvl="1" indent="-285750" algn="l">
                        <a:lnSpc>
                          <a:spcPct val="150000"/>
                        </a:lnSpc>
                        <a:buFont typeface="Arial" panose="020B0604020202020204" pitchFamily="34" charset="0"/>
                        <a:buChar char="•"/>
                      </a:pPr>
                      <a:r>
                        <a:rPr lang="en-US" sz="1400" b="0" i="0">
                          <a:solidFill>
                            <a:schemeClr val="tx1"/>
                          </a:solidFill>
                          <a:latin typeface="+mn-lt"/>
                          <a:ea typeface="Lato Light"/>
                          <a:cs typeface="Lato Light"/>
                        </a:rPr>
                        <a:t>Automated Performance Scorecards</a:t>
                      </a:r>
                    </a:p>
                    <a:p>
                      <a:pPr marL="895335" lvl="1" indent="-285750" algn="l">
                        <a:lnSpc>
                          <a:spcPct val="150000"/>
                        </a:lnSpc>
                        <a:buFont typeface="Arial" panose="020B0604020202020204" pitchFamily="34" charset="0"/>
                        <a:buChar char="•"/>
                      </a:pPr>
                      <a:endParaRPr lang="en-US" sz="1400" b="0" i="0">
                        <a:solidFill>
                          <a:schemeClr val="tx1"/>
                        </a:solidFill>
                        <a:latin typeface="+mn-lt"/>
                        <a:ea typeface="Lato Light" panose="020F0502020204030203" pitchFamily="34" charset="0"/>
                        <a:cs typeface="Lato Light" panose="020F0502020204030203" pitchFamily="34" charset="0"/>
                      </a:endParaRPr>
                    </a:p>
                  </a:txBody>
                  <a:tcPr marL="18000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3"/>
                  </a:ext>
                </a:extLst>
              </a:tr>
            </a:tbl>
          </a:graphicData>
        </a:graphic>
      </p:graphicFrame>
      <p:grpSp>
        <p:nvGrpSpPr>
          <p:cNvPr id="32" name="Group 31">
            <a:extLst>
              <a:ext uri="{FF2B5EF4-FFF2-40B4-BE49-F238E27FC236}">
                <a16:creationId xmlns:a16="http://schemas.microsoft.com/office/drawing/2014/main" id="{31D72906-8190-74D6-DE07-3AE9EDDF5038}"/>
              </a:ext>
            </a:extLst>
          </p:cNvPr>
          <p:cNvGrpSpPr/>
          <p:nvPr/>
        </p:nvGrpSpPr>
        <p:grpSpPr>
          <a:xfrm>
            <a:off x="9747452" y="2887378"/>
            <a:ext cx="193549" cy="181413"/>
            <a:chOff x="1876443" y="5905870"/>
            <a:chExt cx="526098" cy="526096"/>
          </a:xfrm>
        </p:grpSpPr>
        <p:sp>
          <p:nvSpPr>
            <p:cNvPr id="33" name="Oval 32">
              <a:extLst>
                <a:ext uri="{FF2B5EF4-FFF2-40B4-BE49-F238E27FC236}">
                  <a16:creationId xmlns:a16="http://schemas.microsoft.com/office/drawing/2014/main" id="{F2AD918C-5C88-6BB7-E062-887269EFC7CC}"/>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4" name="Freeform 32">
              <a:extLst>
                <a:ext uri="{FF2B5EF4-FFF2-40B4-BE49-F238E27FC236}">
                  <a16:creationId xmlns:a16="http://schemas.microsoft.com/office/drawing/2014/main" id="{2B380902-C7CB-47CE-9BCB-8A4ED5C77898}"/>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38" name="Group 37">
            <a:extLst>
              <a:ext uri="{FF2B5EF4-FFF2-40B4-BE49-F238E27FC236}">
                <a16:creationId xmlns:a16="http://schemas.microsoft.com/office/drawing/2014/main" id="{318ADE62-C06A-448A-379A-4CCF8219DAF4}"/>
              </a:ext>
            </a:extLst>
          </p:cNvPr>
          <p:cNvGrpSpPr/>
          <p:nvPr/>
        </p:nvGrpSpPr>
        <p:grpSpPr>
          <a:xfrm>
            <a:off x="11048629" y="2891767"/>
            <a:ext cx="193549" cy="181413"/>
            <a:chOff x="1876443" y="5905870"/>
            <a:chExt cx="526098" cy="526096"/>
          </a:xfrm>
        </p:grpSpPr>
        <p:sp>
          <p:nvSpPr>
            <p:cNvPr id="39" name="Oval 38">
              <a:extLst>
                <a:ext uri="{FF2B5EF4-FFF2-40B4-BE49-F238E27FC236}">
                  <a16:creationId xmlns:a16="http://schemas.microsoft.com/office/drawing/2014/main" id="{33FEB72E-3761-B45F-D71C-69781D0A4FF2}"/>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0" name="Freeform 13">
              <a:extLst>
                <a:ext uri="{FF2B5EF4-FFF2-40B4-BE49-F238E27FC236}">
                  <a16:creationId xmlns:a16="http://schemas.microsoft.com/office/drawing/2014/main" id="{B05C470B-2470-A3EC-1BCA-A31878F4DBD9}"/>
                </a:ext>
              </a:extLst>
            </p:cNvPr>
            <p:cNvSpPr/>
            <p:nvPr/>
          </p:nvSpPr>
          <p:spPr>
            <a:xfrm rot="18641522">
              <a:off x="1995291" y="6074952"/>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41" name="Group 40">
            <a:extLst>
              <a:ext uri="{FF2B5EF4-FFF2-40B4-BE49-F238E27FC236}">
                <a16:creationId xmlns:a16="http://schemas.microsoft.com/office/drawing/2014/main" id="{72114355-69D7-A675-B1C5-53D03F705CE4}"/>
              </a:ext>
            </a:extLst>
          </p:cNvPr>
          <p:cNvGrpSpPr/>
          <p:nvPr/>
        </p:nvGrpSpPr>
        <p:grpSpPr>
          <a:xfrm>
            <a:off x="8274137" y="2892820"/>
            <a:ext cx="193549" cy="181413"/>
            <a:chOff x="1876443" y="5905870"/>
            <a:chExt cx="526098" cy="526096"/>
          </a:xfrm>
        </p:grpSpPr>
        <p:sp>
          <p:nvSpPr>
            <p:cNvPr id="42" name="Oval 41">
              <a:extLst>
                <a:ext uri="{FF2B5EF4-FFF2-40B4-BE49-F238E27FC236}">
                  <a16:creationId xmlns:a16="http://schemas.microsoft.com/office/drawing/2014/main" id="{CDDCAE1E-E72B-FC2C-3E69-788D98B884E2}"/>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3" name="Freeform 16">
              <a:extLst>
                <a:ext uri="{FF2B5EF4-FFF2-40B4-BE49-F238E27FC236}">
                  <a16:creationId xmlns:a16="http://schemas.microsoft.com/office/drawing/2014/main" id="{11A48ED1-1C0F-4DFF-86A1-366EA894BE7E}"/>
                </a:ext>
              </a:extLst>
            </p:cNvPr>
            <p:cNvSpPr/>
            <p:nvPr/>
          </p:nvSpPr>
          <p:spPr>
            <a:xfrm rot="18641522">
              <a:off x="1995291" y="6074952"/>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56" name="Group 55">
            <a:extLst>
              <a:ext uri="{FF2B5EF4-FFF2-40B4-BE49-F238E27FC236}">
                <a16:creationId xmlns:a16="http://schemas.microsoft.com/office/drawing/2014/main" id="{8ACFC7B8-9C98-8A48-9C38-669CB180626E}"/>
              </a:ext>
            </a:extLst>
          </p:cNvPr>
          <p:cNvGrpSpPr/>
          <p:nvPr/>
        </p:nvGrpSpPr>
        <p:grpSpPr>
          <a:xfrm>
            <a:off x="9747452" y="3586088"/>
            <a:ext cx="193549" cy="181413"/>
            <a:chOff x="1876443" y="5905870"/>
            <a:chExt cx="526098" cy="526096"/>
          </a:xfrm>
        </p:grpSpPr>
        <p:sp>
          <p:nvSpPr>
            <p:cNvPr id="57" name="Oval 56">
              <a:extLst>
                <a:ext uri="{FF2B5EF4-FFF2-40B4-BE49-F238E27FC236}">
                  <a16:creationId xmlns:a16="http://schemas.microsoft.com/office/drawing/2014/main" id="{DDE7E444-8C88-D2B2-F617-04EC865C33FF}"/>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8" name="Freeform 32">
              <a:extLst>
                <a:ext uri="{FF2B5EF4-FFF2-40B4-BE49-F238E27FC236}">
                  <a16:creationId xmlns:a16="http://schemas.microsoft.com/office/drawing/2014/main" id="{C3C85E01-D704-3CC6-89FD-31A774BFC5EC}"/>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59" name="Group 58">
            <a:extLst>
              <a:ext uri="{FF2B5EF4-FFF2-40B4-BE49-F238E27FC236}">
                <a16:creationId xmlns:a16="http://schemas.microsoft.com/office/drawing/2014/main" id="{A4407A1B-8971-C4DB-C0EE-8318FCA1F7E4}"/>
              </a:ext>
            </a:extLst>
          </p:cNvPr>
          <p:cNvGrpSpPr/>
          <p:nvPr/>
        </p:nvGrpSpPr>
        <p:grpSpPr>
          <a:xfrm>
            <a:off x="11048629" y="3590477"/>
            <a:ext cx="193549" cy="181413"/>
            <a:chOff x="1876443" y="5905870"/>
            <a:chExt cx="526098" cy="526096"/>
          </a:xfrm>
        </p:grpSpPr>
        <p:sp>
          <p:nvSpPr>
            <p:cNvPr id="60" name="Oval 59">
              <a:extLst>
                <a:ext uri="{FF2B5EF4-FFF2-40B4-BE49-F238E27FC236}">
                  <a16:creationId xmlns:a16="http://schemas.microsoft.com/office/drawing/2014/main" id="{BFBC73C5-6FE9-7D4F-E24D-AF1D5B9B46AE}"/>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1" name="Freeform 13">
              <a:extLst>
                <a:ext uri="{FF2B5EF4-FFF2-40B4-BE49-F238E27FC236}">
                  <a16:creationId xmlns:a16="http://schemas.microsoft.com/office/drawing/2014/main" id="{A99FEB58-3969-9519-4C76-3B3ADB6A7B99}"/>
                </a:ext>
              </a:extLst>
            </p:cNvPr>
            <p:cNvSpPr/>
            <p:nvPr/>
          </p:nvSpPr>
          <p:spPr>
            <a:xfrm rot="18641522">
              <a:off x="1995291" y="6074952"/>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62" name="Group 61">
            <a:extLst>
              <a:ext uri="{FF2B5EF4-FFF2-40B4-BE49-F238E27FC236}">
                <a16:creationId xmlns:a16="http://schemas.microsoft.com/office/drawing/2014/main" id="{3DD9257A-E522-1C14-1A15-261F883CBF45}"/>
              </a:ext>
            </a:extLst>
          </p:cNvPr>
          <p:cNvGrpSpPr/>
          <p:nvPr/>
        </p:nvGrpSpPr>
        <p:grpSpPr>
          <a:xfrm>
            <a:off x="8274137" y="3584665"/>
            <a:ext cx="193549" cy="181413"/>
            <a:chOff x="1876443" y="5905870"/>
            <a:chExt cx="526098" cy="526096"/>
          </a:xfrm>
        </p:grpSpPr>
        <p:sp>
          <p:nvSpPr>
            <p:cNvPr id="64" name="Oval 63">
              <a:extLst>
                <a:ext uri="{FF2B5EF4-FFF2-40B4-BE49-F238E27FC236}">
                  <a16:creationId xmlns:a16="http://schemas.microsoft.com/office/drawing/2014/main" id="{FB3CF027-1946-B4D0-DFDE-3FE4758EB532}"/>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5" name="Freeform 16">
              <a:extLst>
                <a:ext uri="{FF2B5EF4-FFF2-40B4-BE49-F238E27FC236}">
                  <a16:creationId xmlns:a16="http://schemas.microsoft.com/office/drawing/2014/main" id="{E6262B10-7F99-54D9-F860-F776A83D03A1}"/>
                </a:ext>
              </a:extLst>
            </p:cNvPr>
            <p:cNvSpPr/>
            <p:nvPr/>
          </p:nvSpPr>
          <p:spPr>
            <a:xfrm rot="18641522">
              <a:off x="1995291" y="6074952"/>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66" name="Group 65">
            <a:extLst>
              <a:ext uri="{FF2B5EF4-FFF2-40B4-BE49-F238E27FC236}">
                <a16:creationId xmlns:a16="http://schemas.microsoft.com/office/drawing/2014/main" id="{0B441B7B-90D6-33AE-15D0-3FF5CC72BCC3}"/>
              </a:ext>
            </a:extLst>
          </p:cNvPr>
          <p:cNvGrpSpPr/>
          <p:nvPr/>
        </p:nvGrpSpPr>
        <p:grpSpPr>
          <a:xfrm>
            <a:off x="9747452" y="3904606"/>
            <a:ext cx="193549" cy="181413"/>
            <a:chOff x="1876443" y="5905870"/>
            <a:chExt cx="526098" cy="526096"/>
          </a:xfrm>
        </p:grpSpPr>
        <p:sp>
          <p:nvSpPr>
            <p:cNvPr id="70" name="Oval 69">
              <a:extLst>
                <a:ext uri="{FF2B5EF4-FFF2-40B4-BE49-F238E27FC236}">
                  <a16:creationId xmlns:a16="http://schemas.microsoft.com/office/drawing/2014/main" id="{8B15E718-9CE8-283A-13BA-830566B3058C}"/>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1" name="Freeform 32">
              <a:extLst>
                <a:ext uri="{FF2B5EF4-FFF2-40B4-BE49-F238E27FC236}">
                  <a16:creationId xmlns:a16="http://schemas.microsoft.com/office/drawing/2014/main" id="{CB13AAAB-859C-7B76-5CBC-7C47513B2DC6}"/>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72" name="Group 71">
            <a:extLst>
              <a:ext uri="{FF2B5EF4-FFF2-40B4-BE49-F238E27FC236}">
                <a16:creationId xmlns:a16="http://schemas.microsoft.com/office/drawing/2014/main" id="{2C665AB2-34F0-9418-B0C0-7887508D56EC}"/>
              </a:ext>
            </a:extLst>
          </p:cNvPr>
          <p:cNvGrpSpPr/>
          <p:nvPr/>
        </p:nvGrpSpPr>
        <p:grpSpPr>
          <a:xfrm>
            <a:off x="11048629" y="3908995"/>
            <a:ext cx="193549" cy="181413"/>
            <a:chOff x="1876443" y="5905870"/>
            <a:chExt cx="526098" cy="526096"/>
          </a:xfrm>
        </p:grpSpPr>
        <p:sp>
          <p:nvSpPr>
            <p:cNvPr id="73" name="Oval 72">
              <a:extLst>
                <a:ext uri="{FF2B5EF4-FFF2-40B4-BE49-F238E27FC236}">
                  <a16:creationId xmlns:a16="http://schemas.microsoft.com/office/drawing/2014/main" id="{0167B8FE-76C7-46E1-13EF-9857925A57AF}"/>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4" name="Freeform 13">
              <a:extLst>
                <a:ext uri="{FF2B5EF4-FFF2-40B4-BE49-F238E27FC236}">
                  <a16:creationId xmlns:a16="http://schemas.microsoft.com/office/drawing/2014/main" id="{141CC21F-BE00-BE5A-FC75-302223E6EFE8}"/>
                </a:ext>
              </a:extLst>
            </p:cNvPr>
            <p:cNvSpPr/>
            <p:nvPr/>
          </p:nvSpPr>
          <p:spPr>
            <a:xfrm rot="18641522">
              <a:off x="1995291" y="6074952"/>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75" name="Group 74">
            <a:extLst>
              <a:ext uri="{FF2B5EF4-FFF2-40B4-BE49-F238E27FC236}">
                <a16:creationId xmlns:a16="http://schemas.microsoft.com/office/drawing/2014/main" id="{1048DDAE-0C8E-CC14-2CDE-B36101865603}"/>
              </a:ext>
            </a:extLst>
          </p:cNvPr>
          <p:cNvGrpSpPr/>
          <p:nvPr/>
        </p:nvGrpSpPr>
        <p:grpSpPr>
          <a:xfrm>
            <a:off x="8274137" y="3902367"/>
            <a:ext cx="193549" cy="189091"/>
            <a:chOff x="1932424" y="6003051"/>
            <a:chExt cx="526098" cy="548363"/>
          </a:xfrm>
        </p:grpSpPr>
        <p:sp>
          <p:nvSpPr>
            <p:cNvPr id="76" name="Oval 75">
              <a:extLst>
                <a:ext uri="{FF2B5EF4-FFF2-40B4-BE49-F238E27FC236}">
                  <a16:creationId xmlns:a16="http://schemas.microsoft.com/office/drawing/2014/main" id="{3D9413DA-D657-58DF-E6D2-477A39E1B968}"/>
                </a:ext>
              </a:extLst>
            </p:cNvPr>
            <p:cNvSpPr/>
            <p:nvPr/>
          </p:nvSpPr>
          <p:spPr>
            <a:xfrm>
              <a:off x="1932424" y="6025318"/>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7" name="Freeform 16">
              <a:extLst>
                <a:ext uri="{FF2B5EF4-FFF2-40B4-BE49-F238E27FC236}">
                  <a16:creationId xmlns:a16="http://schemas.microsoft.com/office/drawing/2014/main" id="{18A63104-ACA9-7F22-F3AA-DB76629E22A8}"/>
                </a:ext>
              </a:extLst>
            </p:cNvPr>
            <p:cNvSpPr/>
            <p:nvPr/>
          </p:nvSpPr>
          <p:spPr>
            <a:xfrm rot="18641522">
              <a:off x="1995291" y="6074952"/>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78" name="Group 77">
            <a:extLst>
              <a:ext uri="{FF2B5EF4-FFF2-40B4-BE49-F238E27FC236}">
                <a16:creationId xmlns:a16="http://schemas.microsoft.com/office/drawing/2014/main" id="{5FB67A88-0076-170A-2AC2-81D2E78D6964}"/>
              </a:ext>
            </a:extLst>
          </p:cNvPr>
          <p:cNvGrpSpPr/>
          <p:nvPr/>
        </p:nvGrpSpPr>
        <p:grpSpPr>
          <a:xfrm>
            <a:off x="9747452" y="4261443"/>
            <a:ext cx="193549" cy="181413"/>
            <a:chOff x="1876443" y="5905870"/>
            <a:chExt cx="526098" cy="526096"/>
          </a:xfrm>
        </p:grpSpPr>
        <p:sp>
          <p:nvSpPr>
            <p:cNvPr id="79" name="Oval 78">
              <a:extLst>
                <a:ext uri="{FF2B5EF4-FFF2-40B4-BE49-F238E27FC236}">
                  <a16:creationId xmlns:a16="http://schemas.microsoft.com/office/drawing/2014/main" id="{CB78FB74-27D3-B7B2-70D8-1FD94AB70EF7}"/>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0" name="Freeform 32">
              <a:extLst>
                <a:ext uri="{FF2B5EF4-FFF2-40B4-BE49-F238E27FC236}">
                  <a16:creationId xmlns:a16="http://schemas.microsoft.com/office/drawing/2014/main" id="{6670B2DA-81AE-61F8-86B2-0140820C1B52}"/>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81" name="Group 80">
            <a:extLst>
              <a:ext uri="{FF2B5EF4-FFF2-40B4-BE49-F238E27FC236}">
                <a16:creationId xmlns:a16="http://schemas.microsoft.com/office/drawing/2014/main" id="{28C0938E-9EB2-846B-DDEF-41733E1EC7F0}"/>
              </a:ext>
            </a:extLst>
          </p:cNvPr>
          <p:cNvGrpSpPr/>
          <p:nvPr/>
        </p:nvGrpSpPr>
        <p:grpSpPr>
          <a:xfrm>
            <a:off x="11048629" y="4261443"/>
            <a:ext cx="193549" cy="181413"/>
            <a:chOff x="1876443" y="5905870"/>
            <a:chExt cx="526098" cy="526096"/>
          </a:xfrm>
        </p:grpSpPr>
        <p:sp>
          <p:nvSpPr>
            <p:cNvPr id="82" name="Oval 81">
              <a:extLst>
                <a:ext uri="{FF2B5EF4-FFF2-40B4-BE49-F238E27FC236}">
                  <a16:creationId xmlns:a16="http://schemas.microsoft.com/office/drawing/2014/main" id="{FD61C14B-F771-8671-3840-0111D32706BC}"/>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3" name="Freeform 13">
              <a:extLst>
                <a:ext uri="{FF2B5EF4-FFF2-40B4-BE49-F238E27FC236}">
                  <a16:creationId xmlns:a16="http://schemas.microsoft.com/office/drawing/2014/main" id="{627C7ED8-E273-1BA9-27DE-0379BC3330F6}"/>
                </a:ext>
              </a:extLst>
            </p:cNvPr>
            <p:cNvSpPr/>
            <p:nvPr/>
          </p:nvSpPr>
          <p:spPr>
            <a:xfrm rot="18641522">
              <a:off x="1995291" y="6074952"/>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84" name="Group 83">
            <a:extLst>
              <a:ext uri="{FF2B5EF4-FFF2-40B4-BE49-F238E27FC236}">
                <a16:creationId xmlns:a16="http://schemas.microsoft.com/office/drawing/2014/main" id="{38FC5D16-E4CE-6728-FB61-BCBA201A8BFA}"/>
              </a:ext>
            </a:extLst>
          </p:cNvPr>
          <p:cNvGrpSpPr/>
          <p:nvPr/>
        </p:nvGrpSpPr>
        <p:grpSpPr>
          <a:xfrm>
            <a:off x="8274137" y="4261443"/>
            <a:ext cx="193549" cy="181413"/>
            <a:chOff x="1876443" y="5905870"/>
            <a:chExt cx="526098" cy="526096"/>
          </a:xfrm>
        </p:grpSpPr>
        <p:sp>
          <p:nvSpPr>
            <p:cNvPr id="85" name="Oval 84">
              <a:extLst>
                <a:ext uri="{FF2B5EF4-FFF2-40B4-BE49-F238E27FC236}">
                  <a16:creationId xmlns:a16="http://schemas.microsoft.com/office/drawing/2014/main" id="{77F5BDA9-3C99-F23A-EB63-38CBB0A969A0}"/>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6" name="Freeform 16">
              <a:extLst>
                <a:ext uri="{FF2B5EF4-FFF2-40B4-BE49-F238E27FC236}">
                  <a16:creationId xmlns:a16="http://schemas.microsoft.com/office/drawing/2014/main" id="{A26EEEB7-CC44-898E-4E0B-5A1471AC9C3F}"/>
                </a:ext>
              </a:extLst>
            </p:cNvPr>
            <p:cNvSpPr/>
            <p:nvPr/>
          </p:nvSpPr>
          <p:spPr>
            <a:xfrm rot="18641522">
              <a:off x="1995291" y="6074952"/>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99" name="Group 98">
            <a:extLst>
              <a:ext uri="{FF2B5EF4-FFF2-40B4-BE49-F238E27FC236}">
                <a16:creationId xmlns:a16="http://schemas.microsoft.com/office/drawing/2014/main" id="{972AC108-1C77-BAB5-62F2-E7D100C4EDD1}"/>
              </a:ext>
            </a:extLst>
          </p:cNvPr>
          <p:cNvGrpSpPr/>
          <p:nvPr/>
        </p:nvGrpSpPr>
        <p:grpSpPr>
          <a:xfrm>
            <a:off x="9747452" y="4576827"/>
            <a:ext cx="193549" cy="181413"/>
            <a:chOff x="1876443" y="5905870"/>
            <a:chExt cx="526098" cy="526096"/>
          </a:xfrm>
        </p:grpSpPr>
        <p:sp>
          <p:nvSpPr>
            <p:cNvPr id="100" name="Oval 99">
              <a:extLst>
                <a:ext uri="{FF2B5EF4-FFF2-40B4-BE49-F238E27FC236}">
                  <a16:creationId xmlns:a16="http://schemas.microsoft.com/office/drawing/2014/main" id="{6C287FB5-BB85-DA56-E544-AF85B0D7BDA1}"/>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1" name="Freeform 32">
              <a:extLst>
                <a:ext uri="{FF2B5EF4-FFF2-40B4-BE49-F238E27FC236}">
                  <a16:creationId xmlns:a16="http://schemas.microsoft.com/office/drawing/2014/main" id="{45BDE16D-BA43-1913-3ADA-DE8E86EB089A}"/>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102" name="Group 101">
            <a:extLst>
              <a:ext uri="{FF2B5EF4-FFF2-40B4-BE49-F238E27FC236}">
                <a16:creationId xmlns:a16="http://schemas.microsoft.com/office/drawing/2014/main" id="{6AF7A611-961E-F3C4-5858-9824F983083A}"/>
              </a:ext>
            </a:extLst>
          </p:cNvPr>
          <p:cNvGrpSpPr/>
          <p:nvPr/>
        </p:nvGrpSpPr>
        <p:grpSpPr>
          <a:xfrm>
            <a:off x="11048629" y="4574351"/>
            <a:ext cx="193549" cy="181413"/>
            <a:chOff x="1876443" y="5905870"/>
            <a:chExt cx="526098" cy="526096"/>
          </a:xfrm>
        </p:grpSpPr>
        <p:sp>
          <p:nvSpPr>
            <p:cNvPr id="103" name="Oval 102">
              <a:extLst>
                <a:ext uri="{FF2B5EF4-FFF2-40B4-BE49-F238E27FC236}">
                  <a16:creationId xmlns:a16="http://schemas.microsoft.com/office/drawing/2014/main" id="{2A9B613D-0976-0B98-82EE-EADAB3701D16}"/>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4" name="Freeform 13">
              <a:extLst>
                <a:ext uri="{FF2B5EF4-FFF2-40B4-BE49-F238E27FC236}">
                  <a16:creationId xmlns:a16="http://schemas.microsoft.com/office/drawing/2014/main" id="{F20CFF72-CC2B-A91E-5993-D82C0BB6F9BC}"/>
                </a:ext>
              </a:extLst>
            </p:cNvPr>
            <p:cNvSpPr/>
            <p:nvPr/>
          </p:nvSpPr>
          <p:spPr>
            <a:xfrm rot="18641522">
              <a:off x="1995291" y="6074952"/>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105" name="Group 104">
            <a:extLst>
              <a:ext uri="{FF2B5EF4-FFF2-40B4-BE49-F238E27FC236}">
                <a16:creationId xmlns:a16="http://schemas.microsoft.com/office/drawing/2014/main" id="{89ECC555-219E-C66F-34CE-4CA8B181C6F4}"/>
              </a:ext>
            </a:extLst>
          </p:cNvPr>
          <p:cNvGrpSpPr/>
          <p:nvPr/>
        </p:nvGrpSpPr>
        <p:grpSpPr>
          <a:xfrm>
            <a:off x="8274137" y="4575404"/>
            <a:ext cx="193549" cy="181413"/>
            <a:chOff x="1876443" y="5905870"/>
            <a:chExt cx="526098" cy="526096"/>
          </a:xfrm>
        </p:grpSpPr>
        <p:sp>
          <p:nvSpPr>
            <p:cNvPr id="106" name="Oval 105">
              <a:extLst>
                <a:ext uri="{FF2B5EF4-FFF2-40B4-BE49-F238E27FC236}">
                  <a16:creationId xmlns:a16="http://schemas.microsoft.com/office/drawing/2014/main" id="{63C9B454-BCB5-8D5F-005E-DE99F2801309}"/>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7" name="Freeform 16">
              <a:extLst>
                <a:ext uri="{FF2B5EF4-FFF2-40B4-BE49-F238E27FC236}">
                  <a16:creationId xmlns:a16="http://schemas.microsoft.com/office/drawing/2014/main" id="{35963151-2AE8-2593-BB5A-679D84F338EA}"/>
                </a:ext>
              </a:extLst>
            </p:cNvPr>
            <p:cNvSpPr/>
            <p:nvPr/>
          </p:nvSpPr>
          <p:spPr>
            <a:xfrm rot="18641522">
              <a:off x="1995291" y="6074952"/>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Tree>
    <p:extLst>
      <p:ext uri="{BB962C8B-B14F-4D97-AF65-F5344CB8AC3E}">
        <p14:creationId xmlns:p14="http://schemas.microsoft.com/office/powerpoint/2010/main" val="29304278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29E297-E798-08B1-A1CC-65371311D18E}"/>
              </a:ext>
            </a:extLst>
          </p:cNvPr>
          <p:cNvSpPr>
            <a:spLocks noGrp="1"/>
          </p:cNvSpPr>
          <p:nvPr>
            <p:ph type="body" sz="quarter" idx="11"/>
          </p:nvPr>
        </p:nvSpPr>
        <p:spPr/>
        <p:txBody>
          <a:bodyPr/>
          <a:lstStyle/>
          <a:p>
            <a:r>
              <a:rPr lang="en-US" sz="3200">
                <a:solidFill>
                  <a:srgbClr val="FFFFFF"/>
                </a:solidFill>
                <a:latin typeface="Open Sans"/>
                <a:ea typeface="Open Sans"/>
              </a:rPr>
              <a:t>Partner Dashboards</a:t>
            </a:r>
            <a:endParaRPr lang="en-US" sz="3200">
              <a:solidFill>
                <a:srgbClr val="031434"/>
              </a:solidFill>
              <a:latin typeface="Open Sans"/>
            </a:endParaRPr>
          </a:p>
        </p:txBody>
      </p:sp>
      <p:sp>
        <p:nvSpPr>
          <p:cNvPr id="3" name="TextBox 2">
            <a:extLst>
              <a:ext uri="{FF2B5EF4-FFF2-40B4-BE49-F238E27FC236}">
                <a16:creationId xmlns:a16="http://schemas.microsoft.com/office/drawing/2014/main" id="{27CB820E-ED16-2A8E-E527-F8E89105E1DE}"/>
              </a:ext>
            </a:extLst>
          </p:cNvPr>
          <p:cNvSpPr txBox="1"/>
          <p:nvPr/>
        </p:nvSpPr>
        <p:spPr>
          <a:xfrm>
            <a:off x="429994" y="1404876"/>
            <a:ext cx="10528346" cy="830997"/>
          </a:xfrm>
          <a:prstGeom prst="rect">
            <a:avLst/>
          </a:prstGeom>
          <a:noFill/>
          <a:ln w="12700">
            <a:miter lim="400000"/>
          </a:ln>
          <a:extLst>
            <a:ext uri="{C572A759-6A51-4108-AA02-DFA0A04FC94B}">
              <ma14:wrappingTextBoxFlag xmlns:ma14="http://schemas.microsoft.com/office/mac/drawingml/2011/main" xmlns="" val="1"/>
            </a:ext>
          </a:extLst>
        </p:spPr>
        <p:txBody>
          <a:bodyPr rot="0" spcFirstLastPara="0" vertOverflow="overflow" horzOverflow="overflow" vert="horz" wrap="square" lIns="45719" tIns="45720" rIns="45719" bIns="45720" numCol="1" spcCol="0" rtlCol="0" fromWordArt="0" anchor="t" anchorCtr="0" forceAA="0" compatLnSpc="1">
            <a:prstTxWarp prst="textNoShape">
              <a:avLst/>
            </a:prstTxWarp>
            <a:spAutoFit/>
          </a:bodyPr>
          <a:lstStyle/>
          <a:p>
            <a:r>
              <a:rPr lang="en-US" sz="1600" kern="0">
                <a:ea typeface="+mn-lt"/>
                <a:cs typeface="+mn-lt"/>
              </a:rPr>
              <a:t>Partner dashboards are the landing page for LSP and RMS upon logging in to One Network. </a:t>
            </a:r>
          </a:p>
          <a:p>
            <a:r>
              <a:rPr lang="en-US" sz="1600" kern="0">
                <a:ea typeface="+mn-lt"/>
                <a:cs typeface="+mn-lt"/>
              </a:rPr>
              <a:t>Bayer will provide specific dashboards to help partners have access to important, </a:t>
            </a:r>
            <a:r>
              <a:rPr lang="en-US" sz="1600" b="1" kern="0">
                <a:ea typeface="+mn-lt"/>
                <a:cs typeface="+mn-lt"/>
              </a:rPr>
              <a:t>real-time information</a:t>
            </a:r>
            <a:r>
              <a:rPr lang="en-US" sz="1600" kern="0">
                <a:ea typeface="+mn-lt"/>
                <a:cs typeface="+mn-lt"/>
              </a:rPr>
              <a:t>, enabling visibility, actionability, and performance analytics to partners. </a:t>
            </a:r>
          </a:p>
        </p:txBody>
      </p:sp>
      <p:sp>
        <p:nvSpPr>
          <p:cNvPr id="6" name="TextBox 4">
            <a:extLst>
              <a:ext uri="{FF2B5EF4-FFF2-40B4-BE49-F238E27FC236}">
                <a16:creationId xmlns:a16="http://schemas.microsoft.com/office/drawing/2014/main" id="{ACA393EB-151A-701E-E8B1-131408E18CDC}"/>
              </a:ext>
            </a:extLst>
          </p:cNvPr>
          <p:cNvSpPr txBox="1"/>
          <p:nvPr/>
        </p:nvSpPr>
        <p:spPr>
          <a:xfrm>
            <a:off x="662306" y="2303908"/>
            <a:ext cx="3159870" cy="4031873"/>
          </a:xfrm>
          <a:prstGeom prst="rect">
            <a:avLst/>
          </a:prstGeom>
          <a:noFill/>
          <a:ln w="12700">
            <a:noFill/>
            <a:miter lim="400000"/>
          </a:ln>
          <a:extLst>
            <a:ext uri="{C572A759-6A51-4108-AA02-DFA0A04FC94B}">
              <ma14:wrappingTextBoxFlag xmlns:lc="http://schemas.openxmlformats.org/drawingml/2006/lockedCanvas" xmlns:ma14="http://schemas.microsoft.com/office/mac/drawingml/2011/main" xmlns="" val="1"/>
            </a:ext>
          </a:extLst>
        </p:spPr>
        <p:txBody>
          <a:bodyPr rot="0" spcFirstLastPara="0" vert="horz" wrap="square" lIns="45719" tIns="45720" rIns="45719" bIns="45720" numCol="1" spcCol="0" rtlCol="0" fromWordArt="0" anchor="t" anchorCtr="0" forceAA="0" compatLnSpc="1">
            <a:prstTxWarp prst="textNoShape">
              <a:avLst/>
            </a:prstTxWarp>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600" b="1" kern="0">
                <a:latin typeface="Open Sans"/>
                <a:ea typeface="Open Sans"/>
                <a:cs typeface="Open Sans"/>
              </a:rPr>
              <a:t>LSP Dashboards:</a:t>
            </a:r>
            <a:endParaRPr lang="en-US" sz="1600" b="1" kern="0">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Courier New,monospace" panose="020B0604020202020204" pitchFamily="34" charset="0"/>
              <a:buChar char="o"/>
            </a:pPr>
            <a:r>
              <a:rPr lang="en-US" sz="1600" kern="0">
                <a:latin typeface="Open Sans"/>
                <a:ea typeface="Open Sans"/>
                <a:cs typeface="Open Sans"/>
              </a:rPr>
              <a:t>Alert Summary</a:t>
            </a:r>
          </a:p>
          <a:p>
            <a:pPr marL="285750" indent="-285750">
              <a:buFont typeface="Courier New,monospace" panose="020B0604020202020204" pitchFamily="34" charset="0"/>
              <a:buChar char="o"/>
            </a:pPr>
            <a:r>
              <a:rPr lang="en-US" sz="1600" kern="0">
                <a:latin typeface="Open Sans"/>
                <a:ea typeface="Open Sans"/>
                <a:cs typeface="Open Sans"/>
              </a:rPr>
              <a:t>Problem Summary</a:t>
            </a:r>
          </a:p>
          <a:p>
            <a:pPr marL="285750" indent="-285750">
              <a:buFont typeface="Courier New,monospace" panose="020B0604020202020204" pitchFamily="34" charset="0"/>
              <a:buChar char="o"/>
            </a:pPr>
            <a:r>
              <a:rPr lang="en-US" sz="1600" kern="0">
                <a:latin typeface="Open Sans"/>
                <a:ea typeface="Open Sans"/>
                <a:cs typeface="Open Sans"/>
              </a:rPr>
              <a:t>Shipment Metrics</a:t>
            </a:r>
            <a:endParaRPr lang="en-US" sz="1600">
              <a:latin typeface="Open Sans"/>
              <a:ea typeface="Open Sans"/>
              <a:cs typeface="Open Sans"/>
            </a:endParaRPr>
          </a:p>
          <a:p>
            <a:pPr marL="285750" indent="-285750">
              <a:buFont typeface="Courier New,monospace" panose="020B0604020202020204" pitchFamily="34" charset="0"/>
              <a:buChar char="o"/>
            </a:pPr>
            <a:r>
              <a:rPr lang="en-US" sz="1600" kern="0">
                <a:latin typeface="Open Sans"/>
                <a:ea typeface="Open Sans"/>
                <a:cs typeface="Open Sans"/>
              </a:rPr>
              <a:t>Shipment Summary</a:t>
            </a:r>
            <a:endParaRPr lang="en-US" sz="1600">
              <a:ea typeface="Open Sans"/>
              <a:cs typeface="Open Sans"/>
            </a:endParaRPr>
          </a:p>
          <a:p>
            <a:pPr marL="285750" indent="-285750">
              <a:buFont typeface="Courier New,monospace" panose="020B0604020202020204" pitchFamily="34" charset="0"/>
              <a:buChar char="o"/>
            </a:pPr>
            <a:r>
              <a:rPr lang="en-US" sz="1600" kern="0">
                <a:latin typeface="Open Sans"/>
                <a:ea typeface="Open Sans"/>
                <a:cs typeface="Open Sans"/>
              </a:rPr>
              <a:t>Scorecards</a:t>
            </a:r>
          </a:p>
          <a:p>
            <a:pPr marL="285750" indent="-285750">
              <a:buFont typeface="Courier New,monospace" panose="020B0604020202020204" pitchFamily="34" charset="0"/>
              <a:buChar char="o"/>
            </a:pPr>
            <a:r>
              <a:rPr lang="en-US" sz="1600" kern="0">
                <a:latin typeface="Open Sans"/>
                <a:ea typeface="Open Sans"/>
                <a:cs typeface="Open Sans"/>
              </a:rPr>
              <a:t>Integration Summary</a:t>
            </a:r>
          </a:p>
          <a:p>
            <a:pPr marL="285750" indent="-285750">
              <a:buFont typeface="Courier New,monospace" panose="020B0604020202020204" pitchFamily="34" charset="0"/>
              <a:buChar char="o"/>
            </a:pPr>
            <a:r>
              <a:rPr lang="en-US" sz="1600" kern="0">
                <a:latin typeface="Open Sans"/>
                <a:ea typeface="Open Sans"/>
                <a:cs typeface="Open Sans"/>
              </a:rPr>
              <a:t>Reporting Analytics</a:t>
            </a:r>
          </a:p>
          <a:p>
            <a:pPr marL="608965" lvl="1"/>
            <a:endParaRPr lang="en-US" sz="1600" kern="0">
              <a:latin typeface="Open Sans"/>
              <a:ea typeface="Open Sans"/>
              <a:cs typeface="Segoe UI"/>
            </a:endParaRPr>
          </a:p>
          <a:p>
            <a:r>
              <a:rPr lang="en-US" sz="1600" b="1" kern="0">
                <a:latin typeface="Open Sans"/>
                <a:ea typeface="Open Sans"/>
                <a:cs typeface="Open Sans"/>
              </a:rPr>
              <a:t>RMS Dashboards:</a:t>
            </a:r>
            <a:endParaRPr lang="en-US" sz="1600" kern="0">
              <a:latin typeface="Open Sans"/>
              <a:ea typeface="Open Sans"/>
              <a:cs typeface="Open Sans"/>
            </a:endParaRPr>
          </a:p>
          <a:p>
            <a:pPr marL="285750" indent="-285750">
              <a:buFont typeface="Courier New,monospace" panose="020B0604020202020204" pitchFamily="34" charset="0"/>
              <a:buChar char="o"/>
            </a:pPr>
            <a:r>
              <a:rPr lang="en-US" sz="1600" kern="0">
                <a:latin typeface="Open Sans"/>
                <a:ea typeface="Open Sans"/>
                <a:cs typeface="Open Sans"/>
              </a:rPr>
              <a:t>Alert Summary</a:t>
            </a:r>
          </a:p>
          <a:p>
            <a:pPr marL="285750" indent="-285750">
              <a:buFont typeface="Courier New,monospace" panose="020B0604020202020204" pitchFamily="34" charset="0"/>
              <a:buChar char="o"/>
            </a:pPr>
            <a:r>
              <a:rPr lang="en-US" sz="1600" kern="0">
                <a:latin typeface="Open Sans"/>
                <a:ea typeface="Open Sans"/>
                <a:cs typeface="Open Sans"/>
              </a:rPr>
              <a:t>Order Metrics</a:t>
            </a:r>
            <a:endParaRPr lang="en-US" sz="1600">
              <a:ea typeface="Open Sans"/>
              <a:cs typeface="Open Sans"/>
            </a:endParaRPr>
          </a:p>
          <a:p>
            <a:pPr marL="285750" indent="-285750">
              <a:buFont typeface="Courier New,monospace" panose="020B0604020202020204" pitchFamily="34" charset="0"/>
              <a:buChar char="o"/>
            </a:pPr>
            <a:r>
              <a:rPr lang="en-US" sz="1600" kern="0">
                <a:latin typeface="Open Sans"/>
                <a:ea typeface="Open Sans"/>
                <a:cs typeface="Open Sans"/>
              </a:rPr>
              <a:t>Order Summary</a:t>
            </a:r>
          </a:p>
          <a:p>
            <a:pPr marL="285750" indent="-285750">
              <a:buFont typeface="Courier New,monospace" panose="020B0604020202020204" pitchFamily="34" charset="0"/>
              <a:buChar char="o"/>
            </a:pPr>
            <a:r>
              <a:rPr lang="en-US" sz="1600" kern="0">
                <a:latin typeface="Open Sans"/>
                <a:ea typeface="Open Sans"/>
                <a:cs typeface="Open Sans"/>
              </a:rPr>
              <a:t>Shipment Summary</a:t>
            </a:r>
          </a:p>
          <a:p>
            <a:pPr marL="285750" indent="-285750">
              <a:buFont typeface="Courier New,monospace" panose="020B0604020202020204" pitchFamily="34" charset="0"/>
              <a:buChar char="o"/>
            </a:pPr>
            <a:r>
              <a:rPr lang="en-US" sz="1600" kern="0">
                <a:latin typeface="Open Sans"/>
                <a:ea typeface="Open Sans"/>
                <a:cs typeface="Open Sans"/>
              </a:rPr>
              <a:t>Scorecards</a:t>
            </a:r>
          </a:p>
          <a:p>
            <a:pPr marL="285750" indent="-285750">
              <a:buFont typeface="Courier New,monospace" panose="020B0604020202020204" pitchFamily="34" charset="0"/>
              <a:buChar char="o"/>
            </a:pPr>
            <a:r>
              <a:rPr lang="en-US" sz="1600" kern="0">
                <a:latin typeface="Open Sans"/>
                <a:ea typeface="Open Sans"/>
                <a:cs typeface="Open Sans"/>
              </a:rPr>
              <a:t>Reporting Analytics</a:t>
            </a:r>
          </a:p>
        </p:txBody>
      </p:sp>
      <p:pic>
        <p:nvPicPr>
          <p:cNvPr id="10" name="Picture 4" descr="Graphical user interface, application, PowerPoint&#10;&#10;Description automatically generated">
            <a:extLst>
              <a:ext uri="{FF2B5EF4-FFF2-40B4-BE49-F238E27FC236}">
                <a16:creationId xmlns:a16="http://schemas.microsoft.com/office/drawing/2014/main" id="{D41CA259-FF66-66C8-8AE7-3DEEBCB6DF9E}"/>
              </a:ext>
            </a:extLst>
          </p:cNvPr>
          <p:cNvPicPr>
            <a:picLocks noChangeAspect="1"/>
          </p:cNvPicPr>
          <p:nvPr/>
        </p:nvPicPr>
        <p:blipFill>
          <a:blip r:embed="rId2"/>
          <a:stretch>
            <a:fillRect/>
          </a:stretch>
        </p:blipFill>
        <p:spPr>
          <a:xfrm>
            <a:off x="3889142" y="2385334"/>
            <a:ext cx="3379327" cy="1826766"/>
          </a:xfrm>
          <a:prstGeom prst="rect">
            <a:avLst/>
          </a:prstGeom>
          <a:ln>
            <a:noFill/>
          </a:ln>
          <a:effectLst>
            <a:outerShdw blurRad="292100" dist="139700" dir="2700000" algn="tl" rotWithShape="0">
              <a:srgbClr val="333333">
                <a:alpha val="65000"/>
              </a:srgbClr>
            </a:outerShdw>
          </a:effectLst>
        </p:spPr>
      </p:pic>
      <p:pic>
        <p:nvPicPr>
          <p:cNvPr id="4" name="Picture 3">
            <a:extLst>
              <a:ext uri="{FF2B5EF4-FFF2-40B4-BE49-F238E27FC236}">
                <a16:creationId xmlns:a16="http://schemas.microsoft.com/office/drawing/2014/main" id="{F1CC73EC-7986-28B7-8298-C5D43255955D}"/>
              </a:ext>
            </a:extLst>
          </p:cNvPr>
          <p:cNvPicPr>
            <a:picLocks noChangeAspect="1"/>
          </p:cNvPicPr>
          <p:nvPr/>
        </p:nvPicPr>
        <p:blipFill>
          <a:blip r:embed="rId3"/>
          <a:stretch>
            <a:fillRect/>
          </a:stretch>
        </p:blipFill>
        <p:spPr>
          <a:xfrm>
            <a:off x="7395060" y="2385334"/>
            <a:ext cx="3706795" cy="1826765"/>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BE954F9A-6E4D-E092-9B78-7E58A43AC6AC}"/>
              </a:ext>
            </a:extLst>
          </p:cNvPr>
          <p:cNvPicPr>
            <a:picLocks noChangeAspect="1"/>
          </p:cNvPicPr>
          <p:nvPr/>
        </p:nvPicPr>
        <p:blipFill>
          <a:blip r:embed="rId4"/>
          <a:stretch>
            <a:fillRect/>
          </a:stretch>
        </p:blipFill>
        <p:spPr>
          <a:xfrm>
            <a:off x="7375687" y="4602404"/>
            <a:ext cx="3744345" cy="1826765"/>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D07161DB-2FA6-C8CE-8C1A-C41121511997}"/>
              </a:ext>
            </a:extLst>
          </p:cNvPr>
          <p:cNvPicPr>
            <a:picLocks noChangeAspect="1"/>
          </p:cNvPicPr>
          <p:nvPr/>
        </p:nvPicPr>
        <p:blipFill>
          <a:blip r:embed="rId5"/>
          <a:stretch>
            <a:fillRect/>
          </a:stretch>
        </p:blipFill>
        <p:spPr>
          <a:xfrm>
            <a:off x="3882684" y="4576574"/>
            <a:ext cx="3390569" cy="186678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2873496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B6E379F-5E81-9D32-11A8-4FD9A12E99D9}"/>
              </a:ext>
            </a:extLst>
          </p:cNvPr>
          <p:cNvSpPr>
            <a:spLocks noGrp="1"/>
          </p:cNvSpPr>
          <p:nvPr>
            <p:ph type="body" sz="quarter" idx="11"/>
          </p:nvPr>
        </p:nvSpPr>
        <p:spPr/>
        <p:txBody>
          <a:bodyPr/>
          <a:lstStyle/>
          <a:p>
            <a:r>
              <a:rPr lang="en-US" sz="3200">
                <a:latin typeface="Open Sans"/>
                <a:ea typeface="Open Sans"/>
              </a:rPr>
              <a:t>TO-BE PROCESS &amp; FEATURES</a:t>
            </a:r>
            <a:endParaRPr lang="en-US" sz="3200" b="0">
              <a:solidFill>
                <a:srgbClr val="000000"/>
              </a:solidFill>
              <a:latin typeface="Open Sans"/>
              <a:ea typeface="Open Sans"/>
            </a:endParaRPr>
          </a:p>
        </p:txBody>
      </p:sp>
      <p:sp>
        <p:nvSpPr>
          <p:cNvPr id="6" name="Rectangle: Rounded Corners 5">
            <a:extLst>
              <a:ext uri="{FF2B5EF4-FFF2-40B4-BE49-F238E27FC236}">
                <a16:creationId xmlns:a16="http://schemas.microsoft.com/office/drawing/2014/main" id="{77F90AA6-5BD5-192A-BC25-2DA3B69A9A8A}"/>
              </a:ext>
            </a:extLst>
          </p:cNvPr>
          <p:cNvSpPr/>
          <p:nvPr/>
        </p:nvSpPr>
        <p:spPr>
          <a:xfrm>
            <a:off x="2120503" y="1839380"/>
            <a:ext cx="9641678" cy="628651"/>
          </a:xfrm>
          <a:prstGeom prst="roundRect">
            <a:avLst/>
          </a:prstGeom>
          <a:solidFill>
            <a:schemeClr val="tx2">
              <a:lumMod val="10000"/>
              <a:lumOff val="90000"/>
            </a:schemeClr>
          </a:solidFill>
          <a:ln/>
        </p:spPr>
        <p:style>
          <a:lnRef idx="0">
            <a:schemeClr val="accent6"/>
          </a:lnRef>
          <a:fillRef idx="3">
            <a:schemeClr val="accent6"/>
          </a:fillRef>
          <a:effectRef idx="3">
            <a:schemeClr val="accent6"/>
          </a:effectRef>
          <a:fontRef idx="minor">
            <a:schemeClr val="lt1"/>
          </a:fontRef>
        </p:style>
        <p:txBody>
          <a:bodyPr rtlCol="0" anchor="ctr"/>
          <a:lstStyle/>
          <a:p>
            <a:pPr marL="608965" lvl="1"/>
            <a:r>
              <a:rPr lang="en-US" sz="1600">
                <a:solidFill>
                  <a:schemeClr val="tx1"/>
                </a:solidFill>
                <a:latin typeface="Open Sans"/>
                <a:ea typeface="Calibri"/>
                <a:cs typeface="Calibri"/>
              </a:rPr>
              <a:t>Shared standardized </a:t>
            </a:r>
            <a:r>
              <a:rPr lang="en-US" sz="1600" b="1">
                <a:solidFill>
                  <a:schemeClr val="tx1"/>
                </a:solidFill>
                <a:latin typeface="Open Sans"/>
                <a:ea typeface="Calibri"/>
                <a:cs typeface="Calibri"/>
              </a:rPr>
              <a:t>milestone process</a:t>
            </a:r>
            <a:r>
              <a:rPr lang="en-US" sz="1600">
                <a:solidFill>
                  <a:schemeClr val="tx1"/>
                </a:solidFill>
                <a:latin typeface="Open Sans"/>
                <a:ea typeface="Calibri"/>
                <a:cs typeface="Calibri"/>
              </a:rPr>
              <a:t> for </a:t>
            </a:r>
            <a:r>
              <a:rPr lang="en-US" sz="1600" err="1">
                <a:solidFill>
                  <a:schemeClr val="tx1"/>
                </a:solidFill>
                <a:latin typeface="Open Sans"/>
                <a:ea typeface="Calibri"/>
                <a:cs typeface="Calibri"/>
              </a:rPr>
              <a:t>SVoT</a:t>
            </a:r>
            <a:r>
              <a:rPr lang="en-US" sz="1600">
                <a:solidFill>
                  <a:schemeClr val="tx1"/>
                </a:solidFill>
                <a:latin typeface="Open Sans"/>
                <a:ea typeface="Calibri"/>
                <a:cs typeface="Calibri"/>
              </a:rPr>
              <a:t> reporting, alerting and collaborations (via ONE UI)</a:t>
            </a:r>
            <a:endParaRPr lang="en-US" sz="1600">
              <a:solidFill>
                <a:schemeClr val="tx1"/>
              </a:solidFill>
              <a:latin typeface="Open Sans"/>
              <a:ea typeface="Open Sans"/>
              <a:cs typeface="Open Sans"/>
            </a:endParaRPr>
          </a:p>
        </p:txBody>
      </p:sp>
      <p:sp>
        <p:nvSpPr>
          <p:cNvPr id="7" name="Rectangle: Rounded Corners 6">
            <a:extLst>
              <a:ext uri="{FF2B5EF4-FFF2-40B4-BE49-F238E27FC236}">
                <a16:creationId xmlns:a16="http://schemas.microsoft.com/office/drawing/2014/main" id="{CD6E0D46-19A2-FFA9-2CA0-6B2E557E87DC}"/>
              </a:ext>
            </a:extLst>
          </p:cNvPr>
          <p:cNvSpPr/>
          <p:nvPr/>
        </p:nvSpPr>
        <p:spPr>
          <a:xfrm>
            <a:off x="441722" y="1852610"/>
            <a:ext cx="1497804" cy="628651"/>
          </a:xfrm>
          <a:prstGeom prst="roundRect">
            <a:avLst/>
          </a:prstGeom>
          <a:ln/>
        </p:spPr>
        <p:style>
          <a:lnRef idx="0">
            <a:schemeClr val="accent1"/>
          </a:lnRef>
          <a:fillRef idx="3">
            <a:schemeClr val="accent1"/>
          </a:fillRef>
          <a:effectRef idx="3">
            <a:schemeClr val="accent1"/>
          </a:effectRef>
          <a:fontRef idx="minor">
            <a:schemeClr val="lt1"/>
          </a:fontRef>
        </p:style>
        <p:txBody>
          <a:bodyPr lIns="91440" tIns="45720" rIns="91440" bIns="45720" rtlCol="0" anchor="ctr"/>
          <a:lstStyle/>
          <a:p>
            <a:pPr marL="608965" lvl="1"/>
            <a:r>
              <a:rPr lang="en-US" b="1">
                <a:solidFill>
                  <a:schemeClr val="bg1"/>
                </a:solidFill>
                <a:latin typeface="Open Sans"/>
                <a:ea typeface="Calibri"/>
                <a:cs typeface="Calibri"/>
              </a:rPr>
              <a:t>1</a:t>
            </a:r>
          </a:p>
        </p:txBody>
      </p:sp>
      <p:sp>
        <p:nvSpPr>
          <p:cNvPr id="8" name="Rectangle: Rounded Corners 7">
            <a:extLst>
              <a:ext uri="{FF2B5EF4-FFF2-40B4-BE49-F238E27FC236}">
                <a16:creationId xmlns:a16="http://schemas.microsoft.com/office/drawing/2014/main" id="{E4BB2CD4-472B-38F1-C19F-283B0D569D6E}"/>
              </a:ext>
            </a:extLst>
          </p:cNvPr>
          <p:cNvSpPr/>
          <p:nvPr/>
        </p:nvSpPr>
        <p:spPr>
          <a:xfrm>
            <a:off x="2120503" y="2574921"/>
            <a:ext cx="9641678" cy="628651"/>
          </a:xfrm>
          <a:prstGeom prst="roundRect">
            <a:avLst/>
          </a:prstGeom>
          <a:solidFill>
            <a:schemeClr val="tx2">
              <a:lumMod val="10000"/>
              <a:lumOff val="90000"/>
            </a:schemeClr>
          </a:solidFill>
          <a:ln/>
        </p:spPr>
        <p:style>
          <a:lnRef idx="0">
            <a:schemeClr val="accent6"/>
          </a:lnRef>
          <a:fillRef idx="3">
            <a:schemeClr val="accent6"/>
          </a:fillRef>
          <a:effectRef idx="3">
            <a:schemeClr val="accent6"/>
          </a:effectRef>
          <a:fontRef idx="minor">
            <a:schemeClr val="lt1"/>
          </a:fontRef>
        </p:style>
        <p:txBody>
          <a:bodyPr lIns="91440" tIns="45720" rIns="91440" bIns="45720" rtlCol="0" anchor="ctr"/>
          <a:lstStyle/>
          <a:p>
            <a:pPr marL="608965" lvl="1"/>
            <a:r>
              <a:rPr lang="en-IN" sz="1600" b="1">
                <a:solidFill>
                  <a:schemeClr val="tx1"/>
                </a:solidFill>
                <a:latin typeface="Open Sans"/>
                <a:ea typeface="Calibri"/>
                <a:cs typeface="Calibri"/>
              </a:rPr>
              <a:t>Shipment planning</a:t>
            </a:r>
            <a:r>
              <a:rPr lang="en-IN" sz="1600">
                <a:solidFill>
                  <a:schemeClr val="tx1"/>
                </a:solidFill>
                <a:latin typeface="Open Sans"/>
                <a:ea typeface="Calibri"/>
                <a:cs typeface="Calibri"/>
              </a:rPr>
              <a:t> performed with pre-generated transaction reference for execution accuracy (via ONE UI or Integration)</a:t>
            </a:r>
            <a:endParaRPr lang="en-US" sz="1600">
              <a:solidFill>
                <a:schemeClr val="tx1"/>
              </a:solidFill>
              <a:latin typeface="Open Sans"/>
              <a:ea typeface="Open Sans"/>
              <a:cs typeface="Open Sans"/>
            </a:endParaRPr>
          </a:p>
        </p:txBody>
      </p:sp>
      <p:sp>
        <p:nvSpPr>
          <p:cNvPr id="9" name="Rectangle: Rounded Corners 8">
            <a:extLst>
              <a:ext uri="{FF2B5EF4-FFF2-40B4-BE49-F238E27FC236}">
                <a16:creationId xmlns:a16="http://schemas.microsoft.com/office/drawing/2014/main" id="{E205C897-39A6-1767-5D56-94C4DFCC4B9B}"/>
              </a:ext>
            </a:extLst>
          </p:cNvPr>
          <p:cNvSpPr/>
          <p:nvPr/>
        </p:nvSpPr>
        <p:spPr>
          <a:xfrm>
            <a:off x="441722" y="2588152"/>
            <a:ext cx="1497804" cy="628651"/>
          </a:xfrm>
          <a:prstGeom prst="roundRect">
            <a:avLst/>
          </a:prstGeom>
          <a:ln/>
        </p:spPr>
        <p:style>
          <a:lnRef idx="0">
            <a:schemeClr val="accent1"/>
          </a:lnRef>
          <a:fillRef idx="3">
            <a:schemeClr val="accent1"/>
          </a:fillRef>
          <a:effectRef idx="3">
            <a:schemeClr val="accent1"/>
          </a:effectRef>
          <a:fontRef idx="minor">
            <a:schemeClr val="lt1"/>
          </a:fontRef>
        </p:style>
        <p:txBody>
          <a:bodyPr lIns="91440" tIns="45720" rIns="91440" bIns="45720" rtlCol="0" anchor="ctr"/>
          <a:lstStyle/>
          <a:p>
            <a:pPr marL="608965" lvl="1"/>
            <a:r>
              <a:rPr lang="en-US" b="1">
                <a:solidFill>
                  <a:schemeClr val="bg1"/>
                </a:solidFill>
                <a:latin typeface="Open Sans"/>
                <a:ea typeface="Calibri"/>
                <a:cs typeface="Calibri"/>
              </a:rPr>
              <a:t>2</a:t>
            </a:r>
          </a:p>
        </p:txBody>
      </p:sp>
      <p:sp>
        <p:nvSpPr>
          <p:cNvPr id="10" name="Rectangle: Rounded Corners 9">
            <a:extLst>
              <a:ext uri="{FF2B5EF4-FFF2-40B4-BE49-F238E27FC236}">
                <a16:creationId xmlns:a16="http://schemas.microsoft.com/office/drawing/2014/main" id="{D4D0E01C-EF66-034A-FC0B-042CA17C47B8}"/>
              </a:ext>
            </a:extLst>
          </p:cNvPr>
          <p:cNvSpPr/>
          <p:nvPr/>
        </p:nvSpPr>
        <p:spPr>
          <a:xfrm>
            <a:off x="2120503" y="3310464"/>
            <a:ext cx="9641678" cy="628651"/>
          </a:xfrm>
          <a:prstGeom prst="roundRect">
            <a:avLst/>
          </a:prstGeom>
          <a:solidFill>
            <a:schemeClr val="tx2">
              <a:lumMod val="10000"/>
              <a:lumOff val="90000"/>
            </a:schemeClr>
          </a:solidFill>
          <a:ln/>
        </p:spPr>
        <p:style>
          <a:lnRef idx="0">
            <a:schemeClr val="accent6"/>
          </a:lnRef>
          <a:fillRef idx="3">
            <a:schemeClr val="accent6"/>
          </a:fillRef>
          <a:effectRef idx="3">
            <a:schemeClr val="accent6"/>
          </a:effectRef>
          <a:fontRef idx="minor">
            <a:schemeClr val="lt1"/>
          </a:fontRef>
        </p:style>
        <p:txBody>
          <a:bodyPr lIns="91440" tIns="45720" rIns="91440" bIns="45720" rtlCol="0" anchor="ctr"/>
          <a:lstStyle/>
          <a:p>
            <a:pPr marL="608965" lvl="1"/>
            <a:r>
              <a:rPr lang="en-IN" sz="1600">
                <a:solidFill>
                  <a:schemeClr val="tx1"/>
                </a:solidFill>
                <a:latin typeface="Open Sans"/>
                <a:ea typeface="Calibri"/>
                <a:cs typeface="Calibri"/>
              </a:rPr>
              <a:t>Share </a:t>
            </a:r>
            <a:r>
              <a:rPr lang="en-IN" sz="1600" b="1">
                <a:solidFill>
                  <a:schemeClr val="tx1"/>
                </a:solidFill>
                <a:latin typeface="Open Sans"/>
                <a:ea typeface="Calibri"/>
                <a:cs typeface="Calibri"/>
              </a:rPr>
              <a:t>Booking Details</a:t>
            </a:r>
            <a:r>
              <a:rPr lang="en-IN" sz="1600">
                <a:solidFill>
                  <a:schemeClr val="tx1"/>
                </a:solidFill>
                <a:latin typeface="Open Sans"/>
                <a:ea typeface="Calibri"/>
                <a:cs typeface="Calibri"/>
              </a:rPr>
              <a:t> confirming Booking No, BOL, Port of Loading, Port of Discharge (via ONE UI or Integration), used to generate shipment legs</a:t>
            </a:r>
            <a:endParaRPr lang="en-US" sz="1600">
              <a:solidFill>
                <a:schemeClr val="tx1"/>
              </a:solidFill>
              <a:latin typeface="Open Sans"/>
              <a:ea typeface="Open Sans"/>
              <a:cs typeface="Open Sans"/>
            </a:endParaRPr>
          </a:p>
        </p:txBody>
      </p:sp>
      <p:sp>
        <p:nvSpPr>
          <p:cNvPr id="11" name="Rectangle: Rounded Corners 10">
            <a:extLst>
              <a:ext uri="{FF2B5EF4-FFF2-40B4-BE49-F238E27FC236}">
                <a16:creationId xmlns:a16="http://schemas.microsoft.com/office/drawing/2014/main" id="{84BBF525-75EE-46B6-4EE7-A85C4457C8EA}"/>
              </a:ext>
            </a:extLst>
          </p:cNvPr>
          <p:cNvSpPr/>
          <p:nvPr/>
        </p:nvSpPr>
        <p:spPr>
          <a:xfrm>
            <a:off x="441722" y="3323693"/>
            <a:ext cx="1497804" cy="628651"/>
          </a:xfrm>
          <a:prstGeom prst="roundRect">
            <a:avLst/>
          </a:prstGeom>
          <a:ln/>
        </p:spPr>
        <p:style>
          <a:lnRef idx="0">
            <a:schemeClr val="accent1"/>
          </a:lnRef>
          <a:fillRef idx="3">
            <a:schemeClr val="accent1"/>
          </a:fillRef>
          <a:effectRef idx="3">
            <a:schemeClr val="accent1"/>
          </a:effectRef>
          <a:fontRef idx="minor">
            <a:schemeClr val="lt1"/>
          </a:fontRef>
        </p:style>
        <p:txBody>
          <a:bodyPr lIns="91440" tIns="45720" rIns="91440" bIns="45720" rtlCol="0" anchor="ctr"/>
          <a:lstStyle/>
          <a:p>
            <a:pPr marL="608965" lvl="1"/>
            <a:r>
              <a:rPr lang="en-US" b="1">
                <a:solidFill>
                  <a:schemeClr val="bg1"/>
                </a:solidFill>
                <a:latin typeface="Open Sans"/>
                <a:ea typeface="Calibri"/>
                <a:cs typeface="Calibri"/>
              </a:rPr>
              <a:t>3</a:t>
            </a:r>
          </a:p>
        </p:txBody>
      </p:sp>
      <p:sp>
        <p:nvSpPr>
          <p:cNvPr id="12" name="Rectangle: Rounded Corners 11">
            <a:extLst>
              <a:ext uri="{FF2B5EF4-FFF2-40B4-BE49-F238E27FC236}">
                <a16:creationId xmlns:a16="http://schemas.microsoft.com/office/drawing/2014/main" id="{25A33E6D-23A8-2D98-33C0-F3D766638373}"/>
              </a:ext>
            </a:extLst>
          </p:cNvPr>
          <p:cNvSpPr/>
          <p:nvPr/>
        </p:nvSpPr>
        <p:spPr>
          <a:xfrm>
            <a:off x="2120503" y="4046004"/>
            <a:ext cx="9641678" cy="628651"/>
          </a:xfrm>
          <a:prstGeom prst="roundRect">
            <a:avLst/>
          </a:prstGeom>
          <a:solidFill>
            <a:schemeClr val="tx2">
              <a:lumMod val="10000"/>
              <a:lumOff val="90000"/>
            </a:schemeClr>
          </a:solidFill>
          <a:ln/>
        </p:spPr>
        <p:style>
          <a:lnRef idx="0">
            <a:schemeClr val="accent6"/>
          </a:lnRef>
          <a:fillRef idx="3">
            <a:schemeClr val="accent6"/>
          </a:fillRef>
          <a:effectRef idx="3">
            <a:schemeClr val="accent6"/>
          </a:effectRef>
          <a:fontRef idx="minor">
            <a:schemeClr val="lt1"/>
          </a:fontRef>
        </p:style>
        <p:txBody>
          <a:bodyPr lIns="91440" tIns="45720" rIns="91440" bIns="45720" rtlCol="0" anchor="ctr"/>
          <a:lstStyle/>
          <a:p>
            <a:pPr marL="608965" lvl="1"/>
            <a:r>
              <a:rPr lang="en-IN" sz="1600">
                <a:solidFill>
                  <a:schemeClr val="tx1"/>
                </a:solidFill>
                <a:latin typeface="Open Sans"/>
                <a:ea typeface="Calibri"/>
                <a:cs typeface="Calibri"/>
              </a:rPr>
              <a:t>Provide </a:t>
            </a:r>
            <a:r>
              <a:rPr lang="en-IN" sz="1600" b="1">
                <a:solidFill>
                  <a:schemeClr val="tx1"/>
                </a:solidFill>
                <a:latin typeface="Open Sans"/>
                <a:ea typeface="Calibri"/>
                <a:cs typeface="Calibri"/>
              </a:rPr>
              <a:t>Status Updates &amp; Documentation</a:t>
            </a:r>
            <a:r>
              <a:rPr lang="en-IN" sz="1600">
                <a:solidFill>
                  <a:schemeClr val="tx1"/>
                </a:solidFill>
                <a:latin typeface="Open Sans"/>
                <a:ea typeface="Calibri"/>
                <a:cs typeface="Calibri"/>
              </a:rPr>
              <a:t> for key shipping events like shipment readiness, pickup and hand-over/delivery confirmation (via ONE UI or Integration)</a:t>
            </a:r>
            <a:endParaRPr lang="en-IN" sz="1600">
              <a:solidFill>
                <a:schemeClr val="tx1"/>
              </a:solidFill>
              <a:latin typeface="Open Sans"/>
              <a:ea typeface="Open Sans"/>
              <a:cs typeface="Open Sans"/>
            </a:endParaRPr>
          </a:p>
        </p:txBody>
      </p:sp>
      <p:sp>
        <p:nvSpPr>
          <p:cNvPr id="13" name="Rectangle: Rounded Corners 12">
            <a:extLst>
              <a:ext uri="{FF2B5EF4-FFF2-40B4-BE49-F238E27FC236}">
                <a16:creationId xmlns:a16="http://schemas.microsoft.com/office/drawing/2014/main" id="{327F98CB-2D92-23DF-C456-A7586820069C}"/>
              </a:ext>
            </a:extLst>
          </p:cNvPr>
          <p:cNvSpPr/>
          <p:nvPr/>
        </p:nvSpPr>
        <p:spPr>
          <a:xfrm>
            <a:off x="441722" y="4059235"/>
            <a:ext cx="1485898" cy="628651"/>
          </a:xfrm>
          <a:prstGeom prst="roundRect">
            <a:avLst/>
          </a:prstGeom>
          <a:ln/>
        </p:spPr>
        <p:style>
          <a:lnRef idx="0">
            <a:schemeClr val="accent1"/>
          </a:lnRef>
          <a:fillRef idx="3">
            <a:schemeClr val="accent1"/>
          </a:fillRef>
          <a:effectRef idx="3">
            <a:schemeClr val="accent1"/>
          </a:effectRef>
          <a:fontRef idx="minor">
            <a:schemeClr val="lt1"/>
          </a:fontRef>
        </p:style>
        <p:txBody>
          <a:bodyPr lIns="91440" tIns="45720" rIns="91440" bIns="45720" rtlCol="0" anchor="ctr"/>
          <a:lstStyle/>
          <a:p>
            <a:pPr marL="608965" lvl="1"/>
            <a:r>
              <a:rPr lang="en-US" b="1">
                <a:solidFill>
                  <a:schemeClr val="bg1"/>
                </a:solidFill>
                <a:latin typeface="Open Sans"/>
                <a:ea typeface="Calibri"/>
                <a:cs typeface="Calibri"/>
              </a:rPr>
              <a:t>4</a:t>
            </a:r>
          </a:p>
        </p:txBody>
      </p:sp>
      <p:sp>
        <p:nvSpPr>
          <p:cNvPr id="14" name="Rectangle: Rounded Corners 13">
            <a:extLst>
              <a:ext uri="{FF2B5EF4-FFF2-40B4-BE49-F238E27FC236}">
                <a16:creationId xmlns:a16="http://schemas.microsoft.com/office/drawing/2014/main" id="{B1D13690-8A68-C19F-03D2-C3062B6D7F8C}"/>
              </a:ext>
            </a:extLst>
          </p:cNvPr>
          <p:cNvSpPr/>
          <p:nvPr/>
        </p:nvSpPr>
        <p:spPr>
          <a:xfrm>
            <a:off x="2120503" y="4781547"/>
            <a:ext cx="9641678" cy="628651"/>
          </a:xfrm>
          <a:prstGeom prst="roundRect">
            <a:avLst/>
          </a:prstGeom>
          <a:solidFill>
            <a:schemeClr val="tx2">
              <a:lumMod val="10000"/>
              <a:lumOff val="90000"/>
            </a:schemeClr>
          </a:solidFill>
          <a:ln/>
        </p:spPr>
        <p:style>
          <a:lnRef idx="0">
            <a:schemeClr val="accent6"/>
          </a:lnRef>
          <a:fillRef idx="3">
            <a:schemeClr val="accent6"/>
          </a:fillRef>
          <a:effectRef idx="3">
            <a:schemeClr val="accent6"/>
          </a:effectRef>
          <a:fontRef idx="minor">
            <a:schemeClr val="lt1"/>
          </a:fontRef>
        </p:style>
        <p:txBody>
          <a:bodyPr lIns="91440" tIns="45720" rIns="91440" bIns="45720" rtlCol="0" anchor="ctr"/>
          <a:lstStyle/>
          <a:p>
            <a:pPr marL="608965" lvl="1"/>
            <a:endParaRPr lang="en-IN" sz="1600">
              <a:solidFill>
                <a:schemeClr val="bg1"/>
              </a:solidFill>
              <a:latin typeface="Open Sans"/>
              <a:ea typeface="Calibri"/>
              <a:cs typeface="Calibri"/>
            </a:endParaRPr>
          </a:p>
          <a:p>
            <a:pPr marL="608965" lvl="1"/>
            <a:r>
              <a:rPr lang="en-IN" sz="1600">
                <a:solidFill>
                  <a:schemeClr val="tx1"/>
                </a:solidFill>
                <a:latin typeface="Open Sans"/>
                <a:ea typeface="Calibri"/>
                <a:cs typeface="Calibri"/>
              </a:rPr>
              <a:t>Exception generation, problem resolution and alerts based on real-time network updates (via ONE UI)</a:t>
            </a:r>
            <a:endParaRPr lang="en-US" sz="1600">
              <a:solidFill>
                <a:schemeClr val="tx1"/>
              </a:solidFill>
              <a:latin typeface="Open Sans"/>
              <a:ea typeface="Open Sans"/>
              <a:cs typeface="Open Sans"/>
            </a:endParaRPr>
          </a:p>
          <a:p>
            <a:pPr marL="608965" lvl="1"/>
            <a:endParaRPr lang="en-US" sz="1400">
              <a:solidFill>
                <a:schemeClr val="tx1"/>
              </a:solidFill>
              <a:latin typeface="Calibri"/>
              <a:ea typeface="Calibri"/>
              <a:cs typeface="Calibri"/>
            </a:endParaRPr>
          </a:p>
        </p:txBody>
      </p:sp>
      <p:sp>
        <p:nvSpPr>
          <p:cNvPr id="15" name="Rectangle: Rounded Corners 14">
            <a:extLst>
              <a:ext uri="{FF2B5EF4-FFF2-40B4-BE49-F238E27FC236}">
                <a16:creationId xmlns:a16="http://schemas.microsoft.com/office/drawing/2014/main" id="{C71BE2CE-50E3-679D-9169-474210866D77}"/>
              </a:ext>
            </a:extLst>
          </p:cNvPr>
          <p:cNvSpPr/>
          <p:nvPr/>
        </p:nvSpPr>
        <p:spPr>
          <a:xfrm>
            <a:off x="441722" y="4794776"/>
            <a:ext cx="1497804" cy="628651"/>
          </a:xfrm>
          <a:prstGeom prst="roundRect">
            <a:avLst/>
          </a:prstGeom>
          <a:ln/>
        </p:spPr>
        <p:style>
          <a:lnRef idx="0">
            <a:schemeClr val="accent1"/>
          </a:lnRef>
          <a:fillRef idx="3">
            <a:schemeClr val="accent1"/>
          </a:fillRef>
          <a:effectRef idx="3">
            <a:schemeClr val="accent1"/>
          </a:effectRef>
          <a:fontRef idx="minor">
            <a:schemeClr val="lt1"/>
          </a:fontRef>
        </p:style>
        <p:txBody>
          <a:bodyPr lIns="91440" tIns="45720" rIns="91440" bIns="45720" rtlCol="0" anchor="ctr"/>
          <a:lstStyle/>
          <a:p>
            <a:pPr marL="608965" lvl="1"/>
            <a:r>
              <a:rPr lang="en-US" b="1">
                <a:solidFill>
                  <a:schemeClr val="bg1"/>
                </a:solidFill>
                <a:latin typeface="Open Sans"/>
                <a:ea typeface="Calibri"/>
                <a:cs typeface="Calibri"/>
              </a:rPr>
              <a:t>5</a:t>
            </a:r>
          </a:p>
        </p:txBody>
      </p:sp>
    </p:spTree>
    <p:extLst>
      <p:ext uri="{BB962C8B-B14F-4D97-AF65-F5344CB8AC3E}">
        <p14:creationId xmlns:p14="http://schemas.microsoft.com/office/powerpoint/2010/main" val="22553183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F5410A-CFB4-5F6E-B5A9-D503B06C1C46}"/>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7D4BF2ED-AC5B-0D24-516C-84EE34EF0F26}"/>
              </a:ext>
            </a:extLst>
          </p:cNvPr>
          <p:cNvSpPr/>
          <p:nvPr/>
        </p:nvSpPr>
        <p:spPr>
          <a:xfrm>
            <a:off x="1118186" y="1466678"/>
            <a:ext cx="10700425" cy="1964987"/>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53" name="Rectangle 52">
            <a:extLst>
              <a:ext uri="{FF2B5EF4-FFF2-40B4-BE49-F238E27FC236}">
                <a16:creationId xmlns:a16="http://schemas.microsoft.com/office/drawing/2014/main" id="{21CDA126-CE71-8226-A1C3-4B3F2C86924E}"/>
              </a:ext>
            </a:extLst>
          </p:cNvPr>
          <p:cNvSpPr/>
          <p:nvPr/>
        </p:nvSpPr>
        <p:spPr>
          <a:xfrm>
            <a:off x="2921910" y="2007643"/>
            <a:ext cx="8384378" cy="602428"/>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200" err="1"/>
              <a:t>SVoT</a:t>
            </a:r>
            <a:r>
              <a:rPr lang="en-US" sz="1200"/>
              <a:t> Alerts, Problems &amp; ETAs</a:t>
            </a:r>
          </a:p>
        </p:txBody>
      </p:sp>
      <p:sp>
        <p:nvSpPr>
          <p:cNvPr id="2" name="Text Placeholder 1">
            <a:extLst>
              <a:ext uri="{FF2B5EF4-FFF2-40B4-BE49-F238E27FC236}">
                <a16:creationId xmlns:a16="http://schemas.microsoft.com/office/drawing/2014/main" id="{5429BBFA-3801-9631-FFE5-70B7418F24FD}"/>
              </a:ext>
            </a:extLst>
          </p:cNvPr>
          <p:cNvSpPr>
            <a:spLocks noGrp="1"/>
          </p:cNvSpPr>
          <p:nvPr>
            <p:ph type="body" sz="quarter" idx="11"/>
          </p:nvPr>
        </p:nvSpPr>
        <p:spPr/>
        <p:txBody>
          <a:bodyPr/>
          <a:lstStyle/>
          <a:p>
            <a:r>
              <a:rPr lang="en-US" sz="3200">
                <a:solidFill>
                  <a:srgbClr val="FFFFFF"/>
                </a:solidFill>
                <a:latin typeface="Open Sans"/>
                <a:ea typeface="Open Sans"/>
              </a:rPr>
              <a:t>TO-BE PROCESS &amp; FEATURES</a:t>
            </a:r>
            <a:endParaRPr lang="en-US" sz="3200">
              <a:solidFill>
                <a:srgbClr val="FF0000"/>
              </a:solidFill>
              <a:latin typeface="Open Sans"/>
            </a:endParaRPr>
          </a:p>
        </p:txBody>
      </p:sp>
      <p:sp>
        <p:nvSpPr>
          <p:cNvPr id="8" name="Rectangle 7">
            <a:extLst>
              <a:ext uri="{FF2B5EF4-FFF2-40B4-BE49-F238E27FC236}">
                <a16:creationId xmlns:a16="http://schemas.microsoft.com/office/drawing/2014/main" id="{9A8AFD97-6548-3F4A-4D20-68484CE3E0C6}"/>
              </a:ext>
            </a:extLst>
          </p:cNvPr>
          <p:cNvSpPr/>
          <p:nvPr/>
        </p:nvSpPr>
        <p:spPr>
          <a:xfrm>
            <a:off x="1118185" y="3431665"/>
            <a:ext cx="10700425" cy="1964987"/>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9" name="Rectangle 8">
            <a:extLst>
              <a:ext uri="{FF2B5EF4-FFF2-40B4-BE49-F238E27FC236}">
                <a16:creationId xmlns:a16="http://schemas.microsoft.com/office/drawing/2014/main" id="{4920E92B-7718-8222-9BFE-94A6716A8881}"/>
              </a:ext>
            </a:extLst>
          </p:cNvPr>
          <p:cNvSpPr/>
          <p:nvPr/>
        </p:nvSpPr>
        <p:spPr>
          <a:xfrm>
            <a:off x="434005" y="1456951"/>
            <a:ext cx="684179" cy="1964987"/>
          </a:xfrm>
          <a:prstGeom prst="rect">
            <a:avLst/>
          </a:prstGeom>
          <a:ln/>
        </p:spPr>
        <p:style>
          <a:lnRef idx="1">
            <a:schemeClr val="accent2"/>
          </a:lnRef>
          <a:fillRef idx="2">
            <a:schemeClr val="accent2"/>
          </a:fillRef>
          <a:effectRef idx="1">
            <a:schemeClr val="accent2"/>
          </a:effectRef>
          <a:fontRef idx="minor">
            <a:schemeClr val="dk1"/>
          </a:fontRef>
        </p:style>
        <p:txBody>
          <a:bodyPr vert="vert270" lIns="91440" tIns="45720" rIns="91440" bIns="45720" rtlCol="0" anchor="ctr"/>
          <a:lstStyle/>
          <a:p>
            <a:pPr algn="ctr"/>
            <a:r>
              <a:rPr lang="en-US" b="1"/>
              <a:t>Supplier / LSP</a:t>
            </a:r>
          </a:p>
        </p:txBody>
      </p:sp>
      <p:sp>
        <p:nvSpPr>
          <p:cNvPr id="12" name="Rectangle 11">
            <a:extLst>
              <a:ext uri="{FF2B5EF4-FFF2-40B4-BE49-F238E27FC236}">
                <a16:creationId xmlns:a16="http://schemas.microsoft.com/office/drawing/2014/main" id="{3C0CEDD4-EBFB-353C-5303-0FB361E05818}"/>
              </a:ext>
            </a:extLst>
          </p:cNvPr>
          <p:cNvSpPr/>
          <p:nvPr/>
        </p:nvSpPr>
        <p:spPr>
          <a:xfrm>
            <a:off x="434005" y="3441392"/>
            <a:ext cx="684179" cy="1964987"/>
          </a:xfrm>
          <a:prstGeom prst="rect">
            <a:avLst/>
          </a:prstGeom>
          <a:ln/>
        </p:spPr>
        <p:style>
          <a:lnRef idx="1">
            <a:schemeClr val="dk1"/>
          </a:lnRef>
          <a:fillRef idx="2">
            <a:schemeClr val="dk1"/>
          </a:fillRef>
          <a:effectRef idx="1">
            <a:schemeClr val="dk1"/>
          </a:effectRef>
          <a:fontRef idx="minor">
            <a:schemeClr val="dk1"/>
          </a:fontRef>
        </p:style>
        <p:txBody>
          <a:bodyPr vert="vert270" rtlCol="0" anchor="ctr"/>
          <a:lstStyle/>
          <a:p>
            <a:pPr algn="ctr"/>
            <a:r>
              <a:rPr lang="en-US" b="1"/>
              <a:t>Bayer</a:t>
            </a:r>
          </a:p>
        </p:txBody>
      </p:sp>
      <p:sp>
        <p:nvSpPr>
          <p:cNvPr id="18" name="Rectangle 17">
            <a:extLst>
              <a:ext uri="{FF2B5EF4-FFF2-40B4-BE49-F238E27FC236}">
                <a16:creationId xmlns:a16="http://schemas.microsoft.com/office/drawing/2014/main" id="{91B30D9E-4251-EC41-7D02-76659175E10D}"/>
              </a:ext>
            </a:extLst>
          </p:cNvPr>
          <p:cNvSpPr/>
          <p:nvPr/>
        </p:nvSpPr>
        <p:spPr>
          <a:xfrm>
            <a:off x="1514730" y="4509950"/>
            <a:ext cx="1000461" cy="602428"/>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400"/>
              <a:t>Order Creation</a:t>
            </a:r>
          </a:p>
        </p:txBody>
      </p:sp>
      <p:sp>
        <p:nvSpPr>
          <p:cNvPr id="19" name="Rectangle 18">
            <a:extLst>
              <a:ext uri="{FF2B5EF4-FFF2-40B4-BE49-F238E27FC236}">
                <a16:creationId xmlns:a16="http://schemas.microsoft.com/office/drawing/2014/main" id="{58EE22D9-D66C-2075-3E64-FA6499E1196E}"/>
              </a:ext>
            </a:extLst>
          </p:cNvPr>
          <p:cNvSpPr/>
          <p:nvPr/>
        </p:nvSpPr>
        <p:spPr>
          <a:xfrm>
            <a:off x="1514730" y="5507184"/>
            <a:ext cx="1000461" cy="602428"/>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400"/>
              <a:t>SAP</a:t>
            </a:r>
          </a:p>
        </p:txBody>
      </p:sp>
      <p:sp>
        <p:nvSpPr>
          <p:cNvPr id="20" name="Rectangle 19">
            <a:extLst>
              <a:ext uri="{FF2B5EF4-FFF2-40B4-BE49-F238E27FC236}">
                <a16:creationId xmlns:a16="http://schemas.microsoft.com/office/drawing/2014/main" id="{A6CE2B40-6661-D9FD-362E-58C38727DCF2}"/>
              </a:ext>
            </a:extLst>
          </p:cNvPr>
          <p:cNvSpPr/>
          <p:nvPr/>
        </p:nvSpPr>
        <p:spPr>
          <a:xfrm>
            <a:off x="2911736" y="4509950"/>
            <a:ext cx="1000461" cy="602428"/>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200"/>
              <a:t>Shipment Creation</a:t>
            </a:r>
          </a:p>
        </p:txBody>
      </p:sp>
      <p:sp>
        <p:nvSpPr>
          <p:cNvPr id="21" name="Rectangle 20">
            <a:extLst>
              <a:ext uri="{FF2B5EF4-FFF2-40B4-BE49-F238E27FC236}">
                <a16:creationId xmlns:a16="http://schemas.microsoft.com/office/drawing/2014/main" id="{674277F3-C042-22B9-1C33-4BEEB500FE9D}"/>
              </a:ext>
            </a:extLst>
          </p:cNvPr>
          <p:cNvSpPr/>
          <p:nvPr/>
        </p:nvSpPr>
        <p:spPr>
          <a:xfrm>
            <a:off x="2911735" y="5507184"/>
            <a:ext cx="1000461" cy="602428"/>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a:t>ONE</a:t>
            </a:r>
          </a:p>
        </p:txBody>
      </p:sp>
      <p:sp>
        <p:nvSpPr>
          <p:cNvPr id="22" name="Rectangle 21">
            <a:extLst>
              <a:ext uri="{FF2B5EF4-FFF2-40B4-BE49-F238E27FC236}">
                <a16:creationId xmlns:a16="http://schemas.microsoft.com/office/drawing/2014/main" id="{EE65AA3E-1D2C-06EC-6222-393E1D64B3E0}"/>
              </a:ext>
            </a:extLst>
          </p:cNvPr>
          <p:cNvSpPr/>
          <p:nvPr/>
        </p:nvSpPr>
        <p:spPr>
          <a:xfrm>
            <a:off x="2911735" y="3601445"/>
            <a:ext cx="1000461" cy="602428"/>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200"/>
              <a:t>Milestone Process</a:t>
            </a:r>
          </a:p>
        </p:txBody>
      </p:sp>
      <p:sp>
        <p:nvSpPr>
          <p:cNvPr id="24" name="Rectangle 23">
            <a:extLst>
              <a:ext uri="{FF2B5EF4-FFF2-40B4-BE49-F238E27FC236}">
                <a16:creationId xmlns:a16="http://schemas.microsoft.com/office/drawing/2014/main" id="{E851DD55-8C84-B0EF-B66C-453A4C2C0326}"/>
              </a:ext>
            </a:extLst>
          </p:cNvPr>
          <p:cNvSpPr/>
          <p:nvPr/>
        </p:nvSpPr>
        <p:spPr>
          <a:xfrm>
            <a:off x="5705741" y="3601445"/>
            <a:ext cx="1000461" cy="602428"/>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200"/>
              <a:t>Booking Info</a:t>
            </a:r>
          </a:p>
        </p:txBody>
      </p:sp>
      <p:cxnSp>
        <p:nvCxnSpPr>
          <p:cNvPr id="26" name="Straight Arrow Connector 25">
            <a:extLst>
              <a:ext uri="{FF2B5EF4-FFF2-40B4-BE49-F238E27FC236}">
                <a16:creationId xmlns:a16="http://schemas.microsoft.com/office/drawing/2014/main" id="{E5D15895-2EB3-A137-3BCA-EF18D07BDD9D}"/>
              </a:ext>
            </a:extLst>
          </p:cNvPr>
          <p:cNvCxnSpPr>
            <a:cxnSpLocks/>
          </p:cNvCxnSpPr>
          <p:nvPr/>
        </p:nvCxnSpPr>
        <p:spPr>
          <a:xfrm>
            <a:off x="2515191" y="4811164"/>
            <a:ext cx="396545"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0BA0F07B-2033-D99C-8546-D403CA00FE1C}"/>
              </a:ext>
            </a:extLst>
          </p:cNvPr>
          <p:cNvCxnSpPr>
            <a:cxnSpLocks/>
          </p:cNvCxnSpPr>
          <p:nvPr/>
        </p:nvCxnSpPr>
        <p:spPr>
          <a:xfrm flipV="1">
            <a:off x="4808973" y="3138206"/>
            <a:ext cx="0" cy="167295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30E0BCF3-E935-B96A-404E-CDE487B4350E}"/>
              </a:ext>
            </a:extLst>
          </p:cNvPr>
          <p:cNvCxnSpPr>
            <a:cxnSpLocks/>
          </p:cNvCxnSpPr>
          <p:nvPr/>
        </p:nvCxnSpPr>
        <p:spPr>
          <a:xfrm flipV="1">
            <a:off x="3411965" y="4203873"/>
            <a:ext cx="0" cy="293459"/>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0036012-5DDB-CDC4-C88D-51F48935827F}"/>
              </a:ext>
            </a:extLst>
          </p:cNvPr>
          <p:cNvCxnSpPr>
            <a:cxnSpLocks/>
          </p:cNvCxnSpPr>
          <p:nvPr/>
        </p:nvCxnSpPr>
        <p:spPr>
          <a:xfrm>
            <a:off x="3912197" y="4811164"/>
            <a:ext cx="918915" cy="0"/>
          </a:xfrm>
          <a:prstGeom prst="straightConnector1">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C5FB6E55-1B8E-6DE2-30C2-9EE8DAED77F3}"/>
              </a:ext>
            </a:extLst>
          </p:cNvPr>
          <p:cNvSpPr/>
          <p:nvPr/>
        </p:nvSpPr>
        <p:spPr>
          <a:xfrm>
            <a:off x="4308742" y="5507184"/>
            <a:ext cx="1000461" cy="602428"/>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r>
              <a:rPr lang="en-US" sz="1400"/>
              <a:t>Partner Systems</a:t>
            </a:r>
          </a:p>
        </p:txBody>
      </p:sp>
      <p:cxnSp>
        <p:nvCxnSpPr>
          <p:cNvPr id="39" name="Straight Arrow Connector 38">
            <a:extLst>
              <a:ext uri="{FF2B5EF4-FFF2-40B4-BE49-F238E27FC236}">
                <a16:creationId xmlns:a16="http://schemas.microsoft.com/office/drawing/2014/main" id="{6A4AFD20-F302-BB91-3EC4-7A628A938F0C}"/>
              </a:ext>
            </a:extLst>
          </p:cNvPr>
          <p:cNvCxnSpPr>
            <a:cxnSpLocks/>
          </p:cNvCxnSpPr>
          <p:nvPr/>
        </p:nvCxnSpPr>
        <p:spPr>
          <a:xfrm>
            <a:off x="5309203" y="2836992"/>
            <a:ext cx="39654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38EF021E-5BF3-06FF-8386-901D5D663D75}"/>
              </a:ext>
            </a:extLst>
          </p:cNvPr>
          <p:cNvCxnSpPr>
            <a:cxnSpLocks/>
          </p:cNvCxnSpPr>
          <p:nvPr/>
        </p:nvCxnSpPr>
        <p:spPr>
          <a:xfrm flipV="1">
            <a:off x="6706206" y="2834303"/>
            <a:ext cx="396540" cy="268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AC458972-9D28-948A-0351-870DDCBBF36F}"/>
              </a:ext>
            </a:extLst>
          </p:cNvPr>
          <p:cNvSpPr/>
          <p:nvPr/>
        </p:nvSpPr>
        <p:spPr>
          <a:xfrm>
            <a:off x="7102747" y="4509950"/>
            <a:ext cx="1000461" cy="602428"/>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200"/>
              <a:t>*Confirm Containers</a:t>
            </a:r>
          </a:p>
        </p:txBody>
      </p:sp>
      <p:cxnSp>
        <p:nvCxnSpPr>
          <p:cNvPr id="47" name="Straight Arrow Connector 46">
            <a:extLst>
              <a:ext uri="{FF2B5EF4-FFF2-40B4-BE49-F238E27FC236}">
                <a16:creationId xmlns:a16="http://schemas.microsoft.com/office/drawing/2014/main" id="{5B9437E2-8384-4D33-6517-44872F062E9A}"/>
              </a:ext>
            </a:extLst>
          </p:cNvPr>
          <p:cNvCxnSpPr>
            <a:cxnSpLocks/>
          </p:cNvCxnSpPr>
          <p:nvPr/>
        </p:nvCxnSpPr>
        <p:spPr>
          <a:xfrm flipH="1">
            <a:off x="6205972" y="3138206"/>
            <a:ext cx="4" cy="463239"/>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3A5DFC1D-5241-2A5B-2763-07330303F70D}"/>
              </a:ext>
            </a:extLst>
          </p:cNvPr>
          <p:cNvCxnSpPr>
            <a:cxnSpLocks/>
          </p:cNvCxnSpPr>
          <p:nvPr/>
        </p:nvCxnSpPr>
        <p:spPr>
          <a:xfrm flipH="1">
            <a:off x="7602978" y="3135517"/>
            <a:ext cx="1" cy="1374433"/>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C715A097-43BA-78C7-EB85-D60AE8341F32}"/>
              </a:ext>
            </a:extLst>
          </p:cNvPr>
          <p:cNvCxnSpPr>
            <a:cxnSpLocks/>
          </p:cNvCxnSpPr>
          <p:nvPr/>
        </p:nvCxnSpPr>
        <p:spPr>
          <a:xfrm flipV="1">
            <a:off x="3411965" y="2610071"/>
            <a:ext cx="0" cy="991374"/>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D0298E2B-0E7B-38AA-DFAA-A6320C4591C2}"/>
              </a:ext>
            </a:extLst>
          </p:cNvPr>
          <p:cNvSpPr/>
          <p:nvPr/>
        </p:nvSpPr>
        <p:spPr>
          <a:xfrm>
            <a:off x="8512278" y="3601445"/>
            <a:ext cx="1000461" cy="602428"/>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200"/>
              <a:t>Tracking Events</a:t>
            </a:r>
          </a:p>
        </p:txBody>
      </p:sp>
      <p:sp>
        <p:nvSpPr>
          <p:cNvPr id="63" name="Rectangle 62">
            <a:extLst>
              <a:ext uri="{FF2B5EF4-FFF2-40B4-BE49-F238E27FC236}">
                <a16:creationId xmlns:a16="http://schemas.microsoft.com/office/drawing/2014/main" id="{23D662CA-FC75-AE3B-81F9-620F85D254AD}"/>
              </a:ext>
            </a:extLst>
          </p:cNvPr>
          <p:cNvSpPr/>
          <p:nvPr/>
        </p:nvSpPr>
        <p:spPr>
          <a:xfrm>
            <a:off x="8512278" y="4509950"/>
            <a:ext cx="1000461" cy="602428"/>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200"/>
              <a:t>ETA Calculation</a:t>
            </a:r>
          </a:p>
        </p:txBody>
      </p:sp>
      <p:cxnSp>
        <p:nvCxnSpPr>
          <p:cNvPr id="64" name="Straight Arrow Connector 63">
            <a:extLst>
              <a:ext uri="{FF2B5EF4-FFF2-40B4-BE49-F238E27FC236}">
                <a16:creationId xmlns:a16="http://schemas.microsoft.com/office/drawing/2014/main" id="{FB414208-2974-6A2C-EA4A-E3342514DF74}"/>
              </a:ext>
            </a:extLst>
          </p:cNvPr>
          <p:cNvCxnSpPr>
            <a:cxnSpLocks/>
          </p:cNvCxnSpPr>
          <p:nvPr/>
        </p:nvCxnSpPr>
        <p:spPr>
          <a:xfrm>
            <a:off x="9012509" y="4203873"/>
            <a:ext cx="0" cy="3060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F1C3D8F2-7512-CCFB-3C2C-64562F861106}"/>
              </a:ext>
            </a:extLst>
          </p:cNvPr>
          <p:cNvCxnSpPr>
            <a:cxnSpLocks/>
          </p:cNvCxnSpPr>
          <p:nvPr/>
        </p:nvCxnSpPr>
        <p:spPr>
          <a:xfrm>
            <a:off x="8103209" y="2834303"/>
            <a:ext cx="396538"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EAFD2E44-CD48-6AD2-93DF-DA8B91E8913C}"/>
              </a:ext>
            </a:extLst>
          </p:cNvPr>
          <p:cNvCxnSpPr>
            <a:cxnSpLocks/>
          </p:cNvCxnSpPr>
          <p:nvPr/>
        </p:nvCxnSpPr>
        <p:spPr>
          <a:xfrm>
            <a:off x="8999978" y="3135517"/>
            <a:ext cx="12531" cy="465928"/>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2EAD56B9-8A7E-BF47-79F2-AB010E670D57}"/>
              </a:ext>
            </a:extLst>
          </p:cNvPr>
          <p:cNvSpPr/>
          <p:nvPr/>
        </p:nvSpPr>
        <p:spPr>
          <a:xfrm>
            <a:off x="5705740" y="4509950"/>
            <a:ext cx="1000461" cy="602428"/>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200"/>
              <a:t>Generate Legs</a:t>
            </a:r>
          </a:p>
        </p:txBody>
      </p:sp>
      <p:cxnSp>
        <p:nvCxnSpPr>
          <p:cNvPr id="80" name="Straight Arrow Connector 79">
            <a:extLst>
              <a:ext uri="{FF2B5EF4-FFF2-40B4-BE49-F238E27FC236}">
                <a16:creationId xmlns:a16="http://schemas.microsoft.com/office/drawing/2014/main" id="{D4556A28-0806-BC88-34CA-00144D2586E1}"/>
              </a:ext>
            </a:extLst>
          </p:cNvPr>
          <p:cNvCxnSpPr>
            <a:cxnSpLocks/>
          </p:cNvCxnSpPr>
          <p:nvPr/>
        </p:nvCxnSpPr>
        <p:spPr>
          <a:xfrm flipH="1">
            <a:off x="6205971" y="4203873"/>
            <a:ext cx="1" cy="3060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1FB4989B-574E-6579-DCEB-CFAEB695FA67}"/>
              </a:ext>
            </a:extLst>
          </p:cNvPr>
          <p:cNvSpPr/>
          <p:nvPr/>
        </p:nvSpPr>
        <p:spPr>
          <a:xfrm>
            <a:off x="10305631" y="4509950"/>
            <a:ext cx="1000461" cy="602428"/>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400"/>
              <a:t>Order Receipt</a:t>
            </a:r>
          </a:p>
        </p:txBody>
      </p:sp>
      <p:sp>
        <p:nvSpPr>
          <p:cNvPr id="88" name="Rectangle 87">
            <a:extLst>
              <a:ext uri="{FF2B5EF4-FFF2-40B4-BE49-F238E27FC236}">
                <a16:creationId xmlns:a16="http://schemas.microsoft.com/office/drawing/2014/main" id="{E512E3A1-739B-2C3B-D1A1-632729E3975A}"/>
              </a:ext>
            </a:extLst>
          </p:cNvPr>
          <p:cNvSpPr/>
          <p:nvPr/>
        </p:nvSpPr>
        <p:spPr>
          <a:xfrm>
            <a:off x="10305632" y="3150101"/>
            <a:ext cx="1000461" cy="602428"/>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200"/>
              <a:t>Confirmed Receipt</a:t>
            </a:r>
          </a:p>
        </p:txBody>
      </p:sp>
      <p:cxnSp>
        <p:nvCxnSpPr>
          <p:cNvPr id="89" name="Straight Arrow Connector 88">
            <a:extLst>
              <a:ext uri="{FF2B5EF4-FFF2-40B4-BE49-F238E27FC236}">
                <a16:creationId xmlns:a16="http://schemas.microsoft.com/office/drawing/2014/main" id="{7EF07E63-BDB2-02E4-F0B2-4241E4634C01}"/>
              </a:ext>
            </a:extLst>
          </p:cNvPr>
          <p:cNvCxnSpPr>
            <a:cxnSpLocks/>
          </p:cNvCxnSpPr>
          <p:nvPr/>
        </p:nvCxnSpPr>
        <p:spPr>
          <a:xfrm>
            <a:off x="9512739" y="4811164"/>
            <a:ext cx="79289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707960CB-CA74-A428-BFAF-C2F279389F5D}"/>
              </a:ext>
            </a:extLst>
          </p:cNvPr>
          <p:cNvCxnSpPr>
            <a:cxnSpLocks/>
          </p:cNvCxnSpPr>
          <p:nvPr/>
        </p:nvCxnSpPr>
        <p:spPr>
          <a:xfrm flipV="1">
            <a:off x="10805862" y="3752529"/>
            <a:ext cx="1" cy="75742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BB9A562E-288C-E586-8EA9-71A20451A5CA}"/>
              </a:ext>
            </a:extLst>
          </p:cNvPr>
          <p:cNvSpPr txBox="1"/>
          <p:nvPr/>
        </p:nvSpPr>
        <p:spPr>
          <a:xfrm>
            <a:off x="9097720" y="5607647"/>
            <a:ext cx="1207911" cy="401503"/>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t">
            <a:noAutofit/>
          </a:bodyPr>
          <a:lstStyle/>
          <a:p>
            <a:pPr algn="l"/>
            <a:r>
              <a:rPr lang="en-US" sz="1200" b="1" kern="0">
                <a:latin typeface="Open Sans" panose="020B0606030504020204" pitchFamily="34" charset="0"/>
                <a:ea typeface="Open Sans" panose="020B0606030504020204" pitchFamily="34" charset="0"/>
                <a:cs typeface="Open Sans" panose="020B0606030504020204" pitchFamily="34" charset="0"/>
              </a:rPr>
              <a:t>EDI315;IFTSTA</a:t>
            </a:r>
          </a:p>
          <a:p>
            <a:pPr algn="l"/>
            <a:r>
              <a:rPr lang="en-US" sz="1200" b="1" kern="0">
                <a:latin typeface="Open Sans" panose="020B0606030504020204" pitchFamily="34" charset="0"/>
                <a:ea typeface="Open Sans" panose="020B0606030504020204" pitchFamily="34" charset="0"/>
                <a:cs typeface="Open Sans" panose="020B0606030504020204" pitchFamily="34" charset="0"/>
              </a:rPr>
              <a:t>ONE CSV or UI</a:t>
            </a:r>
          </a:p>
        </p:txBody>
      </p:sp>
      <p:sp>
        <p:nvSpPr>
          <p:cNvPr id="102" name="TextBox 101">
            <a:extLst>
              <a:ext uri="{FF2B5EF4-FFF2-40B4-BE49-F238E27FC236}">
                <a16:creationId xmlns:a16="http://schemas.microsoft.com/office/drawing/2014/main" id="{6CD56641-AAC3-800F-86EB-1C5A6FC80FF4}"/>
              </a:ext>
            </a:extLst>
          </p:cNvPr>
          <p:cNvSpPr txBox="1"/>
          <p:nvPr/>
        </p:nvSpPr>
        <p:spPr>
          <a:xfrm>
            <a:off x="5865830" y="5607647"/>
            <a:ext cx="1207911" cy="401503"/>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t">
            <a:noAutofit/>
          </a:bodyPr>
          <a:lstStyle/>
          <a:p>
            <a:pPr algn="l"/>
            <a:r>
              <a:rPr lang="en-US" sz="1200" b="1" kern="0">
                <a:latin typeface="Open Sans" panose="020B0606030504020204" pitchFamily="34" charset="0"/>
                <a:ea typeface="Open Sans" panose="020B0606030504020204" pitchFamily="34" charset="0"/>
                <a:cs typeface="Open Sans" panose="020B0606030504020204" pitchFamily="34" charset="0"/>
              </a:rPr>
              <a:t>EDI300; IFTMIN</a:t>
            </a:r>
          </a:p>
          <a:p>
            <a:pPr algn="l"/>
            <a:r>
              <a:rPr lang="en-US" sz="1200" b="1" kern="0">
                <a:latin typeface="Open Sans" panose="020B0606030504020204" pitchFamily="34" charset="0"/>
                <a:ea typeface="Open Sans" panose="020B0606030504020204" pitchFamily="34" charset="0"/>
                <a:cs typeface="Open Sans" panose="020B0606030504020204" pitchFamily="34" charset="0"/>
              </a:rPr>
              <a:t>ONE CSV or UI</a:t>
            </a:r>
          </a:p>
        </p:txBody>
      </p:sp>
      <p:sp>
        <p:nvSpPr>
          <p:cNvPr id="103" name="TextBox 102">
            <a:extLst>
              <a:ext uri="{FF2B5EF4-FFF2-40B4-BE49-F238E27FC236}">
                <a16:creationId xmlns:a16="http://schemas.microsoft.com/office/drawing/2014/main" id="{2736B58A-9EC5-8159-6DCD-C1400851552F}"/>
              </a:ext>
            </a:extLst>
          </p:cNvPr>
          <p:cNvSpPr txBox="1"/>
          <p:nvPr/>
        </p:nvSpPr>
        <p:spPr>
          <a:xfrm>
            <a:off x="7499252" y="5607647"/>
            <a:ext cx="1207911" cy="401503"/>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t">
            <a:noAutofit/>
          </a:bodyPr>
          <a:lstStyle/>
          <a:p>
            <a:r>
              <a:rPr lang="en-US" sz="1200" b="1" kern="0">
                <a:latin typeface="Open Sans" panose="020B0606030504020204" pitchFamily="34" charset="0"/>
                <a:ea typeface="Open Sans" panose="020B0606030504020204" pitchFamily="34" charset="0"/>
                <a:cs typeface="Open Sans" panose="020B0606030504020204" pitchFamily="34" charset="0"/>
              </a:rPr>
              <a:t>EDI301; IFTMBC</a:t>
            </a:r>
          </a:p>
          <a:p>
            <a:r>
              <a:rPr lang="en-US" sz="1200" b="1" kern="0">
                <a:latin typeface="Open Sans" panose="020B0606030504020204" pitchFamily="34" charset="0"/>
                <a:ea typeface="Open Sans" panose="020B0606030504020204" pitchFamily="34" charset="0"/>
                <a:cs typeface="Open Sans" panose="020B0606030504020204" pitchFamily="34" charset="0"/>
              </a:rPr>
              <a:t>ONE CSV or UI</a:t>
            </a:r>
          </a:p>
        </p:txBody>
      </p:sp>
      <p:sp>
        <p:nvSpPr>
          <p:cNvPr id="107" name="Flowchart: Connector 106">
            <a:extLst>
              <a:ext uri="{FF2B5EF4-FFF2-40B4-BE49-F238E27FC236}">
                <a16:creationId xmlns:a16="http://schemas.microsoft.com/office/drawing/2014/main" id="{E74B5A5C-6896-645E-557D-4823CBB26C7A}"/>
              </a:ext>
            </a:extLst>
          </p:cNvPr>
          <p:cNvSpPr/>
          <p:nvPr/>
        </p:nvSpPr>
        <p:spPr>
          <a:xfrm>
            <a:off x="4920115" y="3245825"/>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A</a:t>
            </a:r>
          </a:p>
        </p:txBody>
      </p:sp>
      <p:sp>
        <p:nvSpPr>
          <p:cNvPr id="108" name="Flowchart: Connector 107">
            <a:extLst>
              <a:ext uri="{FF2B5EF4-FFF2-40B4-BE49-F238E27FC236}">
                <a16:creationId xmlns:a16="http://schemas.microsoft.com/office/drawing/2014/main" id="{8273D790-5762-4ECC-8068-40E72BEECADE}"/>
              </a:ext>
            </a:extLst>
          </p:cNvPr>
          <p:cNvSpPr/>
          <p:nvPr/>
        </p:nvSpPr>
        <p:spPr>
          <a:xfrm>
            <a:off x="5634374" y="5695342"/>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A</a:t>
            </a:r>
          </a:p>
        </p:txBody>
      </p:sp>
      <p:sp>
        <p:nvSpPr>
          <p:cNvPr id="109" name="Flowchart: Connector 108">
            <a:extLst>
              <a:ext uri="{FF2B5EF4-FFF2-40B4-BE49-F238E27FC236}">
                <a16:creationId xmlns:a16="http://schemas.microsoft.com/office/drawing/2014/main" id="{0371E441-B796-4E41-3FB1-8A2EDFCEFF78}"/>
              </a:ext>
            </a:extLst>
          </p:cNvPr>
          <p:cNvSpPr/>
          <p:nvPr/>
        </p:nvSpPr>
        <p:spPr>
          <a:xfrm>
            <a:off x="6276849" y="3245825"/>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B</a:t>
            </a:r>
          </a:p>
        </p:txBody>
      </p:sp>
      <p:sp>
        <p:nvSpPr>
          <p:cNvPr id="110" name="Flowchart: Connector 109">
            <a:extLst>
              <a:ext uri="{FF2B5EF4-FFF2-40B4-BE49-F238E27FC236}">
                <a16:creationId xmlns:a16="http://schemas.microsoft.com/office/drawing/2014/main" id="{E368AEDF-6EF1-0A5D-939F-C1948E929006}"/>
              </a:ext>
            </a:extLst>
          </p:cNvPr>
          <p:cNvSpPr/>
          <p:nvPr/>
        </p:nvSpPr>
        <p:spPr>
          <a:xfrm>
            <a:off x="7267796" y="5695342"/>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B</a:t>
            </a:r>
          </a:p>
        </p:txBody>
      </p:sp>
      <p:sp>
        <p:nvSpPr>
          <p:cNvPr id="111" name="Flowchart: Connector 110">
            <a:extLst>
              <a:ext uri="{FF2B5EF4-FFF2-40B4-BE49-F238E27FC236}">
                <a16:creationId xmlns:a16="http://schemas.microsoft.com/office/drawing/2014/main" id="{C452A4ED-7FCE-7BEC-F2DC-6BC9C92512EE}"/>
              </a:ext>
            </a:extLst>
          </p:cNvPr>
          <p:cNvSpPr/>
          <p:nvPr/>
        </p:nvSpPr>
        <p:spPr>
          <a:xfrm>
            <a:off x="7671939" y="3245825"/>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C</a:t>
            </a:r>
          </a:p>
        </p:txBody>
      </p:sp>
      <p:sp>
        <p:nvSpPr>
          <p:cNvPr id="112" name="Flowchart: Connector 111">
            <a:extLst>
              <a:ext uri="{FF2B5EF4-FFF2-40B4-BE49-F238E27FC236}">
                <a16:creationId xmlns:a16="http://schemas.microsoft.com/office/drawing/2014/main" id="{2F1298B4-CB41-4B91-7B66-093629709E8C}"/>
              </a:ext>
            </a:extLst>
          </p:cNvPr>
          <p:cNvSpPr/>
          <p:nvPr/>
        </p:nvSpPr>
        <p:spPr>
          <a:xfrm>
            <a:off x="9068938" y="3245825"/>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C</a:t>
            </a:r>
          </a:p>
        </p:txBody>
      </p:sp>
      <p:sp>
        <p:nvSpPr>
          <p:cNvPr id="113" name="Flowchart: Connector 112">
            <a:extLst>
              <a:ext uri="{FF2B5EF4-FFF2-40B4-BE49-F238E27FC236}">
                <a16:creationId xmlns:a16="http://schemas.microsoft.com/office/drawing/2014/main" id="{568625C4-9098-C4EC-7E3F-984445F4C60F}"/>
              </a:ext>
            </a:extLst>
          </p:cNvPr>
          <p:cNvSpPr/>
          <p:nvPr/>
        </p:nvSpPr>
        <p:spPr>
          <a:xfrm>
            <a:off x="8866264" y="5695342"/>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C</a:t>
            </a:r>
          </a:p>
        </p:txBody>
      </p:sp>
      <p:sp>
        <p:nvSpPr>
          <p:cNvPr id="10" name="Rectangle 9">
            <a:extLst>
              <a:ext uri="{FF2B5EF4-FFF2-40B4-BE49-F238E27FC236}">
                <a16:creationId xmlns:a16="http://schemas.microsoft.com/office/drawing/2014/main" id="{0BCBC748-911F-06EF-7C3F-AF99AEE718E2}"/>
              </a:ext>
            </a:extLst>
          </p:cNvPr>
          <p:cNvSpPr/>
          <p:nvPr/>
        </p:nvSpPr>
        <p:spPr>
          <a:xfrm>
            <a:off x="2674045" y="1857457"/>
            <a:ext cx="1500890" cy="3359412"/>
          </a:xfrm>
          <a:prstGeom prst="rect">
            <a:avLst/>
          </a:prstGeom>
          <a:noFill/>
          <a:ln w="38100">
            <a:solidFill>
              <a:schemeClr val="accent4"/>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lowchart: Connector 10">
            <a:extLst>
              <a:ext uri="{FF2B5EF4-FFF2-40B4-BE49-F238E27FC236}">
                <a16:creationId xmlns:a16="http://schemas.microsoft.com/office/drawing/2014/main" id="{C9E5FBD0-E52B-83EF-3170-F53D7786AD87}"/>
              </a:ext>
            </a:extLst>
          </p:cNvPr>
          <p:cNvSpPr/>
          <p:nvPr/>
        </p:nvSpPr>
        <p:spPr>
          <a:xfrm>
            <a:off x="2566522" y="1734456"/>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1</a:t>
            </a:r>
          </a:p>
        </p:txBody>
      </p:sp>
      <p:sp>
        <p:nvSpPr>
          <p:cNvPr id="13" name="Rectangle 12">
            <a:extLst>
              <a:ext uri="{FF2B5EF4-FFF2-40B4-BE49-F238E27FC236}">
                <a16:creationId xmlns:a16="http://schemas.microsoft.com/office/drawing/2014/main" id="{0377915A-7407-2BC0-540A-2D7A9D245DD2}"/>
              </a:ext>
            </a:extLst>
          </p:cNvPr>
          <p:cNvSpPr/>
          <p:nvPr/>
        </p:nvSpPr>
        <p:spPr>
          <a:xfrm>
            <a:off x="2689626" y="1836707"/>
            <a:ext cx="2778431" cy="3359412"/>
          </a:xfrm>
          <a:prstGeom prst="rect">
            <a:avLst/>
          </a:prstGeom>
          <a:noFill/>
          <a:ln w="38100">
            <a:solidFill>
              <a:schemeClr val="accent4"/>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lowchart: Connector 13">
            <a:extLst>
              <a:ext uri="{FF2B5EF4-FFF2-40B4-BE49-F238E27FC236}">
                <a16:creationId xmlns:a16="http://schemas.microsoft.com/office/drawing/2014/main" id="{31BEAA82-7D02-90A0-F23F-3528FCC98192}"/>
              </a:ext>
            </a:extLst>
          </p:cNvPr>
          <p:cNvSpPr/>
          <p:nvPr/>
        </p:nvSpPr>
        <p:spPr>
          <a:xfrm>
            <a:off x="5236601" y="1734456"/>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2</a:t>
            </a:r>
          </a:p>
        </p:txBody>
      </p:sp>
      <p:sp>
        <p:nvSpPr>
          <p:cNvPr id="15" name="Rectangle 14">
            <a:extLst>
              <a:ext uri="{FF2B5EF4-FFF2-40B4-BE49-F238E27FC236}">
                <a16:creationId xmlns:a16="http://schemas.microsoft.com/office/drawing/2014/main" id="{233807CC-61B9-19E9-5893-644D01D9A4FF}"/>
              </a:ext>
            </a:extLst>
          </p:cNvPr>
          <p:cNvSpPr/>
          <p:nvPr/>
        </p:nvSpPr>
        <p:spPr>
          <a:xfrm>
            <a:off x="5500064" y="1840887"/>
            <a:ext cx="1500890" cy="3359412"/>
          </a:xfrm>
          <a:prstGeom prst="rect">
            <a:avLst/>
          </a:prstGeom>
          <a:noFill/>
          <a:ln w="38100">
            <a:solidFill>
              <a:schemeClr val="accent4"/>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lowchart: Connector 15">
            <a:extLst>
              <a:ext uri="{FF2B5EF4-FFF2-40B4-BE49-F238E27FC236}">
                <a16:creationId xmlns:a16="http://schemas.microsoft.com/office/drawing/2014/main" id="{C15EC07D-D096-80C1-DE80-1DF19E6955AE}"/>
              </a:ext>
            </a:extLst>
          </p:cNvPr>
          <p:cNvSpPr/>
          <p:nvPr/>
        </p:nvSpPr>
        <p:spPr>
          <a:xfrm>
            <a:off x="6134781" y="1734456"/>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3</a:t>
            </a:r>
          </a:p>
        </p:txBody>
      </p:sp>
      <p:sp>
        <p:nvSpPr>
          <p:cNvPr id="17" name="Rectangle 16">
            <a:extLst>
              <a:ext uri="{FF2B5EF4-FFF2-40B4-BE49-F238E27FC236}">
                <a16:creationId xmlns:a16="http://schemas.microsoft.com/office/drawing/2014/main" id="{46BDCCCD-C468-5161-81DD-90C194F6BAB0}"/>
              </a:ext>
            </a:extLst>
          </p:cNvPr>
          <p:cNvSpPr/>
          <p:nvPr/>
        </p:nvSpPr>
        <p:spPr>
          <a:xfrm>
            <a:off x="7004186" y="1835148"/>
            <a:ext cx="2754133" cy="3359412"/>
          </a:xfrm>
          <a:prstGeom prst="rect">
            <a:avLst/>
          </a:prstGeom>
          <a:noFill/>
          <a:ln w="38100">
            <a:solidFill>
              <a:schemeClr val="accent4"/>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lowchart: Connector 24">
            <a:extLst>
              <a:ext uri="{FF2B5EF4-FFF2-40B4-BE49-F238E27FC236}">
                <a16:creationId xmlns:a16="http://schemas.microsoft.com/office/drawing/2014/main" id="{04E782E2-0986-FB35-F4CF-4D733D601F95}"/>
              </a:ext>
            </a:extLst>
          </p:cNvPr>
          <p:cNvSpPr/>
          <p:nvPr/>
        </p:nvSpPr>
        <p:spPr>
          <a:xfrm>
            <a:off x="8265524" y="1734456"/>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4</a:t>
            </a:r>
          </a:p>
        </p:txBody>
      </p:sp>
      <p:sp>
        <p:nvSpPr>
          <p:cNvPr id="29" name="Rectangle 28">
            <a:extLst>
              <a:ext uri="{FF2B5EF4-FFF2-40B4-BE49-F238E27FC236}">
                <a16:creationId xmlns:a16="http://schemas.microsoft.com/office/drawing/2014/main" id="{C843B6F1-57A4-EE8A-60B4-3037D56F5144}"/>
              </a:ext>
            </a:extLst>
          </p:cNvPr>
          <p:cNvSpPr/>
          <p:nvPr/>
        </p:nvSpPr>
        <p:spPr>
          <a:xfrm>
            <a:off x="2364935" y="1761686"/>
            <a:ext cx="9075004" cy="1196737"/>
          </a:xfrm>
          <a:prstGeom prst="rect">
            <a:avLst/>
          </a:prstGeom>
          <a:noFill/>
          <a:ln w="38100">
            <a:solidFill>
              <a:schemeClr val="accent4"/>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lowchart: Connector 30">
            <a:extLst>
              <a:ext uri="{FF2B5EF4-FFF2-40B4-BE49-F238E27FC236}">
                <a16:creationId xmlns:a16="http://schemas.microsoft.com/office/drawing/2014/main" id="{D4ADD74A-A20C-8588-6BC0-53FAABC26924}"/>
              </a:ext>
            </a:extLst>
          </p:cNvPr>
          <p:cNvSpPr/>
          <p:nvPr/>
        </p:nvSpPr>
        <p:spPr>
          <a:xfrm>
            <a:off x="11240490" y="1734456"/>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5</a:t>
            </a:r>
          </a:p>
        </p:txBody>
      </p:sp>
      <p:cxnSp>
        <p:nvCxnSpPr>
          <p:cNvPr id="32" name="Straight Arrow Connector 31">
            <a:extLst>
              <a:ext uri="{FF2B5EF4-FFF2-40B4-BE49-F238E27FC236}">
                <a16:creationId xmlns:a16="http://schemas.microsoft.com/office/drawing/2014/main" id="{404413F3-171E-99DD-0800-98D9057BB7C8}"/>
              </a:ext>
            </a:extLst>
          </p:cNvPr>
          <p:cNvCxnSpPr>
            <a:cxnSpLocks/>
            <a:stCxn id="88" idx="0"/>
          </p:cNvCxnSpPr>
          <p:nvPr/>
        </p:nvCxnSpPr>
        <p:spPr>
          <a:xfrm flipH="1" flipV="1">
            <a:off x="10805862" y="2610071"/>
            <a:ext cx="1" cy="540030"/>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31CC89F3-EB2C-B655-7F42-FE691354439C}"/>
              </a:ext>
            </a:extLst>
          </p:cNvPr>
          <p:cNvSpPr/>
          <p:nvPr/>
        </p:nvSpPr>
        <p:spPr>
          <a:xfrm>
            <a:off x="4308742" y="2535778"/>
            <a:ext cx="1000461" cy="602428"/>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r>
              <a:rPr lang="en-US" sz="1400"/>
              <a:t>Shipment Planning</a:t>
            </a:r>
          </a:p>
        </p:txBody>
      </p:sp>
      <p:sp>
        <p:nvSpPr>
          <p:cNvPr id="38" name="Rectangle 37">
            <a:extLst>
              <a:ext uri="{FF2B5EF4-FFF2-40B4-BE49-F238E27FC236}">
                <a16:creationId xmlns:a16="http://schemas.microsoft.com/office/drawing/2014/main" id="{11D1149B-6BB8-E5C3-36AD-14B387877A62}"/>
              </a:ext>
            </a:extLst>
          </p:cNvPr>
          <p:cNvSpPr/>
          <p:nvPr/>
        </p:nvSpPr>
        <p:spPr>
          <a:xfrm>
            <a:off x="5705745" y="2535778"/>
            <a:ext cx="1000461" cy="602428"/>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r>
              <a:rPr lang="en-US" sz="1400"/>
              <a:t>Shipment Booking</a:t>
            </a:r>
          </a:p>
        </p:txBody>
      </p:sp>
      <p:sp>
        <p:nvSpPr>
          <p:cNvPr id="43" name="Rectangle 42">
            <a:extLst>
              <a:ext uri="{FF2B5EF4-FFF2-40B4-BE49-F238E27FC236}">
                <a16:creationId xmlns:a16="http://schemas.microsoft.com/office/drawing/2014/main" id="{CEC9A718-A993-FDB7-72C0-2A235CC11330}"/>
              </a:ext>
            </a:extLst>
          </p:cNvPr>
          <p:cNvSpPr/>
          <p:nvPr/>
        </p:nvSpPr>
        <p:spPr>
          <a:xfrm>
            <a:off x="7102748" y="2533089"/>
            <a:ext cx="1000461" cy="602428"/>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r>
              <a:rPr lang="en-US" sz="1400"/>
              <a:t>Pack &amp; Ship</a:t>
            </a:r>
          </a:p>
        </p:txBody>
      </p:sp>
      <p:sp>
        <p:nvSpPr>
          <p:cNvPr id="61" name="Rectangle 60">
            <a:extLst>
              <a:ext uri="{FF2B5EF4-FFF2-40B4-BE49-F238E27FC236}">
                <a16:creationId xmlns:a16="http://schemas.microsoft.com/office/drawing/2014/main" id="{69290EC0-DD63-9CD7-BE84-7E3D85C38158}"/>
              </a:ext>
            </a:extLst>
          </p:cNvPr>
          <p:cNvSpPr/>
          <p:nvPr/>
        </p:nvSpPr>
        <p:spPr>
          <a:xfrm>
            <a:off x="8499747" y="2533089"/>
            <a:ext cx="1000461" cy="602428"/>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r>
              <a:rPr lang="en-US" sz="1400"/>
              <a:t>Status Updates</a:t>
            </a:r>
          </a:p>
        </p:txBody>
      </p:sp>
    </p:spTree>
    <p:extLst>
      <p:ext uri="{BB962C8B-B14F-4D97-AF65-F5344CB8AC3E}">
        <p14:creationId xmlns:p14="http://schemas.microsoft.com/office/powerpoint/2010/main" val="2801638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1" nodeType="clickEffect">
                                  <p:stCondLst>
                                    <p:cond delay="0"/>
                                  </p:stCondLst>
                                  <p:childTnLst>
                                    <p:set>
                                      <p:cBhvr>
                                        <p:cTn id="12" dur="1" fill="hold">
                                          <p:stCondLst>
                                            <p:cond delay="0"/>
                                          </p:stCondLst>
                                        </p:cTn>
                                        <p:tgtEl>
                                          <p:spTgt spid="10"/>
                                        </p:tgtEl>
                                        <p:attrNameLst>
                                          <p:attrName>style.visibility</p:attrName>
                                        </p:attrNameLst>
                                      </p:cBhvr>
                                      <p:to>
                                        <p:strVal val="hidden"/>
                                      </p:to>
                                    </p:set>
                                  </p:childTnLst>
                                </p:cTn>
                              </p:par>
                              <p:par>
                                <p:cTn id="13" presetID="1" presetClass="exit" presetSubtype="0" fill="hold" grpId="1" nodeType="withEffect">
                                  <p:stCondLst>
                                    <p:cond delay="0"/>
                                  </p:stCondLst>
                                  <p:childTnLst>
                                    <p:set>
                                      <p:cBhvr>
                                        <p:cTn id="14" dur="1" fill="hold">
                                          <p:stCondLst>
                                            <p:cond delay="0"/>
                                          </p:stCondLst>
                                        </p:cTn>
                                        <p:tgtEl>
                                          <p:spTgt spid="11"/>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1" nodeType="clickEffect">
                                  <p:stCondLst>
                                    <p:cond delay="0"/>
                                  </p:stCondLst>
                                  <p:childTnLst>
                                    <p:set>
                                      <p:cBhvr>
                                        <p:cTn id="26" dur="1" fill="hold">
                                          <p:stCondLst>
                                            <p:cond delay="0"/>
                                          </p:stCondLst>
                                        </p:cTn>
                                        <p:tgtEl>
                                          <p:spTgt spid="13"/>
                                        </p:tgtEl>
                                        <p:attrNameLst>
                                          <p:attrName>style.visibility</p:attrName>
                                        </p:attrNameLst>
                                      </p:cBhvr>
                                      <p:to>
                                        <p:strVal val="hidden"/>
                                      </p:to>
                                    </p:set>
                                  </p:childTnLst>
                                </p:cTn>
                              </p:par>
                              <p:par>
                                <p:cTn id="27" presetID="1" presetClass="exit" presetSubtype="0" fill="hold" grpId="1" nodeType="withEffect">
                                  <p:stCondLst>
                                    <p:cond delay="0"/>
                                  </p:stCondLst>
                                  <p:childTnLst>
                                    <p:set>
                                      <p:cBhvr>
                                        <p:cTn id="28" dur="1" fill="hold">
                                          <p:stCondLst>
                                            <p:cond delay="0"/>
                                          </p:stCondLst>
                                        </p:cTn>
                                        <p:tgtEl>
                                          <p:spTgt spid="14"/>
                                        </p:tgtEl>
                                        <p:attrNameLst>
                                          <p:attrName>style.visibility</p:attrName>
                                        </p:attrNameLst>
                                      </p:cBhvr>
                                      <p:to>
                                        <p:strVal val="hidden"/>
                                      </p:to>
                                    </p:set>
                                  </p:childTnLst>
                                </p:cTn>
                              </p:par>
                              <p:par>
                                <p:cTn id="29" presetID="1" presetClass="entr" presetSubtype="0"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9"/>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xit" presetSubtype="0" fill="hold" grpId="1" nodeType="clickEffect">
                                  <p:stCondLst>
                                    <p:cond delay="0"/>
                                  </p:stCondLst>
                                  <p:childTnLst>
                                    <p:set>
                                      <p:cBhvr>
                                        <p:cTn id="40" dur="1" fill="hold">
                                          <p:stCondLst>
                                            <p:cond delay="0"/>
                                          </p:stCondLst>
                                        </p:cTn>
                                        <p:tgtEl>
                                          <p:spTgt spid="15"/>
                                        </p:tgtEl>
                                        <p:attrNameLst>
                                          <p:attrName>style.visibility</p:attrName>
                                        </p:attrNameLst>
                                      </p:cBhvr>
                                      <p:to>
                                        <p:strVal val="hidden"/>
                                      </p:to>
                                    </p:set>
                                  </p:childTnLst>
                                </p:cTn>
                              </p:par>
                              <p:par>
                                <p:cTn id="41" presetID="1" presetClass="exit" presetSubtype="0" fill="hold" grpId="1" nodeType="withEffect">
                                  <p:stCondLst>
                                    <p:cond delay="0"/>
                                  </p:stCondLst>
                                  <p:childTnLst>
                                    <p:set>
                                      <p:cBhvr>
                                        <p:cTn id="42" dur="1" fill="hold">
                                          <p:stCondLst>
                                            <p:cond delay="0"/>
                                          </p:stCondLst>
                                        </p:cTn>
                                        <p:tgtEl>
                                          <p:spTgt spid="16"/>
                                        </p:tgtEl>
                                        <p:attrNameLst>
                                          <p:attrName>style.visibility</p:attrName>
                                        </p:attrNameLst>
                                      </p:cBhvr>
                                      <p:to>
                                        <p:strVal val="hidden"/>
                                      </p:to>
                                    </p:set>
                                  </p:childTnLst>
                                </p:cTn>
                              </p:par>
                              <p:par>
                                <p:cTn id="43" presetID="1" presetClass="entr" presetSubtype="0" fill="hold" grpId="0" nodeType="withEffect">
                                  <p:stCondLst>
                                    <p:cond delay="0"/>
                                  </p:stCondLst>
                                  <p:childTnLst>
                                    <p:set>
                                      <p:cBhvr>
                                        <p:cTn id="44" dur="1" fill="hold">
                                          <p:stCondLst>
                                            <p:cond delay="0"/>
                                          </p:stCondLst>
                                        </p:cTn>
                                        <p:tgtEl>
                                          <p:spTgt spid="17"/>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11"/>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1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13"/>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xit" presetSubtype="0" fill="hold" grpId="1" nodeType="clickEffect">
                                  <p:stCondLst>
                                    <p:cond delay="0"/>
                                  </p:stCondLst>
                                  <p:childTnLst>
                                    <p:set>
                                      <p:cBhvr>
                                        <p:cTn id="56" dur="1" fill="hold">
                                          <p:stCondLst>
                                            <p:cond delay="0"/>
                                          </p:stCondLst>
                                        </p:cTn>
                                        <p:tgtEl>
                                          <p:spTgt spid="17"/>
                                        </p:tgtEl>
                                        <p:attrNameLst>
                                          <p:attrName>style.visibility</p:attrName>
                                        </p:attrNameLst>
                                      </p:cBhvr>
                                      <p:to>
                                        <p:strVal val="hidden"/>
                                      </p:to>
                                    </p:set>
                                  </p:childTnLst>
                                </p:cTn>
                              </p:par>
                              <p:par>
                                <p:cTn id="57" presetID="1" presetClass="exit" presetSubtype="0" fill="hold" grpId="1" nodeType="withEffect">
                                  <p:stCondLst>
                                    <p:cond delay="0"/>
                                  </p:stCondLst>
                                  <p:childTnLst>
                                    <p:set>
                                      <p:cBhvr>
                                        <p:cTn id="58" dur="1" fill="hold">
                                          <p:stCondLst>
                                            <p:cond delay="0"/>
                                          </p:stCondLst>
                                        </p:cTn>
                                        <p:tgtEl>
                                          <p:spTgt spid="25"/>
                                        </p:tgtEl>
                                        <p:attrNameLst>
                                          <p:attrName>style.visibility</p:attrName>
                                        </p:attrNameLst>
                                      </p:cBhvr>
                                      <p:to>
                                        <p:strVal val="hidden"/>
                                      </p:to>
                                    </p:set>
                                  </p:childTnLst>
                                </p:cTn>
                              </p:par>
                              <p:par>
                                <p:cTn id="59" presetID="1" presetClass="entr" presetSubtype="0" fill="hold" grpId="0" nodeType="withEffect">
                                  <p:stCondLst>
                                    <p:cond delay="0"/>
                                  </p:stCondLst>
                                  <p:childTnLst>
                                    <p:set>
                                      <p:cBhvr>
                                        <p:cTn id="60" dur="1" fill="hold">
                                          <p:stCondLst>
                                            <p:cond delay="0"/>
                                          </p:stCondLst>
                                        </p:cTn>
                                        <p:tgtEl>
                                          <p:spTgt spid="29"/>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31"/>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xit" presetSubtype="0" fill="hold" grpId="1" nodeType="clickEffect">
                                  <p:stCondLst>
                                    <p:cond delay="0"/>
                                  </p:stCondLst>
                                  <p:childTnLst>
                                    <p:set>
                                      <p:cBhvr>
                                        <p:cTn id="66" dur="1" fill="hold">
                                          <p:stCondLst>
                                            <p:cond delay="0"/>
                                          </p:stCondLst>
                                        </p:cTn>
                                        <p:tgtEl>
                                          <p:spTgt spid="29"/>
                                        </p:tgtEl>
                                        <p:attrNameLst>
                                          <p:attrName>style.visibility</p:attrName>
                                        </p:attrNameLst>
                                      </p:cBhvr>
                                      <p:to>
                                        <p:strVal val="hidden"/>
                                      </p:to>
                                    </p:set>
                                  </p:childTnLst>
                                </p:cTn>
                              </p:par>
                              <p:par>
                                <p:cTn id="67" presetID="1" presetClass="exit" presetSubtype="0" fill="hold" grpId="1" nodeType="withEffect">
                                  <p:stCondLst>
                                    <p:cond delay="0"/>
                                  </p:stCondLst>
                                  <p:childTnLst>
                                    <p:set>
                                      <p:cBhvr>
                                        <p:cTn id="68" dur="1" fill="hold">
                                          <p:stCondLst>
                                            <p:cond delay="0"/>
                                          </p:stCondLst>
                                        </p:cTn>
                                        <p:tgtEl>
                                          <p:spTgt spid="3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108" grpId="0" animBg="1"/>
      <p:bldP spid="109" grpId="0" animBg="1"/>
      <p:bldP spid="110" grpId="0" animBg="1"/>
      <p:bldP spid="111" grpId="0" animBg="1"/>
      <p:bldP spid="112" grpId="0" animBg="1"/>
      <p:bldP spid="113" grpId="0" animBg="1"/>
      <p:bldP spid="10" grpId="0" animBg="1"/>
      <p:bldP spid="10" grpId="1" animBg="1"/>
      <p:bldP spid="11" grpId="0" animBg="1"/>
      <p:bldP spid="11" grpId="1" animBg="1"/>
      <p:bldP spid="13" grpId="0" animBg="1"/>
      <p:bldP spid="13" grpId="1" animBg="1"/>
      <p:bldP spid="14" grpId="0" animBg="1"/>
      <p:bldP spid="14" grpId="1" animBg="1"/>
      <p:bldP spid="15" grpId="0" animBg="1"/>
      <p:bldP spid="15" grpId="1" animBg="1"/>
      <p:bldP spid="16" grpId="0" animBg="1"/>
      <p:bldP spid="16" grpId="1" animBg="1"/>
      <p:bldP spid="17" grpId="0" animBg="1"/>
      <p:bldP spid="17" grpId="1" animBg="1"/>
      <p:bldP spid="25" grpId="0" animBg="1"/>
      <p:bldP spid="25" grpId="1" animBg="1"/>
      <p:bldP spid="29" grpId="0" animBg="1"/>
      <p:bldP spid="29" grpId="1" animBg="1"/>
      <p:bldP spid="31" grpId="0" animBg="1"/>
      <p:bldP spid="31"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FBA4B87-97CE-C427-F2E6-4E29EF3AAD3C}"/>
              </a:ext>
            </a:extLst>
          </p:cNvPr>
          <p:cNvSpPr>
            <a:spLocks noGrp="1"/>
          </p:cNvSpPr>
          <p:nvPr>
            <p:ph type="body" sz="quarter" idx="11"/>
          </p:nvPr>
        </p:nvSpPr>
        <p:spPr/>
        <p:txBody>
          <a:bodyPr/>
          <a:lstStyle/>
          <a:p>
            <a:r>
              <a:rPr lang="en-US" sz="3200">
                <a:latin typeface="Open Sans"/>
                <a:ea typeface="Open Sans"/>
              </a:rPr>
              <a:t>Partner Onboarding to One Network</a:t>
            </a:r>
          </a:p>
        </p:txBody>
      </p:sp>
      <p:sp>
        <p:nvSpPr>
          <p:cNvPr id="5" name="TextBox 4">
            <a:extLst>
              <a:ext uri="{FF2B5EF4-FFF2-40B4-BE49-F238E27FC236}">
                <a16:creationId xmlns:a16="http://schemas.microsoft.com/office/drawing/2014/main" id="{8F6EFACD-3FB3-538A-B211-980368F57CC3}"/>
              </a:ext>
            </a:extLst>
          </p:cNvPr>
          <p:cNvSpPr txBox="1"/>
          <p:nvPr/>
        </p:nvSpPr>
        <p:spPr>
          <a:xfrm>
            <a:off x="393970" y="1684566"/>
            <a:ext cx="6760324" cy="4496459"/>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20" rIns="45719" bIns="45720" rtlCol="0" anchor="t">
            <a:noAutofit/>
          </a:bodyPr>
          <a:lstStyle/>
          <a:p>
            <a:r>
              <a:rPr lang="en-US" sz="1800" b="1" kern="0">
                <a:ea typeface="Open Sans"/>
                <a:cs typeface="Open Sans"/>
              </a:rPr>
              <a:t>Dedicated Partner Resource: </a:t>
            </a:r>
            <a:r>
              <a:rPr lang="en-US" sz="1800" kern="0">
                <a:latin typeface="Calibri"/>
                <a:ea typeface="Calibri"/>
                <a:cs typeface="Calibri"/>
                <a:hlinkClick r:id="rId2"/>
              </a:rPr>
              <a:t>https://bayer.onenetwork.com/</a:t>
            </a:r>
            <a:endParaRPr lang="en-US" sz="1800" b="1" kern="0">
              <a:latin typeface="Calibri"/>
              <a:ea typeface="Calibri"/>
              <a:cs typeface="Calibri"/>
              <a:hlinkClick r:id="rId2"/>
            </a:endParaRPr>
          </a:p>
          <a:p>
            <a:pPr marL="285750" indent="-285750">
              <a:lnSpc>
                <a:spcPct val="200000"/>
              </a:lnSpc>
              <a:buFont typeface="Arial" panose="020B0604020202020204" pitchFamily="34" charset="0"/>
              <a:buChar char="•"/>
            </a:pPr>
            <a:r>
              <a:rPr lang="en-US" sz="1600" kern="0">
                <a:ea typeface="Open Sans"/>
                <a:cs typeface="Open Sans"/>
              </a:rPr>
              <a:t>How to Register Webinar</a:t>
            </a:r>
          </a:p>
          <a:p>
            <a:pPr marL="285750" indent="-285750">
              <a:lnSpc>
                <a:spcPct val="200000"/>
              </a:lnSpc>
              <a:buFont typeface="Arial" panose="020B0604020202020204" pitchFamily="34" charset="0"/>
              <a:buChar char="•"/>
            </a:pPr>
            <a:r>
              <a:rPr lang="en-US" sz="1600" kern="0">
                <a:ea typeface="Open Sans"/>
                <a:cs typeface="Open Sans"/>
              </a:rPr>
              <a:t>How to Integrate Webinar</a:t>
            </a:r>
          </a:p>
          <a:p>
            <a:pPr marL="285750" indent="-285750">
              <a:lnSpc>
                <a:spcPct val="200000"/>
              </a:lnSpc>
              <a:buFont typeface="Arial" panose="020B0604020202020204" pitchFamily="34" charset="0"/>
              <a:buChar char="•"/>
            </a:pPr>
            <a:r>
              <a:rPr lang="en-US" sz="1600" kern="0">
                <a:ea typeface="Open Sans"/>
                <a:cs typeface="Open Sans"/>
              </a:rPr>
              <a:t>Partner Training:</a:t>
            </a:r>
          </a:p>
          <a:p>
            <a:pPr marL="894715" lvl="1" indent="-285750">
              <a:lnSpc>
                <a:spcPct val="150000"/>
              </a:lnSpc>
              <a:buFont typeface="Courier New" panose="020B0604020202020204" pitchFamily="34" charset="0"/>
              <a:buChar char="o"/>
            </a:pPr>
            <a:r>
              <a:rPr lang="en-US" sz="1600" kern="0">
                <a:ea typeface="Open Sans"/>
                <a:cs typeface="Open Sans"/>
              </a:rPr>
              <a:t>Instructor-Led Training Sessions</a:t>
            </a:r>
            <a:endParaRPr lang="en-US" sz="1600">
              <a:ea typeface="Open Sans"/>
              <a:cs typeface="Open Sans"/>
            </a:endParaRPr>
          </a:p>
          <a:p>
            <a:pPr marL="894715" lvl="1" indent="-285750">
              <a:lnSpc>
                <a:spcPct val="150000"/>
              </a:lnSpc>
              <a:buFont typeface="Courier New" panose="020B0604020202020204" pitchFamily="34" charset="0"/>
              <a:buChar char="o"/>
            </a:pPr>
            <a:r>
              <a:rPr lang="en-US" sz="1600" kern="0">
                <a:ea typeface="Open Sans"/>
                <a:cs typeface="Open Sans"/>
              </a:rPr>
              <a:t>Quick Training Guides</a:t>
            </a:r>
          </a:p>
          <a:p>
            <a:pPr marL="894715" lvl="1" indent="-285750">
              <a:lnSpc>
                <a:spcPct val="150000"/>
              </a:lnSpc>
              <a:buFont typeface="Courier New" panose="020B0604020202020204" pitchFamily="34" charset="0"/>
              <a:buChar char="o"/>
            </a:pPr>
            <a:r>
              <a:rPr lang="en-US" sz="1600" kern="0">
                <a:ea typeface="Open Sans"/>
                <a:cs typeface="Open Sans"/>
              </a:rPr>
              <a:t>Quick Training Videos</a:t>
            </a:r>
          </a:p>
          <a:p>
            <a:pPr marL="285750" indent="-285750">
              <a:lnSpc>
                <a:spcPct val="200000"/>
              </a:lnSpc>
              <a:buFont typeface="Arial" panose="020B0604020202020204" pitchFamily="34" charset="0"/>
              <a:buChar char="•"/>
            </a:pPr>
            <a:r>
              <a:rPr lang="en-US" sz="1600" kern="0">
                <a:ea typeface="Open Sans"/>
                <a:cs typeface="Open Sans"/>
              </a:rPr>
              <a:t>Frequently Asked Questions (FAQ) Guide</a:t>
            </a:r>
          </a:p>
          <a:p>
            <a:pPr marL="285750" indent="-285750">
              <a:lnSpc>
                <a:spcPct val="200000"/>
              </a:lnSpc>
              <a:buFont typeface="Arial" panose="020B0604020202020204" pitchFamily="34" charset="0"/>
              <a:buChar char="•"/>
            </a:pPr>
            <a:r>
              <a:rPr lang="en-US" sz="1600" kern="0">
                <a:ea typeface="Open Sans"/>
                <a:cs typeface="Open Sans"/>
              </a:rPr>
              <a:t>Project Announcements</a:t>
            </a:r>
          </a:p>
          <a:p>
            <a:pPr marL="285750" indent="-285750">
              <a:lnSpc>
                <a:spcPct val="200000"/>
              </a:lnSpc>
              <a:buFont typeface="Arial" panose="020B0604020202020204" pitchFamily="34" charset="0"/>
              <a:buChar char="•"/>
            </a:pPr>
            <a:r>
              <a:rPr lang="en-US" sz="1600" kern="0">
                <a:ea typeface="Open Sans"/>
                <a:cs typeface="Open Sans"/>
              </a:rPr>
              <a:t>Access to Support</a:t>
            </a:r>
            <a:endParaRPr lang="en-US" sz="1600" kern="0">
              <a:ea typeface="Open Sans" panose="020B0606030504020204" pitchFamily="34" charset="0"/>
              <a:cs typeface="Open Sans" panose="020B0606030504020204" pitchFamily="34" charset="0"/>
            </a:endParaRPr>
          </a:p>
        </p:txBody>
      </p:sp>
      <p:pic>
        <p:nvPicPr>
          <p:cNvPr id="14" name="Picture 13" descr="A screenshot of a website&#10;&#10;Description automatically generated">
            <a:extLst>
              <a:ext uri="{FF2B5EF4-FFF2-40B4-BE49-F238E27FC236}">
                <a16:creationId xmlns:a16="http://schemas.microsoft.com/office/drawing/2014/main" id="{686AD8A5-1D8E-5CC1-90C4-A622B761D76C}"/>
              </a:ext>
            </a:extLst>
          </p:cNvPr>
          <p:cNvPicPr>
            <a:picLocks noChangeAspect="1"/>
          </p:cNvPicPr>
          <p:nvPr/>
        </p:nvPicPr>
        <p:blipFill>
          <a:blip r:embed="rId3"/>
          <a:stretch>
            <a:fillRect/>
          </a:stretch>
        </p:blipFill>
        <p:spPr>
          <a:xfrm>
            <a:off x="5470542" y="2114371"/>
            <a:ext cx="5362215" cy="405912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771286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FBA4B87-97CE-C427-F2E6-4E29EF3AAD3C}"/>
              </a:ext>
            </a:extLst>
          </p:cNvPr>
          <p:cNvSpPr>
            <a:spLocks noGrp="1"/>
          </p:cNvSpPr>
          <p:nvPr>
            <p:ph type="body" sz="quarter" idx="11"/>
          </p:nvPr>
        </p:nvSpPr>
        <p:spPr>
          <a:xfrm>
            <a:off x="1161805" y="161982"/>
            <a:ext cx="9242388" cy="1025911"/>
          </a:xfrm>
        </p:spPr>
        <p:txBody>
          <a:bodyPr/>
          <a:lstStyle/>
          <a:p>
            <a:r>
              <a:rPr lang="en-US" sz="3200">
                <a:latin typeface="Open Sans"/>
                <a:ea typeface="Open Sans"/>
              </a:rPr>
              <a:t>CURRENT ACTIONS</a:t>
            </a:r>
            <a:r>
              <a:rPr lang="en-US" sz="3200">
                <a:solidFill>
                  <a:schemeClr val="tx2"/>
                </a:solidFill>
                <a:latin typeface="Open Sans"/>
                <a:ea typeface="Open Sans"/>
              </a:rPr>
              <a:t> </a:t>
            </a:r>
            <a:endParaRPr lang="en-US" sz="3200">
              <a:solidFill>
                <a:schemeClr val="tx2"/>
              </a:solidFill>
              <a:latin typeface="Open Sans"/>
            </a:endParaRPr>
          </a:p>
        </p:txBody>
      </p:sp>
      <p:sp>
        <p:nvSpPr>
          <p:cNvPr id="15" name="TextBox 14">
            <a:extLst>
              <a:ext uri="{FF2B5EF4-FFF2-40B4-BE49-F238E27FC236}">
                <a16:creationId xmlns:a16="http://schemas.microsoft.com/office/drawing/2014/main" id="{1F7BCB79-682D-216B-E063-16CE18D59036}"/>
              </a:ext>
            </a:extLst>
          </p:cNvPr>
          <p:cNvSpPr txBox="1"/>
          <p:nvPr/>
        </p:nvSpPr>
        <p:spPr>
          <a:xfrm>
            <a:off x="304895" y="1411872"/>
            <a:ext cx="6152295" cy="4955203"/>
          </a:xfrm>
          <a:prstGeom prst="rect">
            <a:avLst/>
          </a:prstGeom>
          <a:noFill/>
        </p:spPr>
        <p:txBody>
          <a:bodyPr wrap="square" lIns="91440" tIns="45720" rIns="91440" bIns="45720" anchor="t">
            <a:spAutoFit/>
          </a:bodyPr>
          <a:lstStyle/>
          <a:p>
            <a:pPr>
              <a:defRPr/>
            </a:pPr>
            <a:r>
              <a:rPr kumimoji="0" lang="en-US" sz="2000" b="1" i="0" u="sng" strike="noStrike" kern="1200" cap="none" spc="0" normalizeH="0" baseline="0" noProof="0">
                <a:ln>
                  <a:noFill/>
                </a:ln>
                <a:solidFill>
                  <a:srgbClr val="000000"/>
                </a:solidFill>
                <a:effectLst/>
                <a:uLnTx/>
                <a:uFillTx/>
                <a:latin typeface="Open Sans"/>
                <a:ea typeface="Times New Roman" panose="02020603050405020304" pitchFamily="18" charset="0"/>
                <a:cs typeface="Calibri"/>
              </a:rPr>
              <a:t>WHA</a:t>
            </a:r>
            <a:r>
              <a:rPr lang="en-US" sz="2000" b="1" u="sng">
                <a:solidFill>
                  <a:srgbClr val="000000"/>
                </a:solidFill>
                <a:latin typeface="Open Sans"/>
                <a:ea typeface="Times New Roman" panose="02020603050405020304" pitchFamily="18" charset="0"/>
                <a:cs typeface="Calibri"/>
              </a:rPr>
              <a:t>T’S NEXT</a:t>
            </a:r>
            <a:r>
              <a:rPr kumimoji="0" lang="en-US" sz="2000" b="1" i="0" u="sng" strike="noStrike" kern="1200" cap="none" spc="0" normalizeH="0" baseline="0" noProof="0">
                <a:ln>
                  <a:noFill/>
                </a:ln>
                <a:solidFill>
                  <a:srgbClr val="000000"/>
                </a:solidFill>
                <a:effectLst/>
                <a:uLnTx/>
                <a:uFillTx/>
                <a:latin typeface="Open Sans"/>
                <a:ea typeface="Times New Roman" panose="02020603050405020304" pitchFamily="18" charset="0"/>
                <a:cs typeface="Calibri"/>
              </a:rPr>
              <a:t>?</a:t>
            </a:r>
            <a:endParaRPr lang="en-US"/>
          </a:p>
          <a:p>
            <a:pPr marL="457200" marR="0" lvl="1" algn="l" defTabSz="1219170" rtl="0" eaLnBrk="1" fontAlgn="auto" latinLnBrk="0" hangingPunct="1">
              <a:lnSpc>
                <a:spcPct val="100000"/>
              </a:lnSpc>
              <a:spcBef>
                <a:spcPts val="0"/>
              </a:spcBef>
              <a:spcAft>
                <a:spcPts val="0"/>
              </a:spcAft>
              <a:buClrTx/>
              <a:buSzTx/>
              <a:tabLst/>
              <a:defRPr/>
            </a:pPr>
            <a:endParaRPr lang="en-US" sz="2000" i="0" u="none" strike="noStrike" kern="1200" cap="none" spc="0" normalizeH="0" baseline="0" noProof="0">
              <a:ln>
                <a:noFill/>
              </a:ln>
              <a:solidFill>
                <a:srgbClr val="000000"/>
              </a:solidFill>
              <a:effectLst/>
              <a:uLnTx/>
              <a:uFillTx/>
              <a:latin typeface="Open Sans"/>
              <a:ea typeface="Times New Roman" panose="02020603050405020304" pitchFamily="18" charset="0"/>
              <a:cs typeface="Calibri"/>
            </a:endParaRPr>
          </a:p>
          <a:p>
            <a:pPr marL="742950" lvl="1" indent="-285750">
              <a:buAutoNum type="arabicPeriod"/>
              <a:defRPr/>
            </a:pPr>
            <a:r>
              <a:rPr lang="en-US" sz="1600">
                <a:solidFill>
                  <a:srgbClr val="000000"/>
                </a:solidFill>
                <a:latin typeface="Open Sans"/>
                <a:ea typeface="Open Sans"/>
                <a:cs typeface="Calibri"/>
              </a:rPr>
              <a:t>Complete Intake Form by Submitting to the Form on the Partner Onboarding Portal (POP) Site</a:t>
            </a:r>
            <a:br>
              <a:rPr lang="en-US" sz="1600">
                <a:latin typeface="Open Sans"/>
                <a:ea typeface="Open Sans"/>
                <a:cs typeface="Calibri"/>
              </a:rPr>
            </a:br>
            <a:br>
              <a:rPr lang="en-US" sz="1600">
                <a:latin typeface="Open Sans"/>
                <a:ea typeface="Open Sans"/>
                <a:cs typeface="Calibri"/>
              </a:rPr>
            </a:br>
            <a:r>
              <a:rPr lang="en-US" sz="1600" b="1">
                <a:latin typeface="Calibri"/>
                <a:ea typeface="Calibri"/>
                <a:cs typeface="Calibri"/>
              </a:rPr>
              <a:t>RMS Supplier:</a:t>
            </a:r>
            <a:r>
              <a:rPr lang="en-US" sz="1600">
                <a:latin typeface="Calibri"/>
                <a:ea typeface="Calibri"/>
                <a:cs typeface="Calibri"/>
              </a:rPr>
              <a:t> </a:t>
            </a:r>
            <a:r>
              <a:rPr lang="en-US" sz="1600">
                <a:latin typeface="Calibri"/>
                <a:ea typeface="Calibri"/>
                <a:cs typeface="Calibri"/>
                <a:hlinkClick r:id="rId2"/>
              </a:rPr>
              <a:t>https://bayer.onenetwork.com/supplier-integration/</a:t>
            </a:r>
            <a:br>
              <a:rPr lang="en-US" sz="1600">
                <a:latin typeface="Calibri"/>
                <a:ea typeface="Calibri"/>
                <a:cs typeface="Calibri"/>
              </a:rPr>
            </a:br>
            <a:r>
              <a:rPr lang="en-US" sz="1600">
                <a:latin typeface="Calibri"/>
                <a:ea typeface="Calibri"/>
                <a:cs typeface="Calibri"/>
              </a:rPr>
              <a:t> </a:t>
            </a:r>
            <a:r>
              <a:rPr lang="en-US" sz="1600" b="1">
                <a:latin typeface="Calibri"/>
                <a:ea typeface="Calibri"/>
                <a:cs typeface="Calibri"/>
              </a:rPr>
              <a:t>LSP Partner:</a:t>
            </a:r>
            <a:r>
              <a:rPr lang="en-US" sz="1600">
                <a:latin typeface="Calibri"/>
                <a:ea typeface="Calibri"/>
                <a:cs typeface="Calibri"/>
              </a:rPr>
              <a:t> </a:t>
            </a:r>
            <a:r>
              <a:rPr lang="en-US" sz="1600">
                <a:latin typeface="Calibri"/>
                <a:ea typeface="Calibri"/>
                <a:cs typeface="Calibri"/>
                <a:hlinkClick r:id="rId3"/>
              </a:rPr>
              <a:t>https://bayer.onenetwork.com/carrier-integration/</a:t>
            </a:r>
            <a:endParaRPr lang="en-US" sz="1600">
              <a:latin typeface="Calibri"/>
              <a:ea typeface="Calibri"/>
              <a:cs typeface="Calibri"/>
            </a:endParaRPr>
          </a:p>
          <a:p>
            <a:pPr marL="742950" lvl="1" indent="-285750">
              <a:buAutoNum type="arabicPeriod"/>
              <a:defRPr/>
            </a:pPr>
            <a:endParaRPr lang="en-US" sz="1600">
              <a:solidFill>
                <a:srgbClr val="000000"/>
              </a:solidFill>
              <a:latin typeface="Open Sans"/>
              <a:ea typeface="Segoe UI"/>
              <a:cs typeface="Calibri"/>
            </a:endParaRPr>
          </a:p>
          <a:p>
            <a:pPr marL="742950" lvl="1" indent="-285750">
              <a:buAutoNum type="arabicPeriod"/>
              <a:defRPr/>
            </a:pPr>
            <a:r>
              <a:rPr lang="en-US" sz="1600">
                <a:solidFill>
                  <a:srgbClr val="000000"/>
                </a:solidFill>
                <a:latin typeface="Open Sans"/>
                <a:ea typeface="Segoe UI"/>
                <a:cs typeface="Calibri"/>
              </a:rPr>
              <a:t>For Integrating Partners – Review the ONE Network Integration Agreement </a:t>
            </a:r>
          </a:p>
          <a:p>
            <a:pPr marL="742950" lvl="1" indent="-285750">
              <a:buAutoNum type="arabicPeriod"/>
              <a:defRPr/>
            </a:pPr>
            <a:endParaRPr lang="en-US" sz="1600">
              <a:latin typeface="Open Sans"/>
              <a:ea typeface="Segoe UI"/>
              <a:cs typeface="Calibri"/>
            </a:endParaRPr>
          </a:p>
          <a:p>
            <a:pPr marL="742950" lvl="1" indent="-285750">
              <a:buAutoNum type="arabicPeriod"/>
              <a:defRPr/>
            </a:pPr>
            <a:r>
              <a:rPr lang="en-US" sz="1600">
                <a:latin typeface="Open Sans"/>
                <a:ea typeface="Segoe UI"/>
                <a:cs typeface="Calibri"/>
              </a:rPr>
              <a:t>Partner onboarding Webinar/Registration</a:t>
            </a:r>
          </a:p>
          <a:p>
            <a:pPr marL="742950" lvl="1" indent="-285750">
              <a:buAutoNum type="arabicPeriod"/>
              <a:defRPr/>
            </a:pPr>
            <a:endParaRPr lang="en-US" sz="1600">
              <a:latin typeface="Open Sans"/>
              <a:ea typeface="Segoe UI"/>
              <a:cs typeface="Calibri"/>
            </a:endParaRPr>
          </a:p>
          <a:p>
            <a:pPr marL="742950" lvl="1" indent="-285750">
              <a:buAutoNum type="arabicPeriod"/>
              <a:defRPr/>
            </a:pPr>
            <a:r>
              <a:rPr lang="en-US" sz="1600">
                <a:latin typeface="Open Sans"/>
                <a:ea typeface="Segoe UI"/>
                <a:cs typeface="Calibri"/>
              </a:rPr>
              <a:t>Partner Training</a:t>
            </a:r>
            <a:br>
              <a:rPr lang="en-US" sz="1600">
                <a:latin typeface="Open Sans"/>
                <a:ea typeface="Segoe UI"/>
                <a:cs typeface="Calibri"/>
              </a:rPr>
            </a:br>
            <a:endParaRPr lang="en-US" sz="1600">
              <a:solidFill>
                <a:srgbClr val="000000"/>
              </a:solidFill>
              <a:latin typeface="Open Sans"/>
              <a:ea typeface="Segoe UI"/>
              <a:cs typeface="Calibri"/>
            </a:endParaRPr>
          </a:p>
          <a:p>
            <a:pPr marL="742950" lvl="1" indent="-285750">
              <a:buAutoNum type="arabicPeriod"/>
              <a:defRPr/>
            </a:pPr>
            <a:r>
              <a:rPr lang="en-US" sz="1600">
                <a:solidFill>
                  <a:srgbClr val="000000"/>
                </a:solidFill>
                <a:latin typeface="Open Sans"/>
                <a:ea typeface="Segoe UI"/>
                <a:cs typeface="Calibri"/>
              </a:rPr>
              <a:t>Q&amp;A for Business Process Changes </a:t>
            </a:r>
          </a:p>
          <a:p>
            <a:pPr marL="742950" lvl="1" indent="-285750">
              <a:buAutoNum type="arabicPeriod"/>
              <a:defRPr/>
            </a:pPr>
            <a:endParaRPr lang="en-US" sz="2000">
              <a:solidFill>
                <a:srgbClr val="000000"/>
              </a:solidFill>
              <a:latin typeface="Calibri"/>
              <a:ea typeface="Segoe UI"/>
              <a:cs typeface="Calibri"/>
            </a:endParaRPr>
          </a:p>
        </p:txBody>
      </p:sp>
      <p:pic>
        <p:nvPicPr>
          <p:cNvPr id="2" name="Picture 1" descr="A screenshot of a form&#10;&#10;Description automatically generated">
            <a:extLst>
              <a:ext uri="{FF2B5EF4-FFF2-40B4-BE49-F238E27FC236}">
                <a16:creationId xmlns:a16="http://schemas.microsoft.com/office/drawing/2014/main" id="{448AA61F-E68E-202F-9DB9-2C483B4868DA}"/>
              </a:ext>
            </a:extLst>
          </p:cNvPr>
          <p:cNvPicPr>
            <a:picLocks noChangeAspect="1"/>
          </p:cNvPicPr>
          <p:nvPr/>
        </p:nvPicPr>
        <p:blipFill>
          <a:blip r:embed="rId4"/>
          <a:stretch>
            <a:fillRect/>
          </a:stretch>
        </p:blipFill>
        <p:spPr>
          <a:xfrm>
            <a:off x="6452624" y="1711740"/>
            <a:ext cx="4664925" cy="445052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507886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FBA4B87-97CE-C427-F2E6-4E29EF3AAD3C}"/>
              </a:ext>
            </a:extLst>
          </p:cNvPr>
          <p:cNvSpPr>
            <a:spLocks noGrp="1"/>
          </p:cNvSpPr>
          <p:nvPr>
            <p:ph type="body" sz="quarter" idx="11"/>
          </p:nvPr>
        </p:nvSpPr>
        <p:spPr/>
        <p:txBody>
          <a:bodyPr/>
          <a:lstStyle/>
          <a:p>
            <a:r>
              <a:rPr lang="en-US" sz="3200">
                <a:latin typeface="Open Sans"/>
                <a:ea typeface="Open Sans"/>
              </a:rPr>
              <a:t>High-level Timeline</a:t>
            </a:r>
            <a:r>
              <a:rPr lang="en-US" sz="3200">
                <a:solidFill>
                  <a:srgbClr val="FFFFFF"/>
                </a:solidFill>
                <a:latin typeface="Open Sans"/>
                <a:ea typeface="Open Sans"/>
              </a:rPr>
              <a:t> and Milestone</a:t>
            </a:r>
            <a:r>
              <a:rPr lang="en-US" sz="3200">
                <a:solidFill>
                  <a:srgbClr val="031434"/>
                </a:solidFill>
                <a:latin typeface="Open Sans"/>
                <a:ea typeface="Open Sans"/>
              </a:rPr>
              <a:t> </a:t>
            </a:r>
            <a:endParaRPr lang="en-US" sz="3200">
              <a:solidFill>
                <a:srgbClr val="FF0000"/>
              </a:solidFill>
              <a:latin typeface="Open Sans"/>
            </a:endParaRPr>
          </a:p>
        </p:txBody>
      </p:sp>
      <p:graphicFrame>
        <p:nvGraphicFramePr>
          <p:cNvPr id="3" name="Diagram 2">
            <a:extLst>
              <a:ext uri="{FF2B5EF4-FFF2-40B4-BE49-F238E27FC236}">
                <a16:creationId xmlns:a16="http://schemas.microsoft.com/office/drawing/2014/main" id="{A0C264A5-87A4-39BA-F813-F8DBD0595773}"/>
              </a:ext>
            </a:extLst>
          </p:cNvPr>
          <p:cNvGraphicFramePr/>
          <p:nvPr>
            <p:extLst>
              <p:ext uri="{D42A27DB-BD31-4B8C-83A1-F6EECF244321}">
                <p14:modId xmlns:p14="http://schemas.microsoft.com/office/powerpoint/2010/main" val="3310929993"/>
              </p:ext>
            </p:extLst>
          </p:nvPr>
        </p:nvGraphicFramePr>
        <p:xfrm>
          <a:off x="-78805" y="1923235"/>
          <a:ext cx="12345493" cy="41737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6" name="Arrow: Down 35">
            <a:extLst>
              <a:ext uri="{FF2B5EF4-FFF2-40B4-BE49-F238E27FC236}">
                <a16:creationId xmlns:a16="http://schemas.microsoft.com/office/drawing/2014/main" id="{4F3FA2A9-9386-4CA6-8C37-40B2EE3659D8}"/>
              </a:ext>
            </a:extLst>
          </p:cNvPr>
          <p:cNvSpPr/>
          <p:nvPr/>
        </p:nvSpPr>
        <p:spPr>
          <a:xfrm>
            <a:off x="9133785" y="2061833"/>
            <a:ext cx="239213" cy="1610923"/>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8" name="TextBox 37">
            <a:extLst>
              <a:ext uri="{FF2B5EF4-FFF2-40B4-BE49-F238E27FC236}">
                <a16:creationId xmlns:a16="http://schemas.microsoft.com/office/drawing/2014/main" id="{9B4FEC95-A79C-9E20-2BCB-542D6E45C3DF}"/>
              </a:ext>
            </a:extLst>
          </p:cNvPr>
          <p:cNvSpPr txBox="1"/>
          <p:nvPr/>
        </p:nvSpPr>
        <p:spPr>
          <a:xfrm>
            <a:off x="8823428" y="1654291"/>
            <a:ext cx="1001988" cy="338542"/>
          </a:xfrm>
          <a:prstGeom prst="rect">
            <a:avLst/>
          </a:prstGeom>
          <a:noFill/>
          <a:ln w="12700">
            <a:miter lim="400000"/>
          </a:ln>
          <a:extLst>
            <a:ext uri="{C572A759-6A51-4108-AA02-DFA0A04FC94B}">
              <ma14:wrappingTextBoxFlag xmlns:ma14="http://schemas.microsoft.com/office/mac/drawingml/2011/main" xmlns="" val="1"/>
            </a:ext>
          </a:extLst>
        </p:spPr>
        <p:txBody>
          <a:bodyPr rot="0" spcFirstLastPara="0" vertOverflow="overflow" horzOverflow="overflow" vert="horz" wrap="square" lIns="45713" tIns="45714" rIns="45713" bIns="45714" numCol="1" spcCol="0" rtlCol="0" fromWordArt="0" anchor="t" anchorCtr="0" forceAA="0" compatLnSpc="1">
            <a:prstTxWarp prst="textNoShape">
              <a:avLst/>
            </a:prstTxWarp>
            <a:spAutoFit/>
          </a:bodyPr>
          <a:lstStyle/>
          <a:p>
            <a:r>
              <a:rPr lang="en-US" sz="1600" b="1">
                <a:solidFill>
                  <a:srgbClr val="0070C0"/>
                </a:solidFill>
                <a:latin typeface="Open Sans"/>
                <a:ea typeface="Open Sans"/>
                <a:cs typeface="Open Sans"/>
              </a:rPr>
              <a:t>GO-Live</a:t>
            </a:r>
          </a:p>
        </p:txBody>
      </p:sp>
    </p:spTree>
    <p:extLst>
      <p:ext uri="{BB962C8B-B14F-4D97-AF65-F5344CB8AC3E}">
        <p14:creationId xmlns:p14="http://schemas.microsoft.com/office/powerpoint/2010/main" val="31180941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245AEFFC-310E-725E-C6BB-54C2096FD0BD}"/>
              </a:ext>
            </a:extLst>
          </p:cNvPr>
          <p:cNvSpPr txBox="1">
            <a:spLocks/>
          </p:cNvSpPr>
          <p:nvPr/>
        </p:nvSpPr>
        <p:spPr>
          <a:xfrm>
            <a:off x="1928368" y="153104"/>
            <a:ext cx="8335246" cy="1025911"/>
          </a:xfrm>
          <a:prstGeom prst="rect">
            <a:avLst/>
          </a:prstGeom>
        </p:spPr>
        <p:txBody>
          <a:bodyPr vert="horz" lIns="91440" tIns="45720" rIns="91440" bIns="45720" rtlCol="0" anchor="ctr">
            <a:noAutofit/>
          </a:bodyPr>
          <a:lstStyle>
            <a:lvl1pPr marL="0" indent="0" algn="ctr" defTabSz="1219170" rtl="0" eaLnBrk="1" latinLnBrk="0" hangingPunct="1">
              <a:spcBef>
                <a:spcPts val="1200"/>
              </a:spcBef>
              <a:buClr>
                <a:srgbClr val="2DA2BF"/>
              </a:buClr>
              <a:buFont typeface="Arial" panose="020B0604020202020204" pitchFamily="34" charset="0"/>
              <a:buNone/>
              <a:tabLst/>
              <a:defRPr sz="2800" b="1" i="0" kern="1200" spc="0">
                <a:solidFill>
                  <a:schemeClr val="bg1"/>
                </a:solidFill>
                <a:latin typeface="Arial Black" panose="020B0604020202020204" pitchFamily="34" charset="0"/>
                <a:ea typeface="Open Sans" panose="020B0606030504020204" pitchFamily="34" charset="0"/>
                <a:cs typeface="Arial Black" panose="020B0604020202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en-US" sz="3200">
                <a:latin typeface="Open Sans"/>
                <a:ea typeface="Open Sans"/>
              </a:rPr>
              <a:t>CONTACTS US</a:t>
            </a:r>
            <a:endParaRPr lang="en-US" sz="3200">
              <a:latin typeface="Open Sans"/>
            </a:endParaRPr>
          </a:p>
        </p:txBody>
      </p:sp>
      <p:sp>
        <p:nvSpPr>
          <p:cNvPr id="6" name="TextBox 5">
            <a:extLst>
              <a:ext uri="{FF2B5EF4-FFF2-40B4-BE49-F238E27FC236}">
                <a16:creationId xmlns:a16="http://schemas.microsoft.com/office/drawing/2014/main" id="{2BF0ABF6-C04A-85B8-E4A7-8EC337656637}"/>
              </a:ext>
            </a:extLst>
          </p:cNvPr>
          <p:cNvSpPr txBox="1"/>
          <p:nvPr/>
        </p:nvSpPr>
        <p:spPr>
          <a:xfrm>
            <a:off x="660400" y="2217530"/>
            <a:ext cx="10738677" cy="1908215"/>
          </a:xfrm>
          <a:prstGeom prst="rect">
            <a:avLst/>
          </a:prstGeom>
          <a:noFill/>
          <a:ln w="12700">
            <a:miter lim="400000"/>
          </a:ln>
          <a:extLst>
            <a:ext uri="{C572A759-6A51-4108-AA02-DFA0A04FC94B}">
              <ma14:wrappingTextBoxFlag xmlns:ma14="http://schemas.microsoft.com/office/mac/drawingml/2011/main" xmlns="" val="1"/>
            </a:ext>
          </a:extLst>
        </p:spPr>
        <p:txBody>
          <a:bodyPr rot="0" spcFirstLastPara="0" vertOverflow="overflow" horzOverflow="overflow" vert="horz" wrap="square" lIns="45719" tIns="45720" rIns="45719" bIns="45720" numCol="1" spcCol="0" rtlCol="0" fromWordArt="0" anchor="t" anchorCtr="0" forceAA="0" compatLnSpc="1">
            <a:prstTxWarp prst="textNoShape">
              <a:avLst/>
            </a:prstTxWarp>
            <a:spAutoFit/>
          </a:bodyPr>
          <a:lstStyle/>
          <a:p>
            <a:endParaRPr lang="en-US" sz="1800" u="sng">
              <a:latin typeface="Arial"/>
              <a:ea typeface="Open Sans"/>
              <a:cs typeface="Arial"/>
            </a:endParaRPr>
          </a:p>
          <a:p>
            <a:pPr marL="342900" indent="-342900">
              <a:buFont typeface="Arial"/>
              <a:buChar char="•"/>
            </a:pPr>
            <a:r>
              <a:rPr lang="en-US" sz="2000">
                <a:latin typeface="Open Sans"/>
                <a:ea typeface="Open Sans"/>
                <a:cs typeface="Open Sans"/>
              </a:rPr>
              <a:t>Partner_Onboarding@onenetwork.com</a:t>
            </a:r>
          </a:p>
          <a:p>
            <a:pPr marL="342900" indent="-342900">
              <a:buFont typeface="Arial"/>
              <a:buChar char="•"/>
            </a:pPr>
            <a:endParaRPr lang="en-US" sz="2000">
              <a:latin typeface="Open Sans"/>
              <a:ea typeface="Open Sans"/>
              <a:cs typeface="Open Sans"/>
            </a:endParaRPr>
          </a:p>
          <a:p>
            <a:pPr marL="285750" indent="-285750">
              <a:buFont typeface="Arial"/>
              <a:buChar char="•"/>
            </a:pPr>
            <a:r>
              <a:rPr lang="en-US" sz="2000">
                <a:latin typeface="Open Sans"/>
                <a:ea typeface="Open Sans"/>
                <a:cs typeface="Open Sans"/>
              </a:rPr>
              <a:t>Oliver.nagy@bayer.com</a:t>
            </a:r>
            <a:endParaRPr lang="en-US" sz="2000" u="sng">
              <a:latin typeface="Open Sans"/>
              <a:ea typeface="Open Sans"/>
              <a:cs typeface="Open Sans"/>
            </a:endParaRPr>
          </a:p>
          <a:p>
            <a:pPr marL="342900" indent="-342900">
              <a:buFont typeface="Arial"/>
              <a:buChar char="•"/>
            </a:pPr>
            <a:endParaRPr lang="en-US" sz="2000">
              <a:ea typeface="Open Sans"/>
              <a:cs typeface="Open Sans"/>
            </a:endParaRPr>
          </a:p>
          <a:p>
            <a:pPr marL="285750" indent="-285750">
              <a:buFont typeface="Arial"/>
              <a:buChar char="•"/>
            </a:pPr>
            <a:r>
              <a:rPr lang="en-US" sz="2000">
                <a:latin typeface="Open Sans"/>
                <a:ea typeface="Open Sans"/>
                <a:cs typeface="Open Sans"/>
              </a:rPr>
              <a:t>German.gies@bayer.com</a:t>
            </a:r>
          </a:p>
        </p:txBody>
      </p:sp>
      <p:sp>
        <p:nvSpPr>
          <p:cNvPr id="8" name="TextBox 7">
            <a:extLst>
              <a:ext uri="{FF2B5EF4-FFF2-40B4-BE49-F238E27FC236}">
                <a16:creationId xmlns:a16="http://schemas.microsoft.com/office/drawing/2014/main" id="{A959E77F-CF64-3333-84F1-2FB02F203F6E}"/>
              </a:ext>
            </a:extLst>
          </p:cNvPr>
          <p:cNvSpPr txBox="1"/>
          <p:nvPr/>
        </p:nvSpPr>
        <p:spPr>
          <a:xfrm>
            <a:off x="662758" y="1725933"/>
            <a:ext cx="7386995" cy="492443"/>
          </a:xfrm>
          <a:prstGeom prst="rect">
            <a:avLst/>
          </a:prstGeom>
          <a:noFill/>
          <a:ln w="12700">
            <a:miter lim="400000"/>
          </a:ln>
          <a:extLst>
            <a:ext uri="{C572A759-6A51-4108-AA02-DFA0A04FC94B}">
              <ma14:wrappingTextBoxFlag xmlns:ma14="http://schemas.microsoft.com/office/mac/drawingml/2011/main" xmlns="" val="1"/>
            </a:ext>
          </a:extLst>
        </p:spPr>
        <p:txBody>
          <a:bodyPr rot="0" spcFirstLastPara="0" vertOverflow="overflow" horzOverflow="overflow" vert="horz" wrap="square" lIns="45719" tIns="45720" rIns="45719" bIns="45720" numCol="1" spcCol="0" rtlCol="0" fromWordArt="0" anchor="t" anchorCtr="0" forceAA="0" compatLnSpc="1">
            <a:prstTxWarp prst="textNoShape">
              <a:avLst/>
            </a:prstTxWarp>
            <a:spAutoFit/>
          </a:bodyPr>
          <a:lstStyle/>
          <a:p>
            <a:r>
              <a:rPr lang="en-US" sz="2600" b="1" kern="0">
                <a:latin typeface="Open Sans"/>
                <a:ea typeface="Open Sans"/>
                <a:cs typeface="Open Sans"/>
              </a:rPr>
              <a:t>For Any queries, please contact us :</a:t>
            </a:r>
            <a:endParaRPr lang="en-US" sz="2600" b="1" kern="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116475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FBA4B87-97CE-C427-F2E6-4E29EF3AAD3C}"/>
              </a:ext>
            </a:extLst>
          </p:cNvPr>
          <p:cNvSpPr>
            <a:spLocks noGrp="1"/>
          </p:cNvSpPr>
          <p:nvPr>
            <p:ph type="body" sz="quarter" idx="11"/>
          </p:nvPr>
        </p:nvSpPr>
        <p:spPr>
          <a:xfrm>
            <a:off x="1592571" y="2916968"/>
            <a:ext cx="8335246" cy="1025911"/>
          </a:xfrm>
        </p:spPr>
        <p:txBody>
          <a:bodyPr/>
          <a:lstStyle/>
          <a:p>
            <a:r>
              <a:rPr lang="en-US" sz="4400">
                <a:solidFill>
                  <a:schemeClr val="tx2">
                    <a:lumMod val="75000"/>
                    <a:lumOff val="25000"/>
                  </a:schemeClr>
                </a:solidFill>
                <a:latin typeface="Open Sans"/>
                <a:ea typeface="Open Sans"/>
              </a:rPr>
              <a:t>Questions &amp; Answers</a:t>
            </a:r>
          </a:p>
        </p:txBody>
      </p:sp>
    </p:spTree>
    <p:extLst>
      <p:ext uri="{BB962C8B-B14F-4D97-AF65-F5344CB8AC3E}">
        <p14:creationId xmlns:p14="http://schemas.microsoft.com/office/powerpoint/2010/main" val="14348963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29E297-E798-08B1-A1CC-65371311D18E}"/>
              </a:ext>
            </a:extLst>
          </p:cNvPr>
          <p:cNvSpPr>
            <a:spLocks noGrp="1"/>
          </p:cNvSpPr>
          <p:nvPr>
            <p:ph type="body" sz="quarter" idx="11"/>
          </p:nvPr>
        </p:nvSpPr>
        <p:spPr/>
        <p:txBody>
          <a:bodyPr/>
          <a:lstStyle/>
          <a:p>
            <a:r>
              <a:rPr lang="en-US" sz="3600">
                <a:latin typeface="Open Sans"/>
                <a:ea typeface="Open Sans"/>
              </a:rPr>
              <a:t>Meet Your Speakers</a:t>
            </a:r>
            <a:endParaRPr lang="en-US" sz="3600">
              <a:latin typeface="Open Sans"/>
            </a:endParaRPr>
          </a:p>
        </p:txBody>
      </p:sp>
      <p:sp>
        <p:nvSpPr>
          <p:cNvPr id="9" name="TextBox 8">
            <a:extLst>
              <a:ext uri="{FF2B5EF4-FFF2-40B4-BE49-F238E27FC236}">
                <a16:creationId xmlns:a16="http://schemas.microsoft.com/office/drawing/2014/main" id="{07CE4040-D44C-B20B-3297-1B5F090F8C99}"/>
              </a:ext>
            </a:extLst>
          </p:cNvPr>
          <p:cNvSpPr txBox="1"/>
          <p:nvPr/>
        </p:nvSpPr>
        <p:spPr>
          <a:xfrm>
            <a:off x="448638" y="4054680"/>
            <a:ext cx="1581609" cy="336544"/>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20" rIns="45719" bIns="45720" rtlCol="0" anchor="t">
            <a:noAutofit/>
          </a:bodyPr>
          <a:lstStyle/>
          <a:p>
            <a:pPr algn="ctr">
              <a:defRPr/>
            </a:pPr>
            <a:r>
              <a:rPr lang="en-US" sz="1400" b="1" kern="0">
                <a:solidFill>
                  <a:srgbClr val="000000"/>
                </a:solidFill>
                <a:latin typeface="Open Sans"/>
                <a:ea typeface="Open Sans"/>
                <a:cs typeface="Open Sans"/>
              </a:rPr>
              <a:t>Global Logistics Lead</a:t>
            </a:r>
          </a:p>
        </p:txBody>
      </p:sp>
      <p:sp>
        <p:nvSpPr>
          <p:cNvPr id="11" name="TextBox 10">
            <a:extLst>
              <a:ext uri="{FF2B5EF4-FFF2-40B4-BE49-F238E27FC236}">
                <a16:creationId xmlns:a16="http://schemas.microsoft.com/office/drawing/2014/main" id="{9B8733AF-1ACA-0817-500E-BF850E95ECC4}"/>
              </a:ext>
            </a:extLst>
          </p:cNvPr>
          <p:cNvSpPr txBox="1"/>
          <p:nvPr/>
        </p:nvSpPr>
        <p:spPr>
          <a:xfrm>
            <a:off x="2369070" y="4060728"/>
            <a:ext cx="1496990" cy="324449"/>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20" rIns="45719" bIns="45720" rtlCol="0" anchor="t">
            <a:noAutofit/>
          </a:bodyPr>
          <a:lstStyle/>
          <a:p>
            <a:pPr algn="ctr">
              <a:defRPr/>
            </a:pPr>
            <a:r>
              <a:rPr lang="en-US" sz="1400" b="1" kern="0">
                <a:solidFill>
                  <a:srgbClr val="000000"/>
                </a:solidFill>
                <a:latin typeface="Open Sans"/>
                <a:ea typeface="Open Sans"/>
                <a:cs typeface="Open Sans"/>
              </a:rPr>
              <a:t>Global Logistics Project Lead</a:t>
            </a:r>
          </a:p>
        </p:txBody>
      </p:sp>
      <p:sp>
        <p:nvSpPr>
          <p:cNvPr id="23" name="Text Placeholder 10">
            <a:extLst>
              <a:ext uri="{FF2B5EF4-FFF2-40B4-BE49-F238E27FC236}">
                <a16:creationId xmlns:a16="http://schemas.microsoft.com/office/drawing/2014/main" id="{920ABBEB-F283-196D-8086-99FAA1F4F9B3}"/>
              </a:ext>
            </a:extLst>
          </p:cNvPr>
          <p:cNvSpPr txBox="1">
            <a:spLocks/>
          </p:cNvSpPr>
          <p:nvPr/>
        </p:nvSpPr>
        <p:spPr>
          <a:xfrm>
            <a:off x="720781" y="3818005"/>
            <a:ext cx="1036811" cy="213098"/>
          </a:xfrm>
          <a:prstGeom prst="rect">
            <a:avLst/>
          </a:prstGeom>
        </p:spPr>
        <p:txBody>
          <a:bodyPr lIns="45720" tIns="45720" rIns="91440" bIns="45720" anchor="b"/>
          <a:lstStyle>
            <a:lvl1pPr marL="347663" indent="-347663" algn="l" defTabSz="1219170" rtl="0" eaLnBrk="1" latinLnBrk="0" hangingPunct="1">
              <a:spcBef>
                <a:spcPct val="20000"/>
              </a:spcBef>
              <a:buClr>
                <a:srgbClr val="2DA2BF"/>
              </a:buClr>
              <a:buFont typeface="Arial" panose="020B0604020202020204" pitchFamily="34" charset="0"/>
              <a:buChar char="•"/>
              <a:tabLst/>
              <a:defRPr sz="2800" b="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ct val="20000"/>
              </a:spcBef>
              <a:buClr>
                <a:srgbClr val="2DA2BF"/>
              </a:buClr>
              <a:buFont typeface="Calibri Light" panose="020F0302020204030204" pitchFamily="34" charset="0"/>
              <a:buChar char="◦"/>
              <a:tabLst/>
              <a:defRPr sz="240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ct val="20000"/>
              </a:spcBef>
              <a:buClr>
                <a:srgbClr val="2DA2BF"/>
              </a:buClr>
              <a:buSzPct val="80000"/>
              <a:buFont typeface="Wingdings" panose="05000000000000000000" pitchFamily="2" charset="2"/>
              <a:buChar char="§"/>
              <a:tabLst/>
              <a:defRPr sz="240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ct val="20000"/>
              </a:spcBef>
              <a:buClr>
                <a:srgbClr val="2DA2BF"/>
              </a:buClr>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ct val="20000"/>
              </a:spcBef>
              <a:buClr>
                <a:srgbClr val="2DA2BF"/>
              </a:buClr>
              <a:buSzPct val="80000"/>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lgn="ctr">
              <a:buNone/>
              <a:defRPr/>
            </a:pPr>
            <a:r>
              <a:rPr lang="en-US" sz="2000" b="1">
                <a:solidFill>
                  <a:schemeClr val="tx1"/>
                </a:solidFill>
                <a:latin typeface="Segoe UI"/>
                <a:ea typeface="Open Sans"/>
                <a:cs typeface="Segoe UI"/>
              </a:rPr>
              <a:t>Johnny Ivanyi</a:t>
            </a:r>
          </a:p>
        </p:txBody>
      </p:sp>
      <p:sp>
        <p:nvSpPr>
          <p:cNvPr id="29" name="Text Placeholder 12">
            <a:extLst>
              <a:ext uri="{FF2B5EF4-FFF2-40B4-BE49-F238E27FC236}">
                <a16:creationId xmlns:a16="http://schemas.microsoft.com/office/drawing/2014/main" id="{4E17A846-0BA2-FE67-6117-4A9F9C2AC2DA}"/>
              </a:ext>
            </a:extLst>
          </p:cNvPr>
          <p:cNvSpPr txBox="1">
            <a:spLocks/>
          </p:cNvSpPr>
          <p:nvPr/>
        </p:nvSpPr>
        <p:spPr>
          <a:xfrm>
            <a:off x="2562594" y="3811957"/>
            <a:ext cx="1097287" cy="213098"/>
          </a:xfrm>
          <a:prstGeom prst="rect">
            <a:avLst/>
          </a:prstGeom>
        </p:spPr>
        <p:txBody>
          <a:bodyPr lIns="45720" tIns="45720" rIns="91440" bIns="45720" anchor="b"/>
          <a:lstStyle>
            <a:lvl1pPr marL="347663" indent="-347663" algn="l" defTabSz="1219170" rtl="0" eaLnBrk="1" latinLnBrk="0" hangingPunct="1">
              <a:spcBef>
                <a:spcPct val="20000"/>
              </a:spcBef>
              <a:buClr>
                <a:srgbClr val="2DA2BF"/>
              </a:buClr>
              <a:buFont typeface="Arial" panose="020B0604020202020204" pitchFamily="34" charset="0"/>
              <a:buChar char="•"/>
              <a:tabLst/>
              <a:defRPr sz="2800" b="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ct val="20000"/>
              </a:spcBef>
              <a:buClr>
                <a:srgbClr val="2DA2BF"/>
              </a:buClr>
              <a:buFont typeface="Calibri Light" panose="020F0302020204030204" pitchFamily="34" charset="0"/>
              <a:buChar char="◦"/>
              <a:tabLst/>
              <a:defRPr sz="240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ct val="20000"/>
              </a:spcBef>
              <a:buClr>
                <a:srgbClr val="2DA2BF"/>
              </a:buClr>
              <a:buSzPct val="80000"/>
              <a:buFont typeface="Wingdings" panose="05000000000000000000" pitchFamily="2" charset="2"/>
              <a:buChar char="§"/>
              <a:tabLst/>
              <a:defRPr sz="240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ct val="20000"/>
              </a:spcBef>
              <a:buClr>
                <a:srgbClr val="2DA2BF"/>
              </a:buClr>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ct val="20000"/>
              </a:spcBef>
              <a:buClr>
                <a:srgbClr val="2DA2BF"/>
              </a:buClr>
              <a:buSzPct val="80000"/>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lgn="ctr">
              <a:buNone/>
              <a:defRPr/>
            </a:pPr>
            <a:r>
              <a:rPr lang="en-US" sz="2000" b="1">
                <a:solidFill>
                  <a:schemeClr val="tx1"/>
                </a:solidFill>
                <a:latin typeface="Segoe UI"/>
                <a:ea typeface="Open Sans"/>
                <a:cs typeface="Segoe UI"/>
              </a:rPr>
              <a:t>German Gies</a:t>
            </a:r>
          </a:p>
        </p:txBody>
      </p:sp>
      <p:pic>
        <p:nvPicPr>
          <p:cNvPr id="48" name="Picture 2">
            <a:extLst>
              <a:ext uri="{FF2B5EF4-FFF2-40B4-BE49-F238E27FC236}">
                <a16:creationId xmlns:a16="http://schemas.microsoft.com/office/drawing/2014/main" id="{C214F85E-9E03-BBF1-C7A1-9B77DDE3A3F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86876" y="4704118"/>
            <a:ext cx="502810" cy="521262"/>
          </a:xfrm>
          <a:prstGeom prst="rect">
            <a:avLst/>
          </a:prstGeom>
        </p:spPr>
      </p:pic>
      <p:pic>
        <p:nvPicPr>
          <p:cNvPr id="52" name="Picture 14">
            <a:extLst>
              <a:ext uri="{FF2B5EF4-FFF2-40B4-BE49-F238E27FC236}">
                <a16:creationId xmlns:a16="http://schemas.microsoft.com/office/drawing/2014/main" id="{BA4BA1F2-EA5A-2C6C-6D6C-0BB978DEA1C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2852880" y="4704118"/>
            <a:ext cx="524152" cy="521262"/>
          </a:xfrm>
          <a:prstGeom prst="rect">
            <a:avLst/>
          </a:prstGeom>
        </p:spPr>
      </p:pic>
      <p:sp>
        <p:nvSpPr>
          <p:cNvPr id="3" name="TextBox 2">
            <a:extLst>
              <a:ext uri="{FF2B5EF4-FFF2-40B4-BE49-F238E27FC236}">
                <a16:creationId xmlns:a16="http://schemas.microsoft.com/office/drawing/2014/main" id="{F3DA6107-33E1-9438-D065-7B23A77E442B}"/>
              </a:ext>
            </a:extLst>
          </p:cNvPr>
          <p:cNvSpPr txBox="1"/>
          <p:nvPr/>
        </p:nvSpPr>
        <p:spPr>
          <a:xfrm>
            <a:off x="3973298" y="4060728"/>
            <a:ext cx="2286861" cy="324449"/>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20" rIns="45719" bIns="45720" rtlCol="0" anchor="t">
            <a:noAutofit/>
          </a:bodyPr>
          <a:lstStyle/>
          <a:p>
            <a:pPr algn="ctr">
              <a:defRPr/>
            </a:pPr>
            <a:r>
              <a:rPr lang="en-US" sz="1400" b="1" kern="0">
                <a:solidFill>
                  <a:srgbClr val="000000"/>
                </a:solidFill>
                <a:latin typeface="Open Sans"/>
                <a:ea typeface="Open Sans"/>
                <a:cs typeface="Open Sans"/>
              </a:rPr>
              <a:t>Global Logistics Project Implementation Lead</a:t>
            </a:r>
          </a:p>
        </p:txBody>
      </p:sp>
      <p:sp>
        <p:nvSpPr>
          <p:cNvPr id="5" name="Text Placeholder 12">
            <a:extLst>
              <a:ext uri="{FF2B5EF4-FFF2-40B4-BE49-F238E27FC236}">
                <a16:creationId xmlns:a16="http://schemas.microsoft.com/office/drawing/2014/main" id="{9EC53D68-A263-06FE-93B4-B648803621B0}"/>
              </a:ext>
            </a:extLst>
          </p:cNvPr>
          <p:cNvSpPr txBox="1">
            <a:spLocks/>
          </p:cNvSpPr>
          <p:nvPr/>
        </p:nvSpPr>
        <p:spPr>
          <a:xfrm>
            <a:off x="4596203" y="3818005"/>
            <a:ext cx="1036811" cy="213098"/>
          </a:xfrm>
          <a:prstGeom prst="rect">
            <a:avLst/>
          </a:prstGeom>
        </p:spPr>
        <p:txBody>
          <a:bodyPr lIns="45720" tIns="45720" rIns="91440" bIns="45720" anchor="b"/>
          <a:lstStyle>
            <a:lvl1pPr marL="347663" indent="-347663" algn="l" defTabSz="1219170" rtl="0" eaLnBrk="1" latinLnBrk="0" hangingPunct="1">
              <a:spcBef>
                <a:spcPct val="20000"/>
              </a:spcBef>
              <a:buClr>
                <a:srgbClr val="2DA2BF"/>
              </a:buClr>
              <a:buFont typeface="Arial" panose="020B0604020202020204" pitchFamily="34" charset="0"/>
              <a:buChar char="•"/>
              <a:tabLst/>
              <a:defRPr sz="2800" b="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ct val="20000"/>
              </a:spcBef>
              <a:buClr>
                <a:srgbClr val="2DA2BF"/>
              </a:buClr>
              <a:buFont typeface="Calibri Light" panose="020F0302020204030204" pitchFamily="34" charset="0"/>
              <a:buChar char="◦"/>
              <a:tabLst/>
              <a:defRPr sz="240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ct val="20000"/>
              </a:spcBef>
              <a:buClr>
                <a:srgbClr val="2DA2BF"/>
              </a:buClr>
              <a:buSzPct val="80000"/>
              <a:buFont typeface="Wingdings" panose="05000000000000000000" pitchFamily="2" charset="2"/>
              <a:buChar char="§"/>
              <a:tabLst/>
              <a:defRPr sz="240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ct val="20000"/>
              </a:spcBef>
              <a:buClr>
                <a:srgbClr val="2DA2BF"/>
              </a:buClr>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ct val="20000"/>
              </a:spcBef>
              <a:buClr>
                <a:srgbClr val="2DA2BF"/>
              </a:buClr>
              <a:buSzPct val="80000"/>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lgn="ctr">
              <a:buNone/>
              <a:defRPr/>
            </a:pPr>
            <a:r>
              <a:rPr lang="en-US" sz="2000" b="1">
                <a:solidFill>
                  <a:schemeClr val="tx1"/>
                </a:solidFill>
                <a:latin typeface="Segoe UI"/>
                <a:ea typeface="Open Sans"/>
                <a:cs typeface="Segoe UI"/>
              </a:rPr>
              <a:t>Oliver Nagy</a:t>
            </a:r>
          </a:p>
        </p:txBody>
      </p:sp>
      <p:pic>
        <p:nvPicPr>
          <p:cNvPr id="8" name="Picture 14">
            <a:extLst>
              <a:ext uri="{FF2B5EF4-FFF2-40B4-BE49-F238E27FC236}">
                <a16:creationId xmlns:a16="http://schemas.microsoft.com/office/drawing/2014/main" id="{1781B0B7-43CD-DBB4-66E6-BB6A6CA4A97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856250" y="4704118"/>
            <a:ext cx="524152" cy="521262"/>
          </a:xfrm>
          <a:prstGeom prst="rect">
            <a:avLst/>
          </a:prstGeom>
        </p:spPr>
      </p:pic>
      <p:sp>
        <p:nvSpPr>
          <p:cNvPr id="20" name="Text Placeholder 14">
            <a:extLst>
              <a:ext uri="{FF2B5EF4-FFF2-40B4-BE49-F238E27FC236}">
                <a16:creationId xmlns:a16="http://schemas.microsoft.com/office/drawing/2014/main" id="{EF3CC311-68AE-AC78-C191-00D4A319D760}"/>
              </a:ext>
            </a:extLst>
          </p:cNvPr>
          <p:cNvSpPr txBox="1">
            <a:spLocks/>
          </p:cNvSpPr>
          <p:nvPr/>
        </p:nvSpPr>
        <p:spPr>
          <a:xfrm>
            <a:off x="8445523" y="3818005"/>
            <a:ext cx="1531451" cy="197493"/>
          </a:xfrm>
          <a:prstGeom prst="rect">
            <a:avLst/>
          </a:prstGeom>
        </p:spPr>
        <p:txBody>
          <a:bodyPr lIns="45720" tIns="45720" rIns="91440" bIns="45720" anchor="b"/>
          <a:lstStyle>
            <a:lvl1pPr marL="347663" indent="-347663" algn="l" defTabSz="1219170" rtl="0" eaLnBrk="1" latinLnBrk="0" hangingPunct="1">
              <a:spcBef>
                <a:spcPct val="20000"/>
              </a:spcBef>
              <a:buClr>
                <a:srgbClr val="2DA2BF"/>
              </a:buClr>
              <a:buFont typeface="Arial" panose="020B0604020202020204" pitchFamily="34" charset="0"/>
              <a:buChar char="•"/>
              <a:tabLst/>
              <a:defRPr sz="2800" b="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ct val="20000"/>
              </a:spcBef>
              <a:buClr>
                <a:srgbClr val="2DA2BF"/>
              </a:buClr>
              <a:buFont typeface="Calibri Light" panose="020F0302020204030204" pitchFamily="34" charset="0"/>
              <a:buChar char="◦"/>
              <a:tabLst/>
              <a:defRPr sz="240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ct val="20000"/>
              </a:spcBef>
              <a:buClr>
                <a:srgbClr val="2DA2BF"/>
              </a:buClr>
              <a:buSzPct val="80000"/>
              <a:buFont typeface="Wingdings" panose="05000000000000000000" pitchFamily="2" charset="2"/>
              <a:buChar char="§"/>
              <a:tabLst/>
              <a:defRPr sz="240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ct val="20000"/>
              </a:spcBef>
              <a:buClr>
                <a:srgbClr val="2DA2BF"/>
              </a:buClr>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ct val="20000"/>
              </a:spcBef>
              <a:buClr>
                <a:srgbClr val="2DA2BF"/>
              </a:buClr>
              <a:buSzPct val="80000"/>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7345" indent="-347345" algn="ctr">
              <a:buNone/>
              <a:defRPr/>
            </a:pPr>
            <a:r>
              <a:rPr lang="en-US" sz="2000" b="1">
                <a:solidFill>
                  <a:schemeClr val="tx1"/>
                </a:solidFill>
                <a:latin typeface="Segoe UI"/>
                <a:ea typeface="Open Sans"/>
                <a:cs typeface="Segoe UI"/>
              </a:rPr>
              <a:t>Alexandra </a:t>
            </a:r>
            <a:endParaRPr lang="en-US" sz="2000">
              <a:solidFill>
                <a:schemeClr val="tx1"/>
              </a:solidFill>
              <a:ea typeface="Open Sans"/>
            </a:endParaRPr>
          </a:p>
          <a:p>
            <a:pPr marL="347345" indent="-347345" algn="ctr">
              <a:buNone/>
              <a:defRPr/>
            </a:pPr>
            <a:r>
              <a:rPr lang="en-US" sz="2000" b="1">
                <a:solidFill>
                  <a:schemeClr val="tx1"/>
                </a:solidFill>
                <a:latin typeface="Segoe UI"/>
                <a:ea typeface="Open Sans"/>
                <a:cs typeface="Segoe UI"/>
              </a:rPr>
              <a:t>Howell</a:t>
            </a:r>
            <a:endParaRPr lang="en-US" sz="2000">
              <a:solidFill>
                <a:schemeClr val="tx1"/>
              </a:solidFill>
              <a:ea typeface="Open Sans"/>
            </a:endParaRPr>
          </a:p>
        </p:txBody>
      </p:sp>
      <p:sp>
        <p:nvSpPr>
          <p:cNvPr id="31" name="Text Placeholder 12">
            <a:extLst>
              <a:ext uri="{FF2B5EF4-FFF2-40B4-BE49-F238E27FC236}">
                <a16:creationId xmlns:a16="http://schemas.microsoft.com/office/drawing/2014/main" id="{2A2E292A-770E-6EEE-F097-5898A1C6FC1E}"/>
              </a:ext>
            </a:extLst>
          </p:cNvPr>
          <p:cNvSpPr txBox="1">
            <a:spLocks/>
          </p:cNvSpPr>
          <p:nvPr/>
        </p:nvSpPr>
        <p:spPr>
          <a:xfrm>
            <a:off x="6731726" y="3811957"/>
            <a:ext cx="1097814" cy="215203"/>
          </a:xfrm>
          <a:prstGeom prst="rect">
            <a:avLst/>
          </a:prstGeom>
        </p:spPr>
        <p:txBody>
          <a:bodyPr lIns="45720" tIns="45720" rIns="91440" bIns="45720" anchor="b"/>
          <a:lstStyle>
            <a:lvl1pPr marL="347663" indent="-347663" algn="l" defTabSz="1219170" rtl="0" eaLnBrk="1" latinLnBrk="0" hangingPunct="1">
              <a:spcBef>
                <a:spcPct val="20000"/>
              </a:spcBef>
              <a:buClr>
                <a:srgbClr val="2DA2BF"/>
              </a:buClr>
              <a:buFont typeface="Arial" panose="020B0604020202020204" pitchFamily="34" charset="0"/>
              <a:buChar char="•"/>
              <a:tabLst/>
              <a:defRPr sz="2800" b="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ct val="20000"/>
              </a:spcBef>
              <a:buClr>
                <a:srgbClr val="2DA2BF"/>
              </a:buClr>
              <a:buFont typeface="Calibri Light" panose="020F0302020204030204" pitchFamily="34" charset="0"/>
              <a:buChar char="◦"/>
              <a:tabLst/>
              <a:defRPr sz="240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ct val="20000"/>
              </a:spcBef>
              <a:buClr>
                <a:srgbClr val="2DA2BF"/>
              </a:buClr>
              <a:buSzPct val="80000"/>
              <a:buFont typeface="Wingdings" panose="05000000000000000000" pitchFamily="2" charset="2"/>
              <a:buChar char="§"/>
              <a:tabLst/>
              <a:defRPr sz="240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ct val="20000"/>
              </a:spcBef>
              <a:buClr>
                <a:srgbClr val="2DA2BF"/>
              </a:buClr>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ct val="20000"/>
              </a:spcBef>
              <a:buClr>
                <a:srgbClr val="2DA2BF"/>
              </a:buClr>
              <a:buSzPct val="80000"/>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lgn="ctr">
              <a:buNone/>
              <a:defRPr/>
            </a:pPr>
            <a:r>
              <a:rPr lang="en-US" sz="2000" b="1">
                <a:solidFill>
                  <a:schemeClr val="tx1"/>
                </a:solidFill>
                <a:latin typeface="Segoe UI"/>
                <a:ea typeface="Open Sans"/>
                <a:cs typeface="Segoe UI"/>
              </a:rPr>
              <a:t>Dan </a:t>
            </a:r>
            <a:endParaRPr lang="en-US" sz="2000">
              <a:solidFill>
                <a:schemeClr val="tx1"/>
              </a:solidFill>
            </a:endParaRPr>
          </a:p>
          <a:p>
            <a:pPr marL="0" indent="0" algn="ctr">
              <a:buNone/>
              <a:defRPr/>
            </a:pPr>
            <a:r>
              <a:rPr lang="en-US" sz="2000" b="1">
                <a:solidFill>
                  <a:schemeClr val="tx1"/>
                </a:solidFill>
                <a:latin typeface="Segoe UI"/>
                <a:ea typeface="Open Sans"/>
                <a:cs typeface="Segoe UI"/>
              </a:rPr>
              <a:t>Lemons</a:t>
            </a:r>
          </a:p>
        </p:txBody>
      </p:sp>
      <p:pic>
        <p:nvPicPr>
          <p:cNvPr id="33" name="Picture 4">
            <a:extLst>
              <a:ext uri="{FF2B5EF4-FFF2-40B4-BE49-F238E27FC236}">
                <a16:creationId xmlns:a16="http://schemas.microsoft.com/office/drawing/2014/main" id="{CCCEEF42-824C-91BC-C8FA-A3CE14B23C9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6252772" y="1730337"/>
            <a:ext cx="1701255" cy="150810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5" name="Picture 34">
            <a:extLst>
              <a:ext uri="{FF2B5EF4-FFF2-40B4-BE49-F238E27FC236}">
                <a16:creationId xmlns:a16="http://schemas.microsoft.com/office/drawing/2014/main" id="{28C7CD9C-4A8F-0BB2-A3EA-F5634170334B}"/>
              </a:ext>
            </a:extLst>
          </p:cNvPr>
          <p:cNvPicPr>
            <a:picLocks noChangeAspect="1"/>
          </p:cNvPicPr>
          <p:nvPr/>
        </p:nvPicPr>
        <p:blipFill>
          <a:blip r:embed="rId6"/>
          <a:stretch>
            <a:fillRect/>
          </a:stretch>
        </p:blipFill>
        <p:spPr>
          <a:xfrm>
            <a:off x="8445999" y="1756167"/>
            <a:ext cx="1390395" cy="144914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6" name="TextBox 35">
            <a:extLst>
              <a:ext uri="{FF2B5EF4-FFF2-40B4-BE49-F238E27FC236}">
                <a16:creationId xmlns:a16="http://schemas.microsoft.com/office/drawing/2014/main" id="{FF7EFBA6-7FEE-4E7C-4E1B-F79810FEA08C}"/>
              </a:ext>
            </a:extLst>
          </p:cNvPr>
          <p:cNvSpPr txBox="1"/>
          <p:nvPr/>
        </p:nvSpPr>
        <p:spPr>
          <a:xfrm>
            <a:off x="6290250" y="4066776"/>
            <a:ext cx="1974487" cy="324449"/>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20" rIns="45719" bIns="45720" rtlCol="0" anchor="t">
            <a:noAutofit/>
          </a:bodyPr>
          <a:lstStyle/>
          <a:p>
            <a:pPr algn="ctr">
              <a:defRPr/>
            </a:pPr>
            <a:r>
              <a:rPr lang="en-US" sz="1400" b="1" kern="0">
                <a:solidFill>
                  <a:srgbClr val="000000"/>
                </a:solidFill>
                <a:ea typeface="+mn-lt"/>
                <a:cs typeface="+mn-lt"/>
              </a:rPr>
              <a:t>VP, Partner Network Services</a:t>
            </a:r>
            <a:endParaRPr lang="en-US" sz="1400">
              <a:ea typeface="Open Sans"/>
              <a:cs typeface="Open Sans"/>
            </a:endParaRPr>
          </a:p>
        </p:txBody>
      </p:sp>
      <p:sp>
        <p:nvSpPr>
          <p:cNvPr id="37" name="TextBox 36">
            <a:extLst>
              <a:ext uri="{FF2B5EF4-FFF2-40B4-BE49-F238E27FC236}">
                <a16:creationId xmlns:a16="http://schemas.microsoft.com/office/drawing/2014/main" id="{3A78E755-226B-64CB-C001-C2A7DEA2CD4B}"/>
              </a:ext>
            </a:extLst>
          </p:cNvPr>
          <p:cNvSpPr txBox="1"/>
          <p:nvPr/>
        </p:nvSpPr>
        <p:spPr>
          <a:xfrm>
            <a:off x="8264094" y="4066776"/>
            <a:ext cx="1894555" cy="312354"/>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20" rIns="45719" bIns="45720" rtlCol="0" anchor="t">
            <a:noAutofit/>
          </a:bodyPr>
          <a:lstStyle/>
          <a:p>
            <a:pPr algn="ctr">
              <a:defRPr/>
            </a:pPr>
            <a:r>
              <a:rPr lang="en-US" sz="1400" b="1" kern="0">
                <a:solidFill>
                  <a:srgbClr val="000000"/>
                </a:solidFill>
                <a:ea typeface="+mn-lt"/>
                <a:cs typeface="+mn-lt"/>
              </a:rPr>
              <a:t>Partner Onboarding Lead</a:t>
            </a:r>
            <a:endParaRPr lang="en-US" sz="1400">
              <a:ea typeface="+mn-lt"/>
              <a:cs typeface="+mn-lt"/>
            </a:endParaRPr>
          </a:p>
        </p:txBody>
      </p:sp>
      <p:pic>
        <p:nvPicPr>
          <p:cNvPr id="38" name="Picture 37" descr="A red square with white text&#10;&#10;Description automatically generated">
            <a:extLst>
              <a:ext uri="{FF2B5EF4-FFF2-40B4-BE49-F238E27FC236}">
                <a16:creationId xmlns:a16="http://schemas.microsoft.com/office/drawing/2014/main" id="{F8EE571C-8599-588A-3ABB-73143F46726C}"/>
              </a:ext>
            </a:extLst>
          </p:cNvPr>
          <p:cNvPicPr>
            <a:picLocks noChangeAspect="1"/>
          </p:cNvPicPr>
          <p:nvPr/>
        </p:nvPicPr>
        <p:blipFill>
          <a:blip r:embed="rId7"/>
          <a:stretch>
            <a:fillRect/>
          </a:stretch>
        </p:blipFill>
        <p:spPr>
          <a:xfrm>
            <a:off x="8941427" y="4698070"/>
            <a:ext cx="551063" cy="532013"/>
          </a:xfrm>
          <a:prstGeom prst="rect">
            <a:avLst/>
          </a:prstGeom>
        </p:spPr>
      </p:pic>
      <p:pic>
        <p:nvPicPr>
          <p:cNvPr id="39" name="Picture 38" descr="A red square with white text&#10;&#10;Description automatically generated">
            <a:extLst>
              <a:ext uri="{FF2B5EF4-FFF2-40B4-BE49-F238E27FC236}">
                <a16:creationId xmlns:a16="http://schemas.microsoft.com/office/drawing/2014/main" id="{7389973B-012B-A2FD-8E4C-13A282967B8C}"/>
              </a:ext>
            </a:extLst>
          </p:cNvPr>
          <p:cNvPicPr>
            <a:picLocks noChangeAspect="1"/>
          </p:cNvPicPr>
          <p:nvPr/>
        </p:nvPicPr>
        <p:blipFill>
          <a:blip r:embed="rId7"/>
          <a:stretch>
            <a:fillRect/>
          </a:stretch>
        </p:blipFill>
        <p:spPr>
          <a:xfrm>
            <a:off x="7003869" y="4698070"/>
            <a:ext cx="551063" cy="532013"/>
          </a:xfrm>
          <a:prstGeom prst="rect">
            <a:avLst/>
          </a:prstGeom>
        </p:spPr>
      </p:pic>
      <p:pic>
        <p:nvPicPr>
          <p:cNvPr id="13" name="Picture 12">
            <a:extLst>
              <a:ext uri="{FF2B5EF4-FFF2-40B4-BE49-F238E27FC236}">
                <a16:creationId xmlns:a16="http://schemas.microsoft.com/office/drawing/2014/main" id="{3C4DD23C-7239-D5D5-AE16-9D77AB671FEF}"/>
              </a:ext>
            </a:extLst>
          </p:cNvPr>
          <p:cNvPicPr>
            <a:picLocks noChangeAspect="1"/>
          </p:cNvPicPr>
          <p:nvPr/>
        </p:nvPicPr>
        <p:blipFill>
          <a:blip r:embed="rId8"/>
          <a:stretch>
            <a:fillRect/>
          </a:stretch>
        </p:blipFill>
        <p:spPr>
          <a:xfrm>
            <a:off x="484924" y="1762624"/>
            <a:ext cx="1512563" cy="142252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5" name="Picture 14">
            <a:extLst>
              <a:ext uri="{FF2B5EF4-FFF2-40B4-BE49-F238E27FC236}">
                <a16:creationId xmlns:a16="http://schemas.microsoft.com/office/drawing/2014/main" id="{E69098DF-9CDE-7326-7E61-F70F19AAEC39}"/>
              </a:ext>
            </a:extLst>
          </p:cNvPr>
          <p:cNvPicPr>
            <a:picLocks noChangeAspect="1"/>
          </p:cNvPicPr>
          <p:nvPr/>
        </p:nvPicPr>
        <p:blipFill>
          <a:blip r:embed="rId9"/>
          <a:stretch>
            <a:fillRect/>
          </a:stretch>
        </p:blipFill>
        <p:spPr>
          <a:xfrm>
            <a:off x="4420822" y="1756166"/>
            <a:ext cx="1398851" cy="142733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7" name="Picture 16">
            <a:extLst>
              <a:ext uri="{FF2B5EF4-FFF2-40B4-BE49-F238E27FC236}">
                <a16:creationId xmlns:a16="http://schemas.microsoft.com/office/drawing/2014/main" id="{B4574D46-489B-0FD9-51E0-9E7C8C591B9A}"/>
              </a:ext>
            </a:extLst>
          </p:cNvPr>
          <p:cNvPicPr>
            <a:picLocks noChangeAspect="1"/>
          </p:cNvPicPr>
          <p:nvPr/>
        </p:nvPicPr>
        <p:blipFill>
          <a:blip r:embed="rId10"/>
          <a:stretch>
            <a:fillRect/>
          </a:stretch>
        </p:blipFill>
        <p:spPr>
          <a:xfrm>
            <a:off x="2356975" y="1756166"/>
            <a:ext cx="1512563" cy="142733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Text Placeholder 14">
            <a:extLst>
              <a:ext uri="{FF2B5EF4-FFF2-40B4-BE49-F238E27FC236}">
                <a16:creationId xmlns:a16="http://schemas.microsoft.com/office/drawing/2014/main" id="{3FA4D4D7-997F-BE63-6699-1F9A65742FC8}"/>
              </a:ext>
            </a:extLst>
          </p:cNvPr>
          <p:cNvSpPr txBox="1">
            <a:spLocks/>
          </p:cNvSpPr>
          <p:nvPr/>
        </p:nvSpPr>
        <p:spPr>
          <a:xfrm>
            <a:off x="9987853" y="3824052"/>
            <a:ext cx="2112022" cy="197493"/>
          </a:xfrm>
          <a:prstGeom prst="rect">
            <a:avLst/>
          </a:prstGeom>
        </p:spPr>
        <p:txBody>
          <a:bodyPr lIns="45720" tIns="45720" rIns="91440" bIns="45720" anchor="b"/>
          <a:lstStyle>
            <a:lvl1pPr marL="347663" indent="-347663" algn="l" defTabSz="1219170" rtl="0" eaLnBrk="1" latinLnBrk="0" hangingPunct="1">
              <a:spcBef>
                <a:spcPct val="20000"/>
              </a:spcBef>
              <a:buClr>
                <a:srgbClr val="2DA2BF"/>
              </a:buClr>
              <a:buFont typeface="Arial" panose="020B0604020202020204" pitchFamily="34" charset="0"/>
              <a:buChar char="•"/>
              <a:tabLst/>
              <a:defRPr sz="2800" b="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ct val="20000"/>
              </a:spcBef>
              <a:buClr>
                <a:srgbClr val="2DA2BF"/>
              </a:buClr>
              <a:buFont typeface="Calibri Light" panose="020F0302020204030204" pitchFamily="34" charset="0"/>
              <a:buChar char="◦"/>
              <a:tabLst/>
              <a:defRPr sz="240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ct val="20000"/>
              </a:spcBef>
              <a:buClr>
                <a:srgbClr val="2DA2BF"/>
              </a:buClr>
              <a:buSzPct val="80000"/>
              <a:buFont typeface="Wingdings" panose="05000000000000000000" pitchFamily="2" charset="2"/>
              <a:buChar char="§"/>
              <a:tabLst/>
              <a:defRPr sz="240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ct val="20000"/>
              </a:spcBef>
              <a:buClr>
                <a:srgbClr val="2DA2BF"/>
              </a:buClr>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ct val="20000"/>
              </a:spcBef>
              <a:buClr>
                <a:srgbClr val="2DA2BF"/>
              </a:buClr>
              <a:buSzPct val="80000"/>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7345" indent="-347345" algn="ctr">
              <a:buNone/>
              <a:defRPr/>
            </a:pPr>
            <a:r>
              <a:rPr lang="en-US" sz="2000" b="1">
                <a:solidFill>
                  <a:schemeClr val="tx1"/>
                </a:solidFill>
                <a:latin typeface="Segoe UI"/>
                <a:ea typeface="Open Sans"/>
                <a:cs typeface="Segoe UI"/>
              </a:rPr>
              <a:t> Erik Van der Merwe</a:t>
            </a:r>
          </a:p>
        </p:txBody>
      </p:sp>
      <p:sp>
        <p:nvSpPr>
          <p:cNvPr id="7" name="TextBox 6">
            <a:extLst>
              <a:ext uri="{FF2B5EF4-FFF2-40B4-BE49-F238E27FC236}">
                <a16:creationId xmlns:a16="http://schemas.microsoft.com/office/drawing/2014/main" id="{2592571E-C527-D800-DE04-1503460587DD}"/>
              </a:ext>
            </a:extLst>
          </p:cNvPr>
          <p:cNvSpPr txBox="1"/>
          <p:nvPr/>
        </p:nvSpPr>
        <p:spPr>
          <a:xfrm>
            <a:off x="10126948" y="4060728"/>
            <a:ext cx="1821984" cy="324449"/>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20" rIns="45719" bIns="45720" rtlCol="0" anchor="t">
            <a:noAutofit/>
          </a:bodyPr>
          <a:lstStyle/>
          <a:p>
            <a:pPr algn="ctr">
              <a:defRPr/>
            </a:pPr>
            <a:r>
              <a:rPr lang="en-US" sz="1400" b="1" kern="0">
                <a:solidFill>
                  <a:srgbClr val="000000"/>
                </a:solidFill>
                <a:ea typeface="+mn-lt"/>
                <a:cs typeface="+mn-lt"/>
              </a:rPr>
              <a:t>Lead Solution Architect</a:t>
            </a:r>
            <a:endParaRPr lang="en-US" sz="1400">
              <a:ea typeface="Open Sans"/>
              <a:cs typeface="Open Sans"/>
            </a:endParaRPr>
          </a:p>
        </p:txBody>
      </p:sp>
      <p:pic>
        <p:nvPicPr>
          <p:cNvPr id="10" name="Picture 9" descr="A red square with white text&#10;&#10;Description automatically generated">
            <a:extLst>
              <a:ext uri="{FF2B5EF4-FFF2-40B4-BE49-F238E27FC236}">
                <a16:creationId xmlns:a16="http://schemas.microsoft.com/office/drawing/2014/main" id="{1FC87D89-CFA0-0025-225E-674118A5AB6A}"/>
              </a:ext>
            </a:extLst>
          </p:cNvPr>
          <p:cNvPicPr>
            <a:picLocks noChangeAspect="1"/>
          </p:cNvPicPr>
          <p:nvPr/>
        </p:nvPicPr>
        <p:blipFill>
          <a:blip r:embed="rId7"/>
          <a:stretch>
            <a:fillRect/>
          </a:stretch>
        </p:blipFill>
        <p:spPr>
          <a:xfrm>
            <a:off x="10761948" y="4698070"/>
            <a:ext cx="551063" cy="531999"/>
          </a:xfrm>
          <a:prstGeom prst="rect">
            <a:avLst/>
          </a:prstGeom>
        </p:spPr>
      </p:pic>
      <p:pic>
        <p:nvPicPr>
          <p:cNvPr id="16" name="Picture 15" descr="A person with a beard and mustache wearing a tie&#10;&#10;Description automatically generated">
            <a:extLst>
              <a:ext uri="{FF2B5EF4-FFF2-40B4-BE49-F238E27FC236}">
                <a16:creationId xmlns:a16="http://schemas.microsoft.com/office/drawing/2014/main" id="{CB4E0F4B-5787-C6AD-7D3D-81664273F9FF}"/>
              </a:ext>
            </a:extLst>
          </p:cNvPr>
          <p:cNvPicPr>
            <a:picLocks noChangeAspect="1"/>
          </p:cNvPicPr>
          <p:nvPr/>
        </p:nvPicPr>
        <p:blipFill rotWithShape="1">
          <a:blip r:embed="rId11"/>
          <a:srcRect r="418" b="29245"/>
          <a:stretch/>
        </p:blipFill>
        <p:spPr>
          <a:xfrm>
            <a:off x="10132340" y="1730336"/>
            <a:ext cx="1639595" cy="147781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5687197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FBA4B87-97CE-C427-F2E6-4E29EF3AAD3C}"/>
              </a:ext>
            </a:extLst>
          </p:cNvPr>
          <p:cNvSpPr>
            <a:spLocks noGrp="1"/>
          </p:cNvSpPr>
          <p:nvPr>
            <p:ph type="body" sz="quarter" idx="11"/>
          </p:nvPr>
        </p:nvSpPr>
        <p:spPr>
          <a:xfrm>
            <a:off x="1489249" y="2787816"/>
            <a:ext cx="8335246" cy="1025911"/>
          </a:xfrm>
        </p:spPr>
        <p:txBody>
          <a:bodyPr/>
          <a:lstStyle/>
          <a:p>
            <a:r>
              <a:rPr lang="en-US" sz="4400">
                <a:solidFill>
                  <a:schemeClr val="tx2">
                    <a:lumMod val="75000"/>
                    <a:lumOff val="25000"/>
                  </a:schemeClr>
                </a:solidFill>
                <a:latin typeface="Open Sans"/>
                <a:ea typeface="Open Sans"/>
              </a:rPr>
              <a:t>Thank You</a:t>
            </a:r>
            <a:r>
              <a:rPr lang="en-US" sz="4800">
                <a:solidFill>
                  <a:schemeClr val="tx2">
                    <a:lumMod val="75000"/>
                    <a:lumOff val="25000"/>
                  </a:schemeClr>
                </a:solidFill>
                <a:latin typeface="Arial Black"/>
                <a:ea typeface="Open Sans"/>
              </a:rPr>
              <a:t> </a:t>
            </a:r>
          </a:p>
        </p:txBody>
      </p:sp>
    </p:spTree>
    <p:extLst>
      <p:ext uri="{BB962C8B-B14F-4D97-AF65-F5344CB8AC3E}">
        <p14:creationId xmlns:p14="http://schemas.microsoft.com/office/powerpoint/2010/main" val="40031925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29E297-E798-08B1-A1CC-65371311D18E}"/>
              </a:ext>
            </a:extLst>
          </p:cNvPr>
          <p:cNvSpPr>
            <a:spLocks noGrp="1"/>
          </p:cNvSpPr>
          <p:nvPr>
            <p:ph type="body" sz="quarter" idx="11"/>
          </p:nvPr>
        </p:nvSpPr>
        <p:spPr/>
        <p:txBody>
          <a:bodyPr/>
          <a:lstStyle/>
          <a:p>
            <a:r>
              <a:rPr lang="en-US" sz="3200">
                <a:latin typeface="Arial Black"/>
                <a:ea typeface="Open Sans"/>
              </a:rPr>
              <a:t>AGENDA</a:t>
            </a:r>
            <a:endParaRPr lang="en-US"/>
          </a:p>
        </p:txBody>
      </p:sp>
      <p:sp>
        <p:nvSpPr>
          <p:cNvPr id="4" name="Content Placeholder 4">
            <a:extLst>
              <a:ext uri="{FF2B5EF4-FFF2-40B4-BE49-F238E27FC236}">
                <a16:creationId xmlns:a16="http://schemas.microsoft.com/office/drawing/2014/main" id="{0316E24A-36E5-F9DC-64A3-504BD87305DA}"/>
              </a:ext>
            </a:extLst>
          </p:cNvPr>
          <p:cNvSpPr txBox="1">
            <a:spLocks/>
          </p:cNvSpPr>
          <p:nvPr/>
        </p:nvSpPr>
        <p:spPr>
          <a:xfrm>
            <a:off x="465573" y="1452780"/>
            <a:ext cx="8271733" cy="4917473"/>
          </a:xfrm>
          <a:prstGeom prst="rect">
            <a:avLst/>
          </a:prstGeom>
        </p:spPr>
        <p:txBody>
          <a:bodyPr lIns="91440" tIns="45720" rIns="91440" bIns="45720" anchor="ctr"/>
          <a:lstStyle>
            <a:lvl1pPr marL="347663" indent="-347663" algn="l" defTabSz="1219170" rtl="0" eaLnBrk="1" latinLnBrk="0" hangingPunct="1">
              <a:spcBef>
                <a:spcPts val="1200"/>
              </a:spcBef>
              <a:buClr>
                <a:srgbClr val="2DA2BF"/>
              </a:buClr>
              <a:buFont typeface="Arial" panose="020B0604020202020204" pitchFamily="34" charset="0"/>
              <a:buChar char="•"/>
              <a:tabLst/>
              <a:defRPr sz="2800" b="0" i="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7345" indent="-347345">
              <a:lnSpc>
                <a:spcPct val="200000"/>
              </a:lnSpc>
              <a:spcBef>
                <a:spcPts val="0"/>
              </a:spcBef>
              <a:buFont typeface="Wingdings" panose="020B0604020202020204" pitchFamily="34" charset="0"/>
              <a:buChar char="Ø"/>
            </a:pPr>
            <a:r>
              <a:rPr lang="en-US" sz="1800" b="1">
                <a:latin typeface="Open Sans"/>
                <a:ea typeface="Open Sans"/>
                <a:cs typeface="Open Sans"/>
              </a:rPr>
              <a:t>EXECUTIVE SUMMARY </a:t>
            </a:r>
            <a:endParaRPr lang="en-US" sz="1800"/>
          </a:p>
          <a:p>
            <a:pPr marL="347345" indent="-347345">
              <a:lnSpc>
                <a:spcPct val="200000"/>
              </a:lnSpc>
              <a:spcBef>
                <a:spcPts val="0"/>
              </a:spcBef>
              <a:buFont typeface="Wingdings" panose="020B0604020202020204" pitchFamily="34" charset="0"/>
              <a:buChar char="Ø"/>
            </a:pPr>
            <a:r>
              <a:rPr lang="en-US" sz="1800" b="1">
                <a:latin typeface="Open Sans"/>
                <a:ea typeface="Open Sans"/>
                <a:cs typeface="Open Sans"/>
              </a:rPr>
              <a:t>PARTNER COMMUNICATION AND CONNECTIONS</a:t>
            </a:r>
          </a:p>
          <a:p>
            <a:pPr marL="347345" indent="-347345">
              <a:lnSpc>
                <a:spcPct val="200000"/>
              </a:lnSpc>
              <a:spcBef>
                <a:spcPts val="0"/>
              </a:spcBef>
              <a:buFont typeface="Wingdings" panose="020B0604020202020204" pitchFamily="34" charset="0"/>
              <a:buChar char="Ø"/>
            </a:pPr>
            <a:r>
              <a:rPr lang="en-US" sz="1800" b="1">
                <a:latin typeface="Open Sans"/>
                <a:ea typeface="Open Sans"/>
                <a:cs typeface="Open Sans"/>
              </a:rPr>
              <a:t>DIGITAL SUPPLY CHAIN – ONE NETWORK </a:t>
            </a:r>
            <a:endParaRPr lang="en-US" sz="1800"/>
          </a:p>
          <a:p>
            <a:pPr marL="347345" indent="-347345">
              <a:lnSpc>
                <a:spcPct val="200000"/>
              </a:lnSpc>
              <a:spcBef>
                <a:spcPts val="0"/>
              </a:spcBef>
              <a:buFont typeface="Wingdings" panose="020B0604020202020204" pitchFamily="34" charset="0"/>
              <a:buChar char="Ø"/>
            </a:pPr>
            <a:r>
              <a:rPr lang="en-US" sz="1800" b="1">
                <a:latin typeface="Open Sans"/>
                <a:ea typeface="Open Sans"/>
                <a:cs typeface="Open Sans"/>
              </a:rPr>
              <a:t>PARTNER BENEFITS &amp; PARTNER DASHBOARD</a:t>
            </a:r>
          </a:p>
          <a:p>
            <a:pPr marL="347345" indent="-347345">
              <a:lnSpc>
                <a:spcPct val="200000"/>
              </a:lnSpc>
              <a:spcBef>
                <a:spcPts val="0"/>
              </a:spcBef>
              <a:buFont typeface="Wingdings" panose="020B0604020202020204" pitchFamily="34" charset="0"/>
              <a:buChar char="Ø"/>
            </a:pPr>
            <a:r>
              <a:rPr lang="en-US" sz="1800" b="1">
                <a:latin typeface="Open Sans"/>
                <a:ea typeface="Open Sans"/>
                <a:cs typeface="Open Sans"/>
              </a:rPr>
              <a:t>TO BE PROCESS AND FEATURES</a:t>
            </a:r>
          </a:p>
          <a:p>
            <a:pPr marL="347345" indent="-347345">
              <a:lnSpc>
                <a:spcPct val="200000"/>
              </a:lnSpc>
              <a:spcBef>
                <a:spcPts val="0"/>
              </a:spcBef>
              <a:buFont typeface="Wingdings" panose="020B0604020202020204" pitchFamily="34" charset="0"/>
              <a:buChar char="Ø"/>
            </a:pPr>
            <a:r>
              <a:rPr lang="en-US" sz="1800" b="1">
                <a:latin typeface="Open Sans"/>
                <a:ea typeface="Open Sans"/>
                <a:cs typeface="Open Sans"/>
              </a:rPr>
              <a:t>PARTNER ONBOARDING TO ONE NETWORK</a:t>
            </a:r>
          </a:p>
          <a:p>
            <a:pPr marL="347345" indent="-347345">
              <a:lnSpc>
                <a:spcPct val="200000"/>
              </a:lnSpc>
              <a:spcBef>
                <a:spcPts val="0"/>
              </a:spcBef>
              <a:buFont typeface="Wingdings" panose="020B0604020202020204" pitchFamily="34" charset="0"/>
              <a:buChar char="Ø"/>
            </a:pPr>
            <a:r>
              <a:rPr lang="en-US" sz="1800" b="1">
                <a:latin typeface="Open Sans"/>
                <a:ea typeface="Open Sans"/>
                <a:cs typeface="Open Sans"/>
              </a:rPr>
              <a:t>CURRENT ACTIONS</a:t>
            </a:r>
          </a:p>
          <a:p>
            <a:pPr marL="347345" indent="-347345">
              <a:lnSpc>
                <a:spcPct val="200000"/>
              </a:lnSpc>
              <a:spcBef>
                <a:spcPts val="0"/>
              </a:spcBef>
              <a:buFont typeface="Wingdings" panose="020B0604020202020204" pitchFamily="34" charset="0"/>
              <a:buChar char="Ø"/>
            </a:pPr>
            <a:r>
              <a:rPr lang="en-US" sz="1800" b="1">
                <a:latin typeface="Open Sans"/>
                <a:ea typeface="Open Sans"/>
                <a:cs typeface="Open Sans"/>
              </a:rPr>
              <a:t>HIGH LEVEL TIMELINE &amp; MILESTONES </a:t>
            </a:r>
          </a:p>
          <a:p>
            <a:pPr marL="347345" indent="-347345">
              <a:lnSpc>
                <a:spcPct val="200000"/>
              </a:lnSpc>
              <a:spcBef>
                <a:spcPts val="0"/>
              </a:spcBef>
              <a:buFont typeface="Wingdings" panose="020B0604020202020204" pitchFamily="34" charset="0"/>
              <a:buChar char="Ø"/>
            </a:pPr>
            <a:r>
              <a:rPr lang="en-US" sz="1800" b="1">
                <a:latin typeface="Open Sans"/>
                <a:ea typeface="Open Sans"/>
                <a:cs typeface="Open Sans"/>
              </a:rPr>
              <a:t>CONTACTS US</a:t>
            </a:r>
          </a:p>
        </p:txBody>
      </p:sp>
    </p:spTree>
    <p:extLst>
      <p:ext uri="{BB962C8B-B14F-4D97-AF65-F5344CB8AC3E}">
        <p14:creationId xmlns:p14="http://schemas.microsoft.com/office/powerpoint/2010/main" val="4801336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958591-C7EC-E0A3-4361-C306F8227DD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6D4A0A65-4449-A208-9F84-68CA373C2CC5}"/>
              </a:ext>
            </a:extLst>
          </p:cNvPr>
          <p:cNvSpPr>
            <a:spLocks noGrp="1"/>
          </p:cNvSpPr>
          <p:nvPr>
            <p:ph type="body" sz="quarter" idx="11"/>
          </p:nvPr>
        </p:nvSpPr>
        <p:spPr/>
        <p:txBody>
          <a:bodyPr/>
          <a:lstStyle/>
          <a:p>
            <a:r>
              <a:rPr lang="en-US" sz="3200">
                <a:latin typeface="Open Sans"/>
                <a:ea typeface="Open Sans"/>
              </a:rPr>
              <a:t>EXECUTIVE SUMMARY - Scope &amp; Goals</a:t>
            </a:r>
            <a:endParaRPr lang="en-US" sz="3200">
              <a:latin typeface="Open Sans"/>
            </a:endParaRPr>
          </a:p>
        </p:txBody>
      </p:sp>
      <p:graphicFrame>
        <p:nvGraphicFramePr>
          <p:cNvPr id="17" name="Table 16">
            <a:extLst>
              <a:ext uri="{FF2B5EF4-FFF2-40B4-BE49-F238E27FC236}">
                <a16:creationId xmlns:a16="http://schemas.microsoft.com/office/drawing/2014/main" id="{39C2D995-BEAD-B4F2-BAA5-251C62A1C594}"/>
              </a:ext>
            </a:extLst>
          </p:cNvPr>
          <p:cNvGraphicFramePr>
            <a:graphicFrameLocks noGrp="1"/>
          </p:cNvGraphicFramePr>
          <p:nvPr>
            <p:extLst>
              <p:ext uri="{D42A27DB-BD31-4B8C-83A1-F6EECF244321}">
                <p14:modId xmlns:p14="http://schemas.microsoft.com/office/powerpoint/2010/main" val="18553465"/>
              </p:ext>
            </p:extLst>
          </p:nvPr>
        </p:nvGraphicFramePr>
        <p:xfrm>
          <a:off x="6969608" y="2800551"/>
          <a:ext cx="4925931" cy="3483084"/>
        </p:xfrm>
        <a:graphic>
          <a:graphicData uri="http://schemas.openxmlformats.org/drawingml/2006/table">
            <a:tbl>
              <a:tblPr/>
              <a:tblGrid>
                <a:gridCol w="4925931">
                  <a:extLst>
                    <a:ext uri="{9D8B030D-6E8A-4147-A177-3AD203B41FA5}">
                      <a16:colId xmlns:a16="http://schemas.microsoft.com/office/drawing/2014/main" val="3395566877"/>
                    </a:ext>
                  </a:extLst>
                </a:gridCol>
              </a:tblGrid>
              <a:tr h="517936">
                <a:tc>
                  <a:txBody>
                    <a:bodyPr/>
                    <a:lstStyle/>
                    <a:p>
                      <a:pPr algn="l" fontAlgn="base"/>
                      <a:r>
                        <a:rPr lang="en-US" sz="2000" b="1" i="0" kern="1200">
                          <a:solidFill>
                            <a:srgbClr val="FFFFFF"/>
                          </a:solidFill>
                          <a:effectLst/>
                          <a:latin typeface="Open Sans"/>
                          <a:ea typeface="+mn-ea"/>
                          <a:cs typeface="+mn-cs"/>
                        </a:rPr>
                        <a:t>Bayer’s Goal</a:t>
                      </a:r>
                    </a:p>
                  </a:txBody>
                  <a:tcPr marL="91428" marR="91428" marT="45714" marB="45714">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2060"/>
                    </a:solidFill>
                  </a:tcPr>
                </a:tc>
                <a:extLst>
                  <a:ext uri="{0D108BD9-81ED-4DB2-BD59-A6C34878D82A}">
                    <a16:rowId xmlns:a16="http://schemas.microsoft.com/office/drawing/2014/main" val="1782195481"/>
                  </a:ext>
                </a:extLst>
              </a:tr>
              <a:tr h="2965148">
                <a:tc>
                  <a:txBody>
                    <a:bodyPr/>
                    <a:lstStyle/>
                    <a:p>
                      <a:pPr marL="0" indent="0" fontAlgn="base">
                        <a:spcBef>
                          <a:spcPts val="600"/>
                        </a:spcBef>
                        <a:buFontTx/>
                        <a:buNone/>
                      </a:pPr>
                      <a:r>
                        <a:rPr lang="en-US" sz="1400" kern="1200">
                          <a:solidFill>
                            <a:schemeClr val="tx1"/>
                          </a:solidFill>
                          <a:latin typeface="+mn-lt"/>
                          <a:ea typeface="+mn-ea"/>
                          <a:cs typeface="+mn-cs"/>
                        </a:rPr>
                        <a:t>Enable partners to make </a:t>
                      </a:r>
                      <a:r>
                        <a:rPr lang="en-US" sz="1400" b="1" i="1" kern="1200">
                          <a:solidFill>
                            <a:schemeClr val="tx1"/>
                          </a:solidFill>
                          <a:latin typeface="+mn-lt"/>
                          <a:ea typeface="+mn-ea"/>
                          <a:cs typeface="+mn-cs"/>
                        </a:rPr>
                        <a:t>better decisions… faster</a:t>
                      </a:r>
                      <a:r>
                        <a:rPr lang="en-US" sz="1400" kern="1200">
                          <a:solidFill>
                            <a:schemeClr val="tx1"/>
                          </a:solidFill>
                          <a:latin typeface="+mn-lt"/>
                          <a:ea typeface="+mn-ea"/>
                          <a:cs typeface="+mn-cs"/>
                        </a:rPr>
                        <a:t> with better: </a:t>
                      </a:r>
                    </a:p>
                    <a:p>
                      <a:pPr marL="285750" lvl="0" indent="-285750" fontAlgn="base">
                        <a:spcBef>
                          <a:spcPts val="600"/>
                        </a:spcBef>
                        <a:buFont typeface="Arial" panose="020B0604020202020204" pitchFamily="34" charset="0"/>
                        <a:buChar char="•"/>
                      </a:pPr>
                      <a:r>
                        <a:rPr lang="en-US" sz="1400" b="0" kern="1200">
                          <a:solidFill>
                            <a:schemeClr val="tx1"/>
                          </a:solidFill>
                          <a:latin typeface="+mn-lt"/>
                          <a:ea typeface="+mn-ea"/>
                          <a:cs typeface="+mn-cs"/>
                        </a:rPr>
                        <a:t>Visibility</a:t>
                      </a:r>
                    </a:p>
                    <a:p>
                      <a:pPr marL="285750" lvl="0" indent="-285750" fontAlgn="base">
                        <a:spcBef>
                          <a:spcPts val="0"/>
                        </a:spcBef>
                        <a:buFont typeface="Arial" panose="020B0604020202020204" pitchFamily="34" charset="0"/>
                        <a:buChar char="•"/>
                      </a:pPr>
                      <a:r>
                        <a:rPr lang="en-US" sz="1400" b="0" kern="1200">
                          <a:solidFill>
                            <a:schemeClr val="tx1"/>
                          </a:solidFill>
                          <a:latin typeface="+mn-lt"/>
                          <a:ea typeface="+mn-ea"/>
                          <a:cs typeface="+mn-cs"/>
                        </a:rPr>
                        <a:t>Actionability</a:t>
                      </a:r>
                    </a:p>
                    <a:p>
                      <a:pPr marL="285750" marR="0" lvl="0" indent="-285750" algn="l" defTabSz="121917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400" b="0" kern="1200">
                          <a:solidFill>
                            <a:schemeClr val="tx1"/>
                          </a:solidFill>
                          <a:latin typeface="+mn-lt"/>
                          <a:ea typeface="+mn-ea"/>
                          <a:cs typeface="+mn-cs"/>
                        </a:rPr>
                        <a:t>Alerts</a:t>
                      </a:r>
                    </a:p>
                    <a:p>
                      <a:pPr marL="285750" lvl="0" indent="-285750" fontAlgn="base">
                        <a:spcBef>
                          <a:spcPts val="0"/>
                        </a:spcBef>
                        <a:buFont typeface="Arial" panose="020B0604020202020204" pitchFamily="34" charset="0"/>
                        <a:buChar char="•"/>
                      </a:pPr>
                      <a:r>
                        <a:rPr lang="en-US" sz="1400" b="0" kern="1200">
                          <a:solidFill>
                            <a:schemeClr val="tx1"/>
                          </a:solidFill>
                          <a:latin typeface="+mn-lt"/>
                          <a:ea typeface="+mn-ea"/>
                          <a:cs typeface="+mn-cs"/>
                        </a:rPr>
                        <a:t>Analytical insights </a:t>
                      </a:r>
                    </a:p>
                    <a:p>
                      <a:pPr marL="0" lvl="0" indent="0" fontAlgn="base">
                        <a:spcBef>
                          <a:spcPts val="1200"/>
                        </a:spcBef>
                        <a:buFont typeface="Arial" panose="020B0604020202020204" pitchFamily="34" charset="0"/>
                        <a:buNone/>
                      </a:pPr>
                      <a:r>
                        <a:rPr lang="en-US" sz="1400" b="0" kern="1200">
                          <a:solidFill>
                            <a:schemeClr val="tx1"/>
                          </a:solidFill>
                          <a:latin typeface="+mn-lt"/>
                          <a:ea typeface="+mn-ea"/>
                          <a:cs typeface="+mn-cs"/>
                        </a:rPr>
                        <a:t>… will </a:t>
                      </a:r>
                      <a:r>
                        <a:rPr lang="en-US" sz="1400" b="1" kern="1200">
                          <a:solidFill>
                            <a:schemeClr val="tx1"/>
                          </a:solidFill>
                          <a:latin typeface="+mn-lt"/>
                          <a:ea typeface="+mn-ea"/>
                          <a:cs typeface="+mn-cs"/>
                        </a:rPr>
                        <a:t>create value for all partners</a:t>
                      </a:r>
                      <a:r>
                        <a:rPr lang="en-US" sz="1400" b="0" kern="1200">
                          <a:solidFill>
                            <a:schemeClr val="tx1"/>
                          </a:solidFill>
                          <a:latin typeface="+mn-lt"/>
                          <a:ea typeface="+mn-ea"/>
                          <a:cs typeface="+mn-cs"/>
                        </a:rPr>
                        <a:t>.   </a:t>
                      </a:r>
                    </a:p>
                    <a:p>
                      <a:pPr marL="0" indent="0" fontAlgn="base">
                        <a:buFontTx/>
                        <a:buNone/>
                      </a:pPr>
                      <a:endParaRPr lang="en-US" sz="1400" kern="1200">
                        <a:solidFill>
                          <a:schemeClr val="tx1"/>
                        </a:solidFill>
                        <a:latin typeface="+mn-lt"/>
                        <a:ea typeface="+mn-ea"/>
                        <a:cs typeface="+mn-cs"/>
                      </a:endParaRPr>
                    </a:p>
                    <a:p>
                      <a:pPr marL="0" indent="0" fontAlgn="base">
                        <a:buFontTx/>
                        <a:buNone/>
                      </a:pPr>
                      <a:r>
                        <a:rPr lang="en-US" sz="1400" b="1" kern="1200">
                          <a:solidFill>
                            <a:schemeClr val="tx1"/>
                          </a:solidFill>
                          <a:latin typeface="+mn-lt"/>
                          <a:ea typeface="+mn-ea"/>
                          <a:cs typeface="+mn-cs"/>
                        </a:rPr>
                        <a:t>Our approach:</a:t>
                      </a:r>
                      <a:endParaRPr lang="en-US" sz="1400" kern="1200">
                        <a:solidFill>
                          <a:schemeClr val="tx1"/>
                        </a:solidFill>
                        <a:latin typeface="+mn-lt"/>
                        <a:ea typeface="+mn-ea"/>
                        <a:cs typeface="+mn-cs"/>
                      </a:endParaRPr>
                    </a:p>
                    <a:p>
                      <a:pPr marL="285750" indent="-285750" fontAlgn="base">
                        <a:spcBef>
                          <a:spcPts val="600"/>
                        </a:spcBef>
                        <a:buFont typeface="Arial" panose="020B0604020202020204" pitchFamily="34" charset="0"/>
                        <a:buChar char="•"/>
                      </a:pPr>
                      <a:r>
                        <a:rPr lang="en-US" sz="1400" kern="1200">
                          <a:solidFill>
                            <a:schemeClr val="tx1"/>
                          </a:solidFill>
                          <a:latin typeface="+mn-lt"/>
                          <a:ea typeface="+mn-ea"/>
                          <a:cs typeface="+mn-cs"/>
                        </a:rPr>
                        <a:t>Connecting all partners and their systems through a Digital Supply Chain </a:t>
                      </a:r>
                      <a:r>
                        <a:rPr lang="en-US" sz="1400" kern="1200" err="1">
                          <a:solidFill>
                            <a:schemeClr val="tx1"/>
                          </a:solidFill>
                          <a:latin typeface="+mn-lt"/>
                          <a:ea typeface="+mn-ea"/>
                          <a:cs typeface="+mn-cs"/>
                        </a:rPr>
                        <a:t>Network</a:t>
                      </a:r>
                      <a:r>
                        <a:rPr lang="en-US" sz="1400" kern="1200" baseline="30000" err="1">
                          <a:solidFill>
                            <a:schemeClr val="tx1"/>
                          </a:solidFill>
                          <a:latin typeface="+mn-lt"/>
                          <a:ea typeface="+mn-ea"/>
                          <a:cs typeface="+mn-cs"/>
                        </a:rPr>
                        <a:t>TM</a:t>
                      </a:r>
                    </a:p>
                  </a:txBody>
                  <a:tcPr marL="91428" marR="91428" marT="45714" marB="45714">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extLst>
                  <a:ext uri="{0D108BD9-81ED-4DB2-BD59-A6C34878D82A}">
                    <a16:rowId xmlns:a16="http://schemas.microsoft.com/office/drawing/2014/main" val="268847508"/>
                  </a:ext>
                </a:extLst>
              </a:tr>
            </a:tbl>
          </a:graphicData>
        </a:graphic>
      </p:graphicFrame>
      <p:graphicFrame>
        <p:nvGraphicFramePr>
          <p:cNvPr id="55" name="Table 54">
            <a:extLst>
              <a:ext uri="{FF2B5EF4-FFF2-40B4-BE49-F238E27FC236}">
                <a16:creationId xmlns:a16="http://schemas.microsoft.com/office/drawing/2014/main" id="{BAD24F01-D7F4-BF36-D16C-1074A0E6487F}"/>
              </a:ext>
            </a:extLst>
          </p:cNvPr>
          <p:cNvGraphicFramePr>
            <a:graphicFrameLocks noGrp="1"/>
          </p:cNvGraphicFramePr>
          <p:nvPr>
            <p:extLst>
              <p:ext uri="{D42A27DB-BD31-4B8C-83A1-F6EECF244321}">
                <p14:modId xmlns:p14="http://schemas.microsoft.com/office/powerpoint/2010/main" val="1507162716"/>
              </p:ext>
            </p:extLst>
          </p:nvPr>
        </p:nvGraphicFramePr>
        <p:xfrm>
          <a:off x="297050" y="2802610"/>
          <a:ext cx="6387329" cy="3474193"/>
        </p:xfrm>
        <a:graphic>
          <a:graphicData uri="http://schemas.openxmlformats.org/drawingml/2006/table">
            <a:tbl>
              <a:tblPr/>
              <a:tblGrid>
                <a:gridCol w="6387329">
                  <a:extLst>
                    <a:ext uri="{9D8B030D-6E8A-4147-A177-3AD203B41FA5}">
                      <a16:colId xmlns:a16="http://schemas.microsoft.com/office/drawing/2014/main" val="574289950"/>
                    </a:ext>
                  </a:extLst>
                </a:gridCol>
              </a:tblGrid>
              <a:tr h="540429">
                <a:tc>
                  <a:txBody>
                    <a:bodyPr/>
                    <a:lstStyle/>
                    <a:p>
                      <a:pPr algn="l" fontAlgn="base"/>
                      <a:r>
                        <a:rPr lang="en-US" sz="2000" b="1" i="0">
                          <a:solidFill>
                            <a:srgbClr val="FFFFFF"/>
                          </a:solidFill>
                          <a:effectLst/>
                          <a:latin typeface="Open Sans"/>
                        </a:rPr>
                        <a:t>Why have you been invited?</a:t>
                      </a:r>
                    </a:p>
                  </a:txBody>
                  <a:tcPr marL="91428" marR="91428" marT="45714" marB="45714">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2060"/>
                    </a:solidFill>
                  </a:tcPr>
                </a:tc>
                <a:extLst>
                  <a:ext uri="{0D108BD9-81ED-4DB2-BD59-A6C34878D82A}">
                    <a16:rowId xmlns:a16="http://schemas.microsoft.com/office/drawing/2014/main" val="3283716586"/>
                  </a:ext>
                </a:extLst>
              </a:tr>
              <a:tr h="2933764">
                <a:tc>
                  <a:txBody>
                    <a:bodyPr/>
                    <a:lstStyle/>
                    <a:p>
                      <a:pPr marL="0" indent="0" algn="l">
                        <a:spcAft>
                          <a:spcPts val="300"/>
                        </a:spcAft>
                        <a:buFontTx/>
                        <a:buNone/>
                      </a:pPr>
                      <a:r>
                        <a:rPr lang="en-IN" sz="1400" kern="1200">
                          <a:solidFill>
                            <a:schemeClr val="tx1"/>
                          </a:solidFill>
                          <a:latin typeface="+mn-lt"/>
                          <a:ea typeface="+mn-ea"/>
                          <a:cs typeface="+mn-cs"/>
                        </a:rPr>
                        <a:t>As a valued partner with </a:t>
                      </a:r>
                      <a:r>
                        <a:rPr lang="en-IN" sz="1400" b="0" kern="1200">
                          <a:solidFill>
                            <a:schemeClr val="tx1"/>
                          </a:solidFill>
                          <a:latin typeface="+mn-lt"/>
                          <a:ea typeface="+mn-ea"/>
                          <a:cs typeface="+mn-cs"/>
                        </a:rPr>
                        <a:t>Bayer Crop Protection,  your organization is:</a:t>
                      </a:r>
                      <a:endParaRPr lang="en-IN" sz="1400" kern="1200">
                        <a:solidFill>
                          <a:schemeClr val="tx1"/>
                        </a:solidFill>
                        <a:latin typeface="+mn-lt"/>
                        <a:ea typeface="+mn-ea"/>
                        <a:cs typeface="+mn-cs"/>
                      </a:endParaRPr>
                    </a:p>
                    <a:p>
                      <a:pPr marL="0" lvl="0" indent="0" algn="l">
                        <a:spcAft>
                          <a:spcPts val="300"/>
                        </a:spcAft>
                        <a:buNone/>
                      </a:pPr>
                      <a:r>
                        <a:rPr lang="en-IN" sz="1400" b="1" kern="1200">
                          <a:solidFill>
                            <a:schemeClr val="tx1"/>
                          </a:solidFill>
                          <a:latin typeface="+mn-lt"/>
                          <a:ea typeface="+mn-ea"/>
                          <a:cs typeface="+mn-cs"/>
                        </a:rPr>
                        <a:t>Raw Material Supplier:</a:t>
                      </a:r>
                      <a:r>
                        <a:rPr lang="en-IN" sz="1400" kern="1200">
                          <a:solidFill>
                            <a:schemeClr val="tx1"/>
                          </a:solidFill>
                          <a:latin typeface="+mn-lt"/>
                          <a:ea typeface="+mn-ea"/>
                          <a:cs typeface="+mn-cs"/>
                        </a:rPr>
                        <a:t> </a:t>
                      </a:r>
                    </a:p>
                    <a:p>
                      <a:pPr marL="342280" lvl="0" indent="-342900" algn="l">
                        <a:spcBef>
                          <a:spcPts val="600"/>
                        </a:spcBef>
                        <a:spcAft>
                          <a:spcPts val="300"/>
                        </a:spcAft>
                        <a:buFont typeface="Arial" panose="020B0604020202020204" pitchFamily="34" charset="0"/>
                        <a:buChar char="•"/>
                      </a:pPr>
                      <a:r>
                        <a:rPr lang="en-IN" sz="1400" kern="1200">
                          <a:solidFill>
                            <a:schemeClr val="tx1"/>
                          </a:solidFill>
                          <a:latin typeface="+mn-lt"/>
                          <a:ea typeface="+mn-ea"/>
                          <a:cs typeface="+mn-cs"/>
                        </a:rPr>
                        <a:t>Supplying Raw Materials</a:t>
                      </a:r>
                    </a:p>
                    <a:p>
                      <a:pPr marL="342280" lvl="0" indent="-342900" algn="l">
                        <a:spcAft>
                          <a:spcPts val="300"/>
                        </a:spcAft>
                        <a:buFont typeface="Arial" panose="020B0604020202020204" pitchFamily="34" charset="0"/>
                        <a:buChar char="•"/>
                      </a:pPr>
                      <a:r>
                        <a:rPr lang="en-IN" sz="1400" kern="1200">
                          <a:solidFill>
                            <a:schemeClr val="tx1"/>
                          </a:solidFill>
                          <a:latin typeface="+mn-lt"/>
                          <a:ea typeface="+mn-ea"/>
                          <a:cs typeface="+mn-cs"/>
                        </a:rPr>
                        <a:t>Supplying Active Ingredients</a:t>
                      </a:r>
                    </a:p>
                    <a:p>
                      <a:pPr marL="342280" lvl="0" indent="-342900" algn="l">
                        <a:spcAft>
                          <a:spcPts val="300"/>
                        </a:spcAft>
                        <a:buFont typeface="Arial" panose="020B0604020202020204" pitchFamily="34" charset="0"/>
                        <a:buChar char="•"/>
                      </a:pPr>
                      <a:r>
                        <a:rPr lang="en-IN" sz="1400" kern="1200">
                          <a:solidFill>
                            <a:schemeClr val="tx1"/>
                          </a:solidFill>
                          <a:latin typeface="+mn-lt"/>
                          <a:ea typeface="+mn-ea"/>
                          <a:cs typeface="+mn-cs"/>
                        </a:rPr>
                        <a:t>Supplying Formulated Materials </a:t>
                      </a:r>
                    </a:p>
                    <a:p>
                      <a:pPr marL="0" lvl="0" indent="0" algn="l">
                        <a:spcAft>
                          <a:spcPts val="300"/>
                        </a:spcAft>
                        <a:buFont typeface="Arial" panose="020B0604020202020204" pitchFamily="34" charset="0"/>
                        <a:buNone/>
                      </a:pPr>
                      <a:r>
                        <a:rPr lang="en-IN" sz="1400" b="1" kern="1200">
                          <a:solidFill>
                            <a:schemeClr val="tx1"/>
                          </a:solidFill>
                          <a:latin typeface="+mn-lt"/>
                          <a:ea typeface="+mn-ea"/>
                          <a:cs typeface="+mn-cs"/>
                        </a:rPr>
                        <a:t>Or</a:t>
                      </a:r>
                    </a:p>
                    <a:p>
                      <a:pPr marL="0" indent="0" algn="l">
                        <a:spcBef>
                          <a:spcPts val="700"/>
                        </a:spcBef>
                        <a:spcAft>
                          <a:spcPts val="300"/>
                        </a:spcAft>
                        <a:buNone/>
                      </a:pPr>
                      <a:r>
                        <a:rPr lang="en-IN" sz="1400" b="1" kern="1200">
                          <a:solidFill>
                            <a:schemeClr val="tx1"/>
                          </a:solidFill>
                          <a:latin typeface="+mn-lt"/>
                          <a:ea typeface="+mn-ea"/>
                          <a:cs typeface="+mn-cs"/>
                        </a:rPr>
                        <a:t>Logistics Service Provider:</a:t>
                      </a:r>
                      <a:endParaRPr lang="en-IN" sz="1400" b="0" kern="1200">
                        <a:solidFill>
                          <a:schemeClr val="tx1"/>
                        </a:solidFill>
                        <a:latin typeface="+mn-lt"/>
                        <a:ea typeface="+mn-ea"/>
                        <a:cs typeface="+mn-cs"/>
                      </a:endParaRPr>
                    </a:p>
                    <a:p>
                      <a:pPr marL="342280" lvl="0" indent="-342900" algn="l">
                        <a:spcBef>
                          <a:spcPts val="600"/>
                        </a:spcBef>
                        <a:spcAft>
                          <a:spcPts val="300"/>
                        </a:spcAft>
                        <a:buFont typeface="Arial" panose="020B0604020202020204" pitchFamily="34" charset="0"/>
                        <a:buChar char="•"/>
                      </a:pPr>
                      <a:r>
                        <a:rPr lang="en-IN" sz="1400" b="0" kern="1200">
                          <a:solidFill>
                            <a:schemeClr val="tx1"/>
                          </a:solidFill>
                          <a:latin typeface="+mn-lt"/>
                          <a:ea typeface="+mn-ea"/>
                          <a:cs typeface="+mn-cs"/>
                        </a:rPr>
                        <a:t>U</a:t>
                      </a:r>
                      <a:r>
                        <a:rPr lang="en-IN" sz="1400" kern="1200">
                          <a:solidFill>
                            <a:schemeClr val="tx1"/>
                          </a:solidFill>
                          <a:latin typeface="+mn-lt"/>
                          <a:ea typeface="+mn-ea"/>
                          <a:cs typeface="+mn-cs"/>
                        </a:rPr>
                        <a:t>pstream Material Movement - 1</a:t>
                      </a:r>
                      <a:r>
                        <a:rPr lang="en-IN" sz="1400" kern="1200" baseline="30000">
                          <a:solidFill>
                            <a:schemeClr val="tx1"/>
                          </a:solidFill>
                          <a:latin typeface="+mn-lt"/>
                          <a:ea typeface="+mn-ea"/>
                          <a:cs typeface="+mn-cs"/>
                        </a:rPr>
                        <a:t>st</a:t>
                      </a:r>
                      <a:r>
                        <a:rPr lang="en-IN" sz="1400" kern="1200">
                          <a:solidFill>
                            <a:schemeClr val="tx1"/>
                          </a:solidFill>
                          <a:latin typeface="+mn-lt"/>
                          <a:ea typeface="+mn-ea"/>
                          <a:cs typeface="+mn-cs"/>
                        </a:rPr>
                        <a:t>, 2</a:t>
                      </a:r>
                      <a:r>
                        <a:rPr lang="en-IN" sz="1400" kern="1200" baseline="30000">
                          <a:solidFill>
                            <a:schemeClr val="tx1"/>
                          </a:solidFill>
                          <a:latin typeface="+mn-lt"/>
                          <a:ea typeface="+mn-ea"/>
                          <a:cs typeface="+mn-cs"/>
                        </a:rPr>
                        <a:t>nd</a:t>
                      </a:r>
                      <a:r>
                        <a:rPr lang="en-IN" sz="1400" kern="1200">
                          <a:solidFill>
                            <a:schemeClr val="tx1"/>
                          </a:solidFill>
                          <a:latin typeface="+mn-lt"/>
                          <a:ea typeface="+mn-ea"/>
                          <a:cs typeface="+mn-cs"/>
                        </a:rPr>
                        <a:t>, 3</a:t>
                      </a:r>
                      <a:r>
                        <a:rPr lang="en-IN" sz="1400" kern="1200" baseline="30000">
                          <a:solidFill>
                            <a:schemeClr val="tx1"/>
                          </a:solidFill>
                          <a:latin typeface="+mn-lt"/>
                          <a:ea typeface="+mn-ea"/>
                          <a:cs typeface="+mn-cs"/>
                        </a:rPr>
                        <a:t>rd</a:t>
                      </a:r>
                      <a:r>
                        <a:rPr lang="en-IN" sz="1400" kern="1200">
                          <a:solidFill>
                            <a:schemeClr val="tx1"/>
                          </a:solidFill>
                          <a:latin typeface="+mn-lt"/>
                          <a:ea typeface="+mn-ea"/>
                          <a:cs typeface="+mn-cs"/>
                        </a:rPr>
                        <a:t> Leg of Transportation</a:t>
                      </a:r>
                    </a:p>
                    <a:p>
                      <a:pPr marL="342280" lvl="0" indent="-342900" algn="l">
                        <a:spcAft>
                          <a:spcPts val="300"/>
                        </a:spcAft>
                        <a:buFont typeface="Arial" panose="020B0604020202020204" pitchFamily="34" charset="0"/>
                        <a:buChar char="•"/>
                      </a:pPr>
                      <a:r>
                        <a:rPr lang="en-IN" sz="1400" kern="1200">
                          <a:solidFill>
                            <a:schemeClr val="tx1"/>
                          </a:solidFill>
                          <a:latin typeface="+mn-lt"/>
                          <a:ea typeface="+mn-ea"/>
                          <a:cs typeface="+mn-cs"/>
                        </a:rPr>
                        <a:t>Domestic Intercompany Business</a:t>
                      </a:r>
                    </a:p>
                    <a:p>
                      <a:pPr marL="342280" lvl="0" indent="-342900" algn="l">
                        <a:spcAft>
                          <a:spcPts val="300"/>
                        </a:spcAft>
                        <a:buFont typeface="Arial" panose="020B0604020202020204" pitchFamily="34" charset="0"/>
                        <a:buChar char="•"/>
                      </a:pPr>
                      <a:r>
                        <a:rPr lang="en-IN" sz="1400" kern="1200">
                          <a:solidFill>
                            <a:schemeClr val="tx1"/>
                          </a:solidFill>
                          <a:latin typeface="+mn-lt"/>
                          <a:ea typeface="+mn-ea"/>
                          <a:cs typeface="+mn-cs"/>
                        </a:rPr>
                        <a:t>North American Glyphosate Distribution</a:t>
                      </a:r>
                    </a:p>
                  </a:txBody>
                  <a:tcPr marL="91428" marR="91428" marT="45714" marB="45714">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extLst>
                  <a:ext uri="{0D108BD9-81ED-4DB2-BD59-A6C34878D82A}">
                    <a16:rowId xmlns:a16="http://schemas.microsoft.com/office/drawing/2014/main" val="2455236978"/>
                  </a:ext>
                </a:extLst>
              </a:tr>
            </a:tbl>
          </a:graphicData>
        </a:graphic>
      </p:graphicFrame>
      <p:graphicFrame>
        <p:nvGraphicFramePr>
          <p:cNvPr id="3" name="Table 2">
            <a:extLst>
              <a:ext uri="{FF2B5EF4-FFF2-40B4-BE49-F238E27FC236}">
                <a16:creationId xmlns:a16="http://schemas.microsoft.com/office/drawing/2014/main" id="{CA9C21C4-2AEC-CC4C-240D-B02DAA76F564}"/>
              </a:ext>
            </a:extLst>
          </p:cNvPr>
          <p:cNvGraphicFramePr>
            <a:graphicFrameLocks noGrp="1"/>
          </p:cNvGraphicFramePr>
          <p:nvPr>
            <p:extLst>
              <p:ext uri="{D42A27DB-BD31-4B8C-83A1-F6EECF244321}">
                <p14:modId xmlns:p14="http://schemas.microsoft.com/office/powerpoint/2010/main" val="1226178652"/>
              </p:ext>
            </p:extLst>
          </p:nvPr>
        </p:nvGraphicFramePr>
        <p:xfrm>
          <a:off x="296453" y="1372746"/>
          <a:ext cx="11593892" cy="1329751"/>
        </p:xfrm>
        <a:graphic>
          <a:graphicData uri="http://schemas.openxmlformats.org/drawingml/2006/table">
            <a:tbl>
              <a:tblPr/>
              <a:tblGrid>
                <a:gridCol w="11593892">
                  <a:extLst>
                    <a:ext uri="{9D8B030D-6E8A-4147-A177-3AD203B41FA5}">
                      <a16:colId xmlns:a16="http://schemas.microsoft.com/office/drawing/2014/main" val="3395566877"/>
                    </a:ext>
                  </a:extLst>
                </a:gridCol>
              </a:tblGrid>
              <a:tr h="482476">
                <a:tc>
                  <a:txBody>
                    <a:bodyPr/>
                    <a:lstStyle/>
                    <a:p>
                      <a:pPr algn="l" fontAlgn="base"/>
                      <a:r>
                        <a:rPr lang="en-US" sz="2000" b="1" i="0" kern="1200">
                          <a:solidFill>
                            <a:srgbClr val="FFFFFF"/>
                          </a:solidFill>
                          <a:effectLst/>
                          <a:latin typeface="Open Sans"/>
                          <a:ea typeface="+mn-ea"/>
                          <a:cs typeface="+mn-cs"/>
                        </a:rPr>
                        <a:t>SmartCenter and One Network</a:t>
                      </a:r>
                    </a:p>
                  </a:txBody>
                  <a:tcPr marL="91428" marR="91428" marT="45714" marB="45714">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2060"/>
                    </a:solidFill>
                  </a:tcPr>
                </a:tc>
                <a:extLst>
                  <a:ext uri="{0D108BD9-81ED-4DB2-BD59-A6C34878D82A}">
                    <a16:rowId xmlns:a16="http://schemas.microsoft.com/office/drawing/2014/main" val="1782195481"/>
                  </a:ext>
                </a:extLst>
              </a:tr>
              <a:tr h="847275">
                <a:tc>
                  <a:txBody>
                    <a:bodyPr/>
                    <a:lstStyle/>
                    <a:p>
                      <a:pPr marL="0" indent="0" fontAlgn="base">
                        <a:spcBef>
                          <a:spcPts val="600"/>
                        </a:spcBef>
                        <a:buFontTx/>
                        <a:buNone/>
                      </a:pPr>
                      <a:r>
                        <a:rPr lang="en-US" sz="1400" b="0" kern="1200" err="1">
                          <a:solidFill>
                            <a:schemeClr val="tx1"/>
                          </a:solidFill>
                          <a:latin typeface="Open Sans"/>
                          <a:ea typeface="+mn-ea"/>
                          <a:cs typeface="+mn-cs"/>
                        </a:rPr>
                        <a:t>SmartCenter</a:t>
                      </a:r>
                      <a:r>
                        <a:rPr lang="en-US" sz="1400" b="0" kern="1200">
                          <a:solidFill>
                            <a:schemeClr val="tx1"/>
                          </a:solidFill>
                          <a:latin typeface="Open Sans"/>
                          <a:ea typeface="+mn-ea"/>
                          <a:cs typeface="+mn-cs"/>
                        </a:rPr>
                        <a:t> is a </a:t>
                      </a:r>
                      <a:r>
                        <a:rPr lang="en-US" sz="1400" b="1" kern="1200">
                          <a:solidFill>
                            <a:schemeClr val="tx1"/>
                          </a:solidFill>
                          <a:latin typeface="Open Sans"/>
                          <a:ea typeface="+mn-ea"/>
                          <a:cs typeface="+mn-cs"/>
                        </a:rPr>
                        <a:t>Global Bayer Supply Chain Platform </a:t>
                      </a:r>
                      <a:r>
                        <a:rPr lang="en-US" sz="1400" b="0" kern="1200">
                          <a:solidFill>
                            <a:schemeClr val="tx1"/>
                          </a:solidFill>
                          <a:latin typeface="Open Sans"/>
                          <a:ea typeface="+mn-ea"/>
                          <a:cs typeface="+mn-cs"/>
                        </a:rPr>
                        <a:t>that consolidates disparate data sources into our Crop Science Data Warehouse. One Network integrates our SAP ERP, </a:t>
                      </a:r>
                      <a:r>
                        <a:rPr lang="en-US" sz="1400" b="0" kern="1200" err="1">
                          <a:solidFill>
                            <a:schemeClr val="tx1"/>
                          </a:solidFill>
                          <a:latin typeface="Open Sans"/>
                          <a:ea typeface="+mn-ea"/>
                          <a:cs typeface="+mn-cs"/>
                        </a:rPr>
                        <a:t>FourKites</a:t>
                      </a:r>
                      <a:r>
                        <a:rPr lang="en-US" sz="1400" b="0" kern="1200">
                          <a:solidFill>
                            <a:schemeClr val="tx1"/>
                          </a:solidFill>
                          <a:latin typeface="Open Sans"/>
                          <a:ea typeface="+mn-ea"/>
                          <a:cs typeface="+mn-cs"/>
                        </a:rPr>
                        <a:t>, and transportation systems with our data warehouse and our upstream logistics activities to provide End-to-End visibility, actionability, data analytics, KPIs, and alerts to all partners. </a:t>
                      </a:r>
                    </a:p>
                  </a:txBody>
                  <a:tcPr marL="91428" marR="91428" marT="45714" marB="45714">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extLst>
                  <a:ext uri="{0D108BD9-81ED-4DB2-BD59-A6C34878D82A}">
                    <a16:rowId xmlns:a16="http://schemas.microsoft.com/office/drawing/2014/main" val="268847508"/>
                  </a:ext>
                </a:extLst>
              </a:tr>
            </a:tbl>
          </a:graphicData>
        </a:graphic>
      </p:graphicFrame>
    </p:spTree>
    <p:extLst>
      <p:ext uri="{BB962C8B-B14F-4D97-AF65-F5344CB8AC3E}">
        <p14:creationId xmlns:p14="http://schemas.microsoft.com/office/powerpoint/2010/main" val="12873831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53D61D74-7667-418B-79BA-8B3D88D7D0F6}"/>
              </a:ext>
            </a:extLst>
          </p:cNvPr>
          <p:cNvSpPr/>
          <p:nvPr/>
        </p:nvSpPr>
        <p:spPr>
          <a:xfrm>
            <a:off x="132371" y="1737010"/>
            <a:ext cx="12004411" cy="4019930"/>
          </a:xfrm>
          <a:prstGeom prst="roundRect">
            <a:avLst/>
          </a:prstGeom>
          <a:solidFill>
            <a:schemeClr val="bg2">
              <a:lumMod val="90000"/>
            </a:schemeClr>
          </a:solidFill>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7C082A7E-E310-17E3-E129-649341E980C1}"/>
              </a:ext>
            </a:extLst>
          </p:cNvPr>
          <p:cNvSpPr>
            <a:spLocks noGrp="1"/>
          </p:cNvSpPr>
          <p:nvPr>
            <p:ph type="body" sz="quarter" idx="11"/>
          </p:nvPr>
        </p:nvSpPr>
        <p:spPr/>
        <p:txBody>
          <a:bodyPr/>
          <a:lstStyle/>
          <a:p>
            <a:r>
              <a:rPr lang="en-US" sz="3200">
                <a:solidFill>
                  <a:srgbClr val="FFFFFF"/>
                </a:solidFill>
                <a:latin typeface="Open Sans"/>
                <a:ea typeface="Open Sans"/>
                <a:cs typeface="Arial"/>
              </a:rPr>
              <a:t>RMS - Different Maturities in terms of communication &amp; connections</a:t>
            </a:r>
          </a:p>
        </p:txBody>
      </p:sp>
      <p:sp>
        <p:nvSpPr>
          <p:cNvPr id="3" name="Text Placeholder 2">
            <a:extLst>
              <a:ext uri="{FF2B5EF4-FFF2-40B4-BE49-F238E27FC236}">
                <a16:creationId xmlns:a16="http://schemas.microsoft.com/office/drawing/2014/main" id="{95EACCFC-1AB4-E705-39CF-082950901B82}"/>
              </a:ext>
            </a:extLst>
          </p:cNvPr>
          <p:cNvSpPr>
            <a:spLocks noGrp="1"/>
          </p:cNvSpPr>
          <p:nvPr>
            <p:ph type="body" sz="quarter" idx="12"/>
          </p:nvPr>
        </p:nvSpPr>
        <p:spPr>
          <a:xfrm>
            <a:off x="237274" y="1998511"/>
            <a:ext cx="11796525" cy="3887582"/>
          </a:xfrm>
        </p:spPr>
        <p:txBody>
          <a:bodyPr vert="horz" lIns="91440" tIns="45720" rIns="91440" bIns="45720" rtlCol="0" anchor="t">
            <a:normAutofit/>
          </a:bodyPr>
          <a:lstStyle/>
          <a:p>
            <a:pPr algn="ctr"/>
            <a:r>
              <a:rPr lang="en-US" sz="2400" b="1">
                <a:solidFill>
                  <a:schemeClr val="tx1"/>
                </a:solidFill>
                <a:latin typeface="Open Sans"/>
                <a:ea typeface="Open Sans"/>
                <a:cs typeface="Arial"/>
              </a:rPr>
              <a:t>Raw Material Supplier</a:t>
            </a:r>
            <a:endParaRPr lang="en-US" sz="2400" b="1">
              <a:solidFill>
                <a:schemeClr val="tx1"/>
              </a:solidFill>
              <a:latin typeface="Open Sans"/>
            </a:endParaRPr>
          </a:p>
          <a:p>
            <a:pPr marL="285750" indent="-285750">
              <a:buFont typeface="Wingdings" panose="020B0604020202020204" pitchFamily="34" charset="0"/>
              <a:buChar char="q"/>
            </a:pPr>
            <a:r>
              <a:rPr lang="en-US" b="1">
                <a:solidFill>
                  <a:schemeClr val="tx1"/>
                </a:solidFill>
                <a:latin typeface="Open Sans"/>
                <a:ea typeface="Open Sans"/>
                <a:cs typeface="Arial"/>
              </a:rPr>
              <a:t>Currently</a:t>
            </a:r>
            <a:r>
              <a:rPr lang="en-US">
                <a:solidFill>
                  <a:schemeClr val="tx1"/>
                </a:solidFill>
                <a:latin typeface="Open Sans"/>
                <a:ea typeface="Open Sans"/>
                <a:cs typeface="Arial"/>
              </a:rPr>
              <a:t>, some Bayer suppliers are sending copies of the shipping documents to a common mailbox</a:t>
            </a:r>
            <a:endParaRPr lang="en-US">
              <a:solidFill>
                <a:schemeClr val="tx1"/>
              </a:solidFill>
              <a:latin typeface="Open Sans" panose="020B0606030504020204" pitchFamily="34" charset="0"/>
            </a:endParaRPr>
          </a:p>
          <a:p>
            <a:pPr marL="972820" lvl="1" indent="-285750">
              <a:buFont typeface="Wingdings" panose="020B0604020202020204" pitchFamily="34" charset="0"/>
              <a:buChar char="v"/>
            </a:pPr>
            <a:r>
              <a:rPr lang="en-US" sz="1600" b="1">
                <a:solidFill>
                  <a:schemeClr val="tx1"/>
                </a:solidFill>
                <a:latin typeface="Open Sans"/>
                <a:ea typeface="Open Sans"/>
                <a:cs typeface="Arial"/>
              </a:rPr>
              <a:t>Additional request</a:t>
            </a:r>
            <a:r>
              <a:rPr lang="en-US" sz="1600">
                <a:solidFill>
                  <a:schemeClr val="tx1"/>
                </a:solidFill>
                <a:latin typeface="Open Sans"/>
                <a:ea typeface="Open Sans"/>
                <a:cs typeface="Arial"/>
              </a:rPr>
              <a:t>: being onboarded onto One Network and increase visibility by sharing 1st leg details</a:t>
            </a:r>
            <a:endParaRPr lang="en-US" strike="sngStrike">
              <a:solidFill>
                <a:schemeClr val="tx1"/>
              </a:solidFill>
              <a:latin typeface="Open Sans"/>
              <a:ea typeface="Open Sans"/>
              <a:cs typeface="Arial"/>
            </a:endParaRPr>
          </a:p>
          <a:p>
            <a:pPr marL="285750" indent="-285750">
              <a:buFont typeface="Wingdings" panose="020B0604020202020204" pitchFamily="34" charset="0"/>
              <a:buChar char="q"/>
            </a:pPr>
            <a:r>
              <a:rPr lang="en-US" b="1">
                <a:solidFill>
                  <a:schemeClr val="tx1"/>
                </a:solidFill>
                <a:latin typeface="Open Sans"/>
                <a:ea typeface="Open Sans"/>
                <a:cs typeface="Arial"/>
              </a:rPr>
              <a:t>Currently</a:t>
            </a:r>
            <a:r>
              <a:rPr lang="en-US">
                <a:solidFill>
                  <a:schemeClr val="tx1"/>
                </a:solidFill>
                <a:latin typeface="Open Sans"/>
                <a:ea typeface="Open Sans"/>
                <a:cs typeface="Arial"/>
              </a:rPr>
              <a:t>, some Bayer Suppliers don’t share any information on 1st, 2</a:t>
            </a:r>
            <a:r>
              <a:rPr lang="en-US" baseline="30000">
                <a:solidFill>
                  <a:schemeClr val="tx1"/>
                </a:solidFill>
                <a:latin typeface="Open Sans"/>
                <a:ea typeface="Open Sans"/>
                <a:cs typeface="Arial"/>
              </a:rPr>
              <a:t>nd</a:t>
            </a:r>
            <a:r>
              <a:rPr lang="en-US">
                <a:solidFill>
                  <a:schemeClr val="tx1"/>
                </a:solidFill>
                <a:latin typeface="Open Sans"/>
                <a:ea typeface="Open Sans"/>
                <a:cs typeface="Arial"/>
              </a:rPr>
              <a:t> leg or domestic transports</a:t>
            </a:r>
          </a:p>
          <a:p>
            <a:pPr marL="972820" lvl="1" indent="-285750">
              <a:buFont typeface="Wingdings" panose="020B0604020202020204" pitchFamily="34" charset="0"/>
              <a:buChar char="v"/>
            </a:pPr>
            <a:r>
              <a:rPr lang="en-US" sz="1600" b="1">
                <a:solidFill>
                  <a:schemeClr val="tx1"/>
                </a:solidFill>
                <a:latin typeface="Open Sans"/>
                <a:ea typeface="Open Sans"/>
                <a:cs typeface="Arial"/>
              </a:rPr>
              <a:t>New request</a:t>
            </a:r>
            <a:r>
              <a:rPr lang="en-US" sz="1600">
                <a:solidFill>
                  <a:schemeClr val="tx1"/>
                </a:solidFill>
                <a:latin typeface="Open Sans"/>
                <a:ea typeface="Open Sans"/>
                <a:cs typeface="Arial"/>
              </a:rPr>
              <a:t>: to be onboarded onto One Network to increase Upstream visibility</a:t>
            </a:r>
          </a:p>
          <a:p>
            <a:pPr marL="285750" indent="-285750">
              <a:buFont typeface="Wingdings" panose="020B0604020202020204" pitchFamily="34" charset="0"/>
              <a:buChar char="q"/>
            </a:pPr>
            <a:r>
              <a:rPr lang="en-US">
                <a:solidFill>
                  <a:schemeClr val="tx1"/>
                </a:solidFill>
                <a:latin typeface="Open Sans"/>
                <a:ea typeface="Open Sans"/>
                <a:cs typeface="Arial"/>
              </a:rPr>
              <a:t>Suppliers may be on Ariba (Different Process) – no overlap with Ariba project</a:t>
            </a:r>
          </a:p>
          <a:p>
            <a:endParaRPr lang="en-US">
              <a:solidFill>
                <a:schemeClr val="tx1"/>
              </a:solidFill>
              <a:latin typeface="Open Sans"/>
              <a:ea typeface="Open Sans"/>
              <a:cs typeface="Arial"/>
            </a:endParaRPr>
          </a:p>
          <a:p>
            <a:pPr algn="ctr"/>
            <a:r>
              <a:rPr lang="en-US">
                <a:solidFill>
                  <a:schemeClr val="tx1"/>
                </a:solidFill>
                <a:latin typeface="Open Sans"/>
                <a:ea typeface="Open Sans"/>
                <a:cs typeface="Arial"/>
              </a:rPr>
              <a:t>For our raw material suppliers, onboarding onto the One Network platform will allow the network to increase visibility on 1st &amp; 2nd leg, as well as reducing manual workload and be part of the One Network community</a:t>
            </a:r>
          </a:p>
          <a:p>
            <a:endParaRPr lang="en-US">
              <a:solidFill>
                <a:schemeClr val="tx1"/>
              </a:solidFill>
              <a:latin typeface="Arial"/>
              <a:ea typeface="Open Sans"/>
              <a:cs typeface="Arial"/>
            </a:endParaRPr>
          </a:p>
        </p:txBody>
      </p:sp>
    </p:spTree>
    <p:extLst>
      <p:ext uri="{BB962C8B-B14F-4D97-AF65-F5344CB8AC3E}">
        <p14:creationId xmlns:p14="http://schemas.microsoft.com/office/powerpoint/2010/main" val="9540456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AD6DA829-B88B-9940-7A69-8B2210CED0EA}"/>
              </a:ext>
            </a:extLst>
          </p:cNvPr>
          <p:cNvSpPr/>
          <p:nvPr/>
        </p:nvSpPr>
        <p:spPr>
          <a:xfrm>
            <a:off x="69910" y="1667736"/>
            <a:ext cx="12092758" cy="4102717"/>
          </a:xfrm>
          <a:prstGeom prst="roundRect">
            <a:avLst/>
          </a:prstGeom>
          <a:solidFill>
            <a:schemeClr val="bg2">
              <a:lumMod val="90000"/>
            </a:schemeClr>
          </a:solidFill>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7C082A7E-E310-17E3-E129-649341E980C1}"/>
              </a:ext>
            </a:extLst>
          </p:cNvPr>
          <p:cNvSpPr>
            <a:spLocks noGrp="1"/>
          </p:cNvSpPr>
          <p:nvPr>
            <p:ph type="body" sz="quarter" idx="11"/>
          </p:nvPr>
        </p:nvSpPr>
        <p:spPr/>
        <p:txBody>
          <a:bodyPr/>
          <a:lstStyle/>
          <a:p>
            <a:r>
              <a:rPr lang="en-US" sz="3200">
                <a:solidFill>
                  <a:srgbClr val="FFFFFF"/>
                </a:solidFill>
                <a:latin typeface="Open Sans"/>
                <a:ea typeface="Open Sans"/>
                <a:cs typeface="Arial"/>
              </a:rPr>
              <a:t>LSP - Different Maturities in terms of communication &amp; connections</a:t>
            </a:r>
          </a:p>
        </p:txBody>
      </p:sp>
      <p:sp>
        <p:nvSpPr>
          <p:cNvPr id="6" name="Text Placeholder 2">
            <a:extLst>
              <a:ext uri="{FF2B5EF4-FFF2-40B4-BE49-F238E27FC236}">
                <a16:creationId xmlns:a16="http://schemas.microsoft.com/office/drawing/2014/main" id="{67198E3D-3C9A-5220-0DC7-94E7ACF46720}"/>
              </a:ext>
            </a:extLst>
          </p:cNvPr>
          <p:cNvSpPr txBox="1">
            <a:spLocks/>
          </p:cNvSpPr>
          <p:nvPr/>
        </p:nvSpPr>
        <p:spPr>
          <a:xfrm>
            <a:off x="235665" y="1762300"/>
            <a:ext cx="11873829" cy="4061428"/>
          </a:xfrm>
          <a:prstGeom prst="rect">
            <a:avLst/>
          </a:prstGeom>
        </p:spPr>
        <p:txBody>
          <a:bodyPr vert="horz" lIns="91440" tIns="45720" rIns="91440" bIns="45720" rtlCol="0" anchor="t">
            <a:normAutofit fontScale="92500" lnSpcReduction="20000"/>
          </a:bodyPr>
          <a:lstStyle>
            <a:lvl1pPr marL="0" indent="0" algn="l" defTabSz="1219170" rtl="0" eaLnBrk="1" latinLnBrk="0" hangingPunct="1">
              <a:spcBef>
                <a:spcPts val="1200"/>
              </a:spcBef>
              <a:buClr>
                <a:srgbClr val="2DA2BF"/>
              </a:buClr>
              <a:buFont typeface="Arial" panose="020B0604020202020204" pitchFamily="34" charset="0"/>
              <a:buNone/>
              <a:tabLst/>
              <a:defRPr sz="1600" b="0" i="0" kern="1200" spc="0">
                <a:solidFill>
                  <a:srgbClr val="00BCFF"/>
                </a:solidFill>
                <a:latin typeface="Arial" panose="020B0604020202020204" pitchFamily="34" charset="0"/>
                <a:ea typeface="Open Sans" panose="020B0606030504020204" pitchFamily="34" charset="0"/>
                <a:cs typeface="Arial" panose="020B0604020202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Arial" panose="020B0604020202020204" pitchFamily="34" charset="0"/>
                <a:ea typeface="+mn-ea"/>
                <a:cs typeface="Arial" panose="020B0604020202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Arial" panose="020B0604020202020204" pitchFamily="34" charset="0"/>
                <a:ea typeface="+mn-ea"/>
                <a:cs typeface="Arial" panose="020B0604020202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Arial" panose="020B0604020202020204" pitchFamily="34" charset="0"/>
                <a:ea typeface="+mn-ea"/>
                <a:cs typeface="Arial" panose="020B0604020202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ctr"/>
            <a:r>
              <a:rPr lang="en-US" sz="2400" b="1">
                <a:solidFill>
                  <a:schemeClr val="tx1"/>
                </a:solidFill>
                <a:latin typeface="Open Sans"/>
                <a:ea typeface="Open Sans"/>
                <a:cs typeface="Arial"/>
              </a:rPr>
              <a:t>Logistic Service Provider</a:t>
            </a:r>
            <a:endParaRPr lang="en-US">
              <a:solidFill>
                <a:schemeClr val="tx1"/>
              </a:solidFill>
            </a:endParaRPr>
          </a:p>
          <a:p>
            <a:pPr marL="285750" indent="-285750">
              <a:buFont typeface="Wingdings" panose="020B0604020202020204" pitchFamily="34" charset="0"/>
              <a:buChar char="q"/>
            </a:pPr>
            <a:r>
              <a:rPr lang="en-US" sz="1700" b="1">
                <a:solidFill>
                  <a:schemeClr val="tx1"/>
                </a:solidFill>
                <a:latin typeface="Open Sans"/>
                <a:ea typeface="Open Sans"/>
                <a:cs typeface="Arial"/>
              </a:rPr>
              <a:t>Currently</a:t>
            </a:r>
            <a:r>
              <a:rPr lang="en-US" sz="1700">
                <a:solidFill>
                  <a:schemeClr val="tx1"/>
                </a:solidFill>
                <a:latin typeface="Open Sans"/>
                <a:ea typeface="Open Sans"/>
                <a:cs typeface="Arial"/>
              </a:rPr>
              <a:t> sharing details via EDI-API onto Bayer's TMS</a:t>
            </a:r>
            <a:endParaRPr lang="en-US">
              <a:solidFill>
                <a:schemeClr val="tx1"/>
              </a:solidFill>
            </a:endParaRPr>
          </a:p>
          <a:p>
            <a:pPr marL="972820" lvl="1" indent="-285750">
              <a:buFont typeface="Wingdings" panose="020B0604020202020204" pitchFamily="34" charset="0"/>
              <a:buChar char="v"/>
            </a:pPr>
            <a:r>
              <a:rPr lang="en-US" sz="1700">
                <a:solidFill>
                  <a:schemeClr val="tx1"/>
                </a:solidFill>
                <a:latin typeface="Open Sans"/>
                <a:ea typeface="Open Sans"/>
                <a:cs typeface="Arial"/>
              </a:rPr>
              <a:t>One Network </a:t>
            </a:r>
            <a:r>
              <a:rPr lang="en-US" sz="1700" b="1">
                <a:solidFill>
                  <a:schemeClr val="tx1"/>
                </a:solidFill>
                <a:latin typeface="Open Sans"/>
                <a:ea typeface="Open Sans"/>
                <a:cs typeface="Arial"/>
              </a:rPr>
              <a:t>won’t replace </a:t>
            </a:r>
            <a:r>
              <a:rPr lang="en-US" sz="1700">
                <a:solidFill>
                  <a:schemeClr val="tx1"/>
                </a:solidFill>
                <a:latin typeface="Open Sans"/>
                <a:ea typeface="Open Sans"/>
                <a:cs typeface="Arial"/>
              </a:rPr>
              <a:t>this process</a:t>
            </a:r>
            <a:endParaRPr lang="en-US">
              <a:solidFill>
                <a:schemeClr val="tx1"/>
              </a:solidFill>
            </a:endParaRPr>
          </a:p>
          <a:p>
            <a:pPr marL="972820" lvl="1" indent="-285750">
              <a:buFont typeface="Wingdings" panose="020B0604020202020204" pitchFamily="34" charset="0"/>
              <a:buChar char="v"/>
            </a:pPr>
            <a:r>
              <a:rPr lang="en-US" sz="1700" b="1">
                <a:solidFill>
                  <a:schemeClr val="tx1"/>
                </a:solidFill>
                <a:latin typeface="Open Sans"/>
                <a:ea typeface="Open Sans"/>
                <a:cs typeface="Arial"/>
              </a:rPr>
              <a:t>Optional possibility </a:t>
            </a:r>
            <a:r>
              <a:rPr lang="en-US" sz="1700">
                <a:solidFill>
                  <a:schemeClr val="tx1"/>
                </a:solidFill>
                <a:latin typeface="Open Sans"/>
                <a:ea typeface="Open Sans"/>
                <a:cs typeface="Arial"/>
              </a:rPr>
              <a:t>to use One Network platform due to all value added</a:t>
            </a:r>
            <a:endParaRPr lang="en-US">
              <a:solidFill>
                <a:schemeClr val="tx1"/>
              </a:solidFill>
            </a:endParaRPr>
          </a:p>
          <a:p>
            <a:pPr marL="285750" indent="-285750">
              <a:buFont typeface="Wingdings" panose="020B0604020202020204" pitchFamily="34" charset="0"/>
              <a:buChar char="q"/>
            </a:pPr>
            <a:r>
              <a:rPr lang="en-US" sz="1700" b="1">
                <a:solidFill>
                  <a:schemeClr val="tx1"/>
                </a:solidFill>
                <a:latin typeface="Open Sans"/>
                <a:ea typeface="Open Sans"/>
                <a:cs typeface="Arial"/>
              </a:rPr>
              <a:t>Currently</a:t>
            </a:r>
            <a:r>
              <a:rPr lang="en-US" sz="1700">
                <a:solidFill>
                  <a:schemeClr val="tx1"/>
                </a:solidFill>
                <a:latin typeface="Open Sans"/>
                <a:ea typeface="Open Sans"/>
                <a:cs typeface="Arial"/>
              </a:rPr>
              <a:t> on Bayer's TMS without EDI. Manual process involved</a:t>
            </a:r>
            <a:endParaRPr lang="en-US">
              <a:solidFill>
                <a:schemeClr val="tx1"/>
              </a:solidFill>
            </a:endParaRPr>
          </a:p>
          <a:p>
            <a:pPr marL="972820" lvl="1" indent="-285750">
              <a:buFont typeface="Wingdings" panose="020B0604020202020204" pitchFamily="34" charset="0"/>
              <a:buChar char="v"/>
            </a:pPr>
            <a:r>
              <a:rPr lang="en-US" sz="1700">
                <a:solidFill>
                  <a:schemeClr val="tx1"/>
                </a:solidFill>
                <a:latin typeface="Open Sans"/>
                <a:ea typeface="Open Sans"/>
                <a:cs typeface="Arial"/>
              </a:rPr>
              <a:t>Additional request to be onboarded onto One Network and provide visibility on 3rd leg and intercompany movements and in some cases, distribution</a:t>
            </a:r>
            <a:endParaRPr lang="en-US">
              <a:solidFill>
                <a:schemeClr val="tx1"/>
              </a:solidFill>
            </a:endParaRPr>
          </a:p>
          <a:p>
            <a:pPr marL="285750" indent="-285750">
              <a:buFont typeface="Wingdings" panose="020B0604020202020204" pitchFamily="34" charset="0"/>
              <a:buChar char="q"/>
            </a:pPr>
            <a:r>
              <a:rPr lang="en-US" sz="1700" b="1">
                <a:solidFill>
                  <a:schemeClr val="tx1"/>
                </a:solidFill>
                <a:latin typeface="Open Sans"/>
                <a:ea typeface="Open Sans"/>
                <a:cs typeface="Arial"/>
              </a:rPr>
              <a:t>Currently</a:t>
            </a:r>
            <a:r>
              <a:rPr lang="en-US" sz="1700">
                <a:solidFill>
                  <a:schemeClr val="tx1"/>
                </a:solidFill>
                <a:latin typeface="Open Sans"/>
                <a:ea typeface="Open Sans"/>
                <a:cs typeface="Arial"/>
              </a:rPr>
              <a:t> not but expected to be on Bayer's TMS. (Work-in Progress)</a:t>
            </a:r>
            <a:endParaRPr lang="en-US">
              <a:solidFill>
                <a:schemeClr val="tx1"/>
              </a:solidFill>
            </a:endParaRPr>
          </a:p>
          <a:p>
            <a:pPr marL="972820" lvl="1" indent="-285750">
              <a:buFont typeface="Wingdings" panose="020B0604020202020204" pitchFamily="34" charset="0"/>
              <a:buChar char="v"/>
            </a:pPr>
            <a:r>
              <a:rPr lang="en-US" sz="1700">
                <a:solidFill>
                  <a:schemeClr val="tx1"/>
                </a:solidFill>
                <a:latin typeface="Open Sans"/>
                <a:ea typeface="Open Sans"/>
                <a:cs typeface="Arial"/>
              </a:rPr>
              <a:t>If EDI being established, same as 1st scenario, if no EDI, 2nd scenario should apply</a:t>
            </a:r>
            <a:endParaRPr lang="en-US">
              <a:solidFill>
                <a:schemeClr val="tx1"/>
              </a:solidFill>
            </a:endParaRPr>
          </a:p>
          <a:p>
            <a:pPr marL="285750" indent="-285750">
              <a:buFont typeface="Wingdings" panose="020B0604020202020204" pitchFamily="34" charset="0"/>
              <a:buChar char="q"/>
            </a:pPr>
            <a:r>
              <a:rPr lang="en-US" sz="1700">
                <a:solidFill>
                  <a:schemeClr val="tx1"/>
                </a:solidFill>
                <a:latin typeface="Open Sans"/>
                <a:ea typeface="Open Sans"/>
                <a:cs typeface="Arial"/>
              </a:rPr>
              <a:t>Not on Bayer's TMS</a:t>
            </a:r>
            <a:endParaRPr lang="en-US">
              <a:solidFill>
                <a:schemeClr val="tx1"/>
              </a:solidFill>
            </a:endParaRPr>
          </a:p>
          <a:p>
            <a:pPr marL="972820" lvl="1" indent="-285750">
              <a:buFont typeface="Wingdings" panose="020B0604020202020204" pitchFamily="34" charset="0"/>
              <a:buChar char="v"/>
            </a:pPr>
            <a:r>
              <a:rPr lang="en-US" sz="1700">
                <a:solidFill>
                  <a:schemeClr val="tx1"/>
                </a:solidFill>
                <a:latin typeface="Open Sans"/>
                <a:ea typeface="Open Sans"/>
                <a:cs typeface="Arial"/>
              </a:rPr>
              <a:t>Logistic service provider to be onboarded onto One Network to provide shipment visibility</a:t>
            </a:r>
            <a:endParaRPr lang="en-US">
              <a:solidFill>
                <a:schemeClr val="tx1"/>
              </a:solidFill>
            </a:endParaRPr>
          </a:p>
          <a:p>
            <a:pPr algn="ctr"/>
            <a:r>
              <a:rPr lang="en-US" b="1">
                <a:solidFill>
                  <a:schemeClr val="tx1"/>
                </a:solidFill>
                <a:latin typeface="Open Sans"/>
                <a:ea typeface="Open Sans"/>
                <a:cs typeface="Arial"/>
              </a:rPr>
              <a:t>Onboarding onto One Networks Platform will bring value to both Bayer and LSP</a:t>
            </a:r>
          </a:p>
        </p:txBody>
      </p:sp>
    </p:spTree>
    <p:extLst>
      <p:ext uri="{BB962C8B-B14F-4D97-AF65-F5344CB8AC3E}">
        <p14:creationId xmlns:p14="http://schemas.microsoft.com/office/powerpoint/2010/main" val="19434663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6E4162BB-A4A7-C0DE-511A-436BB14BD418}"/>
              </a:ext>
            </a:extLst>
          </p:cNvPr>
          <p:cNvGrpSpPr/>
          <p:nvPr/>
        </p:nvGrpSpPr>
        <p:grpSpPr>
          <a:xfrm>
            <a:off x="7074346" y="766304"/>
            <a:ext cx="4238856" cy="5150070"/>
            <a:chOff x="7171373" y="713053"/>
            <a:chExt cx="4238856" cy="5150070"/>
          </a:xfrm>
        </p:grpSpPr>
        <p:pic>
          <p:nvPicPr>
            <p:cNvPr id="31" name="Graphic 30">
              <a:extLst>
                <a:ext uri="{FF2B5EF4-FFF2-40B4-BE49-F238E27FC236}">
                  <a16:creationId xmlns:a16="http://schemas.microsoft.com/office/drawing/2014/main" id="{730C09DE-3C08-3503-CDC1-22824805741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80078" y="2252033"/>
              <a:ext cx="1784616" cy="278574"/>
            </a:xfrm>
            <a:prstGeom prst="rect">
              <a:avLst/>
            </a:prstGeom>
          </p:spPr>
        </p:pic>
        <p:pic>
          <p:nvPicPr>
            <p:cNvPr id="32" name="Graphic 31">
              <a:extLst>
                <a:ext uri="{FF2B5EF4-FFF2-40B4-BE49-F238E27FC236}">
                  <a16:creationId xmlns:a16="http://schemas.microsoft.com/office/drawing/2014/main" id="{8DB128BC-55B0-F558-8C35-B7F84316C9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65387" y="4222978"/>
              <a:ext cx="1414000" cy="507790"/>
            </a:xfrm>
            <a:prstGeom prst="rect">
              <a:avLst/>
            </a:prstGeom>
          </p:spPr>
        </p:pic>
        <p:pic>
          <p:nvPicPr>
            <p:cNvPr id="33" name="Graphic 32">
              <a:extLst>
                <a:ext uri="{FF2B5EF4-FFF2-40B4-BE49-F238E27FC236}">
                  <a16:creationId xmlns:a16="http://schemas.microsoft.com/office/drawing/2014/main" id="{28D837B8-5B5F-BBFC-7F2C-D4CEEA7757E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17005" y="5434254"/>
              <a:ext cx="1558529" cy="242787"/>
            </a:xfrm>
            <a:prstGeom prst="rect">
              <a:avLst/>
            </a:prstGeom>
          </p:spPr>
        </p:pic>
        <p:pic>
          <p:nvPicPr>
            <p:cNvPr id="34" name="Graphic 33">
              <a:extLst>
                <a:ext uri="{FF2B5EF4-FFF2-40B4-BE49-F238E27FC236}">
                  <a16:creationId xmlns:a16="http://schemas.microsoft.com/office/drawing/2014/main" id="{C666C304-19D4-712C-FBBF-DFF8BED720C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191662" y="713053"/>
              <a:ext cx="809218" cy="930601"/>
            </a:xfrm>
            <a:prstGeom prst="rect">
              <a:avLst/>
            </a:prstGeom>
          </p:spPr>
        </p:pic>
        <p:pic>
          <p:nvPicPr>
            <p:cNvPr id="35" name="Graphic 34">
              <a:extLst>
                <a:ext uri="{FF2B5EF4-FFF2-40B4-BE49-F238E27FC236}">
                  <a16:creationId xmlns:a16="http://schemas.microsoft.com/office/drawing/2014/main" id="{C8BD9BAD-EB42-C8D2-1988-2644707B43B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71373" y="969423"/>
              <a:ext cx="1802027" cy="417862"/>
            </a:xfrm>
            <a:prstGeom prst="rect">
              <a:avLst/>
            </a:prstGeom>
          </p:spPr>
        </p:pic>
        <p:pic>
          <p:nvPicPr>
            <p:cNvPr id="36" name="Graphic 35">
              <a:extLst>
                <a:ext uri="{FF2B5EF4-FFF2-40B4-BE49-F238E27FC236}">
                  <a16:creationId xmlns:a16="http://schemas.microsoft.com/office/drawing/2014/main" id="{F832AFE5-25AA-3223-AAF6-145F2C04EA4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994771" y="2058260"/>
              <a:ext cx="1202997" cy="666122"/>
            </a:xfrm>
            <a:prstGeom prst="rect">
              <a:avLst/>
            </a:prstGeom>
          </p:spPr>
        </p:pic>
        <p:pic>
          <p:nvPicPr>
            <p:cNvPr id="37" name="Graphic 36">
              <a:extLst>
                <a:ext uri="{FF2B5EF4-FFF2-40B4-BE49-F238E27FC236}">
                  <a16:creationId xmlns:a16="http://schemas.microsoft.com/office/drawing/2014/main" id="{3B6490AA-7040-94C7-5B85-27AA4654EDD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782311" y="4233121"/>
              <a:ext cx="1627918" cy="487504"/>
            </a:xfrm>
            <a:prstGeom prst="rect">
              <a:avLst/>
            </a:prstGeom>
          </p:spPr>
        </p:pic>
        <p:pic>
          <p:nvPicPr>
            <p:cNvPr id="38" name="Graphic 37">
              <a:extLst>
                <a:ext uri="{FF2B5EF4-FFF2-40B4-BE49-F238E27FC236}">
                  <a16:creationId xmlns:a16="http://schemas.microsoft.com/office/drawing/2014/main" id="{9F2F9AD0-4D70-65FB-8B16-5FBC7223DBF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126176" y="3158495"/>
              <a:ext cx="940189" cy="478800"/>
            </a:xfrm>
            <a:prstGeom prst="rect">
              <a:avLst/>
            </a:prstGeom>
          </p:spPr>
        </p:pic>
        <p:pic>
          <p:nvPicPr>
            <p:cNvPr id="39" name="Graphic 38">
              <a:extLst>
                <a:ext uri="{FF2B5EF4-FFF2-40B4-BE49-F238E27FC236}">
                  <a16:creationId xmlns:a16="http://schemas.microsoft.com/office/drawing/2014/main" id="{408D1E49-A3D0-9CDB-ECC5-84FAB737963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209270" y="5319903"/>
              <a:ext cx="1726232" cy="543220"/>
            </a:xfrm>
            <a:prstGeom prst="rect">
              <a:avLst/>
            </a:prstGeom>
          </p:spPr>
        </p:pic>
        <p:pic>
          <p:nvPicPr>
            <p:cNvPr id="40" name="Graphic 39">
              <a:extLst>
                <a:ext uri="{FF2B5EF4-FFF2-40B4-BE49-F238E27FC236}">
                  <a16:creationId xmlns:a16="http://schemas.microsoft.com/office/drawing/2014/main" id="{F1AF37D2-7323-BBF7-B5E9-B51482A6E1EC}"/>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7315854" y="3161948"/>
              <a:ext cx="1513064" cy="471896"/>
            </a:xfrm>
            <a:prstGeom prst="rect">
              <a:avLst/>
            </a:prstGeom>
          </p:spPr>
        </p:pic>
      </p:grpSp>
      <p:grpSp>
        <p:nvGrpSpPr>
          <p:cNvPr id="10" name="Group 9">
            <a:extLst>
              <a:ext uri="{FF2B5EF4-FFF2-40B4-BE49-F238E27FC236}">
                <a16:creationId xmlns:a16="http://schemas.microsoft.com/office/drawing/2014/main" id="{3822191B-1E29-E9B6-D578-5AF27A9D8EA2}"/>
              </a:ext>
            </a:extLst>
          </p:cNvPr>
          <p:cNvGrpSpPr/>
          <p:nvPr/>
        </p:nvGrpSpPr>
        <p:grpSpPr>
          <a:xfrm>
            <a:off x="255026" y="415259"/>
            <a:ext cx="5486400" cy="5898469"/>
            <a:chOff x="264551" y="232415"/>
            <a:chExt cx="5486400" cy="5898469"/>
          </a:xfrm>
        </p:grpSpPr>
        <p:cxnSp>
          <p:nvCxnSpPr>
            <p:cNvPr id="8" name="Straight Connector 7">
              <a:extLst>
                <a:ext uri="{FF2B5EF4-FFF2-40B4-BE49-F238E27FC236}">
                  <a16:creationId xmlns:a16="http://schemas.microsoft.com/office/drawing/2014/main" id="{A4876221-5D72-2C5F-9150-AD60BD1F0AEE}"/>
                </a:ext>
              </a:extLst>
            </p:cNvPr>
            <p:cNvCxnSpPr>
              <a:cxnSpLocks/>
            </p:cNvCxnSpPr>
            <p:nvPr/>
          </p:nvCxnSpPr>
          <p:spPr>
            <a:xfrm>
              <a:off x="264551" y="1712820"/>
              <a:ext cx="5486400"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193E374-4C15-7D0E-FEE9-54ED7668A7BC}"/>
                </a:ext>
              </a:extLst>
            </p:cNvPr>
            <p:cNvCxnSpPr>
              <a:cxnSpLocks/>
            </p:cNvCxnSpPr>
            <p:nvPr/>
          </p:nvCxnSpPr>
          <p:spPr>
            <a:xfrm flipV="1">
              <a:off x="3007751" y="232415"/>
              <a:ext cx="0" cy="585216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6296E2C1-EE13-04E8-D923-0EEE20516D19}"/>
                </a:ext>
              </a:extLst>
            </p:cNvPr>
            <p:cNvGrpSpPr/>
            <p:nvPr/>
          </p:nvGrpSpPr>
          <p:grpSpPr>
            <a:xfrm>
              <a:off x="322293" y="4946845"/>
              <a:ext cx="2468880" cy="1184038"/>
              <a:chOff x="128342" y="4444893"/>
              <a:chExt cx="2468880" cy="1184038"/>
            </a:xfrm>
          </p:grpSpPr>
          <p:sp>
            <p:nvSpPr>
              <p:cNvPr id="12" name="Rectangle 11">
                <a:extLst>
                  <a:ext uri="{FF2B5EF4-FFF2-40B4-BE49-F238E27FC236}">
                    <a16:creationId xmlns:a16="http://schemas.microsoft.com/office/drawing/2014/main" id="{C84A45F0-75B3-ACA0-0377-44623464DF58}"/>
                  </a:ext>
                </a:extLst>
              </p:cNvPr>
              <p:cNvSpPr/>
              <p:nvPr/>
            </p:nvSpPr>
            <p:spPr>
              <a:xfrm>
                <a:off x="128342" y="5171731"/>
                <a:ext cx="246888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Spanning 6 of 7 continents</a:t>
                </a:r>
              </a:p>
            </p:txBody>
          </p:sp>
          <p:sp>
            <p:nvSpPr>
              <p:cNvPr id="17" name="Rectangle 16">
                <a:extLst>
                  <a:ext uri="{FF2B5EF4-FFF2-40B4-BE49-F238E27FC236}">
                    <a16:creationId xmlns:a16="http://schemas.microsoft.com/office/drawing/2014/main" id="{6D6B5E5B-922C-910A-9B56-2EE369069FF2}"/>
                  </a:ext>
                </a:extLst>
              </p:cNvPr>
              <p:cNvSpPr/>
              <p:nvPr/>
            </p:nvSpPr>
            <p:spPr>
              <a:xfrm>
                <a:off x="128342" y="4444893"/>
                <a:ext cx="2468880" cy="586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32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54</a:t>
                </a:r>
              </a:p>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24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Countries</a:t>
                </a:r>
                <a:endParaRPr kumimoji="0" lang="en-US" sz="32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4" name="Group 43">
              <a:extLst>
                <a:ext uri="{FF2B5EF4-FFF2-40B4-BE49-F238E27FC236}">
                  <a16:creationId xmlns:a16="http://schemas.microsoft.com/office/drawing/2014/main" id="{F9FB453A-D1DC-600A-E167-F7726B2DE34E}"/>
                </a:ext>
              </a:extLst>
            </p:cNvPr>
            <p:cNvGrpSpPr/>
            <p:nvPr/>
          </p:nvGrpSpPr>
          <p:grpSpPr>
            <a:xfrm>
              <a:off x="322293" y="1974859"/>
              <a:ext cx="2468880" cy="1184039"/>
              <a:chOff x="4099279" y="1306105"/>
              <a:chExt cx="2468880" cy="1184039"/>
            </a:xfrm>
          </p:grpSpPr>
          <p:sp>
            <p:nvSpPr>
              <p:cNvPr id="13" name="Rectangle 12">
                <a:extLst>
                  <a:ext uri="{FF2B5EF4-FFF2-40B4-BE49-F238E27FC236}">
                    <a16:creationId xmlns:a16="http://schemas.microsoft.com/office/drawing/2014/main" id="{8E3BD6C0-B419-FC09-F656-FFC7B11B1145}"/>
                  </a:ext>
                </a:extLst>
              </p:cNvPr>
              <p:cNvSpPr/>
              <p:nvPr/>
            </p:nvSpPr>
            <p:spPr>
              <a:xfrm>
                <a:off x="4099279" y="2032944"/>
                <a:ext cx="246888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Transacting on the </a:t>
                </a:r>
                <a:br>
                  <a:rPr kumimoji="0" 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Global Logistics Gateway</a:t>
                </a:r>
              </a:p>
            </p:txBody>
          </p:sp>
          <p:sp>
            <p:nvSpPr>
              <p:cNvPr id="18" name="Rectangle 17">
                <a:extLst>
                  <a:ext uri="{FF2B5EF4-FFF2-40B4-BE49-F238E27FC236}">
                    <a16:creationId xmlns:a16="http://schemas.microsoft.com/office/drawing/2014/main" id="{B8CAD5A7-603A-7B85-B8F0-EBA1217B67D9}"/>
                  </a:ext>
                </a:extLst>
              </p:cNvPr>
              <p:cNvSpPr/>
              <p:nvPr/>
            </p:nvSpPr>
            <p:spPr>
              <a:xfrm>
                <a:off x="4099279" y="1306105"/>
                <a:ext cx="2468880" cy="586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32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20K+</a:t>
                </a:r>
              </a:p>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24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Carriers</a:t>
                </a:r>
                <a:endParaRPr kumimoji="0" lang="en-US" sz="32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8" name="Group 47">
              <a:extLst>
                <a:ext uri="{FF2B5EF4-FFF2-40B4-BE49-F238E27FC236}">
                  <a16:creationId xmlns:a16="http://schemas.microsoft.com/office/drawing/2014/main" id="{133936E1-2D86-6616-E5D0-BF959A0DA0F0}"/>
                </a:ext>
              </a:extLst>
            </p:cNvPr>
            <p:cNvGrpSpPr/>
            <p:nvPr/>
          </p:nvGrpSpPr>
          <p:grpSpPr>
            <a:xfrm>
              <a:off x="3224329" y="1974860"/>
              <a:ext cx="2468880" cy="1184038"/>
              <a:chOff x="128342" y="2838392"/>
              <a:chExt cx="2468880" cy="1184038"/>
            </a:xfrm>
          </p:grpSpPr>
          <p:sp>
            <p:nvSpPr>
              <p:cNvPr id="14" name="Rectangle 13">
                <a:extLst>
                  <a:ext uri="{FF2B5EF4-FFF2-40B4-BE49-F238E27FC236}">
                    <a16:creationId xmlns:a16="http://schemas.microsoft.com/office/drawing/2014/main" id="{E52C2348-76C5-4343-C843-7543FE3DC1E6}"/>
                  </a:ext>
                </a:extLst>
              </p:cNvPr>
              <p:cNvSpPr/>
              <p:nvPr/>
            </p:nvSpPr>
            <p:spPr>
              <a:xfrm>
                <a:off x="128342" y="3565230"/>
                <a:ext cx="246888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Transactions handled per day</a:t>
                </a:r>
              </a:p>
            </p:txBody>
          </p:sp>
          <p:sp>
            <p:nvSpPr>
              <p:cNvPr id="19" name="Rectangle 18">
                <a:extLst>
                  <a:ext uri="{FF2B5EF4-FFF2-40B4-BE49-F238E27FC236}">
                    <a16:creationId xmlns:a16="http://schemas.microsoft.com/office/drawing/2014/main" id="{93971068-6AD8-5841-9A11-EB8832F2126B}"/>
                  </a:ext>
                </a:extLst>
              </p:cNvPr>
              <p:cNvSpPr/>
              <p:nvPr/>
            </p:nvSpPr>
            <p:spPr>
              <a:xfrm>
                <a:off x="128342" y="2838392"/>
                <a:ext cx="2468880" cy="586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32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5.6</a:t>
                </a:r>
              </a:p>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24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Million</a:t>
                </a:r>
                <a:endParaRPr kumimoji="0" lang="en-US" sz="44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7" name="Group 46">
              <a:extLst>
                <a:ext uri="{FF2B5EF4-FFF2-40B4-BE49-F238E27FC236}">
                  <a16:creationId xmlns:a16="http://schemas.microsoft.com/office/drawing/2014/main" id="{0800108D-E9F6-E516-09C7-4E89BC5D007C}"/>
                </a:ext>
              </a:extLst>
            </p:cNvPr>
            <p:cNvGrpSpPr/>
            <p:nvPr/>
          </p:nvGrpSpPr>
          <p:grpSpPr>
            <a:xfrm>
              <a:off x="322293" y="3460853"/>
              <a:ext cx="2468880" cy="1184038"/>
              <a:chOff x="2113811" y="2838392"/>
              <a:chExt cx="2468880" cy="1184038"/>
            </a:xfrm>
          </p:grpSpPr>
          <p:sp>
            <p:nvSpPr>
              <p:cNvPr id="15" name="Rectangle 14">
                <a:extLst>
                  <a:ext uri="{FF2B5EF4-FFF2-40B4-BE49-F238E27FC236}">
                    <a16:creationId xmlns:a16="http://schemas.microsoft.com/office/drawing/2014/main" id="{A02ADBB5-EB26-BFB0-630D-889B887EC0A4}"/>
                  </a:ext>
                </a:extLst>
              </p:cNvPr>
              <p:cNvSpPr/>
              <p:nvPr/>
            </p:nvSpPr>
            <p:spPr>
              <a:xfrm>
                <a:off x="2113811" y="3565230"/>
                <a:ext cx="246888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Over 1 trillion dollars in transaction value</a:t>
                </a:r>
              </a:p>
            </p:txBody>
          </p:sp>
          <p:sp>
            <p:nvSpPr>
              <p:cNvPr id="20" name="Rectangle 19">
                <a:extLst>
                  <a:ext uri="{FF2B5EF4-FFF2-40B4-BE49-F238E27FC236}">
                    <a16:creationId xmlns:a16="http://schemas.microsoft.com/office/drawing/2014/main" id="{FBBE8390-8D84-53B2-F794-8B503A02E524}"/>
                  </a:ext>
                </a:extLst>
              </p:cNvPr>
              <p:cNvSpPr/>
              <p:nvPr/>
            </p:nvSpPr>
            <p:spPr>
              <a:xfrm>
                <a:off x="2113811" y="2838392"/>
                <a:ext cx="2468880" cy="586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32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gt;$1</a:t>
                </a:r>
              </a:p>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24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Trillion</a:t>
                </a:r>
                <a:endParaRPr kumimoji="0" lang="en-US" sz="32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5" name="Group 44">
              <a:extLst>
                <a:ext uri="{FF2B5EF4-FFF2-40B4-BE49-F238E27FC236}">
                  <a16:creationId xmlns:a16="http://schemas.microsoft.com/office/drawing/2014/main" id="{BEAB1D39-82BC-00F0-6CB8-4D529C210483}"/>
                </a:ext>
              </a:extLst>
            </p:cNvPr>
            <p:cNvGrpSpPr/>
            <p:nvPr/>
          </p:nvGrpSpPr>
          <p:grpSpPr>
            <a:xfrm>
              <a:off x="3224329" y="3460853"/>
              <a:ext cx="2468880" cy="1184038"/>
              <a:chOff x="4099280" y="2838392"/>
              <a:chExt cx="2468880" cy="1184038"/>
            </a:xfrm>
          </p:grpSpPr>
          <p:sp>
            <p:nvSpPr>
              <p:cNvPr id="21" name="Rectangle 20">
                <a:extLst>
                  <a:ext uri="{FF2B5EF4-FFF2-40B4-BE49-F238E27FC236}">
                    <a16:creationId xmlns:a16="http://schemas.microsoft.com/office/drawing/2014/main" id="{0587C098-E9FB-B2FC-4EEC-666E7D440555}"/>
                  </a:ext>
                </a:extLst>
              </p:cNvPr>
              <p:cNvSpPr/>
              <p:nvPr/>
            </p:nvSpPr>
            <p:spPr>
              <a:xfrm>
                <a:off x="4099280" y="3565230"/>
                <a:ext cx="246888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Fully Integrated supply chain apps. All build not purchased </a:t>
                </a:r>
              </a:p>
            </p:txBody>
          </p:sp>
          <p:sp>
            <p:nvSpPr>
              <p:cNvPr id="22" name="Rectangle 21">
                <a:extLst>
                  <a:ext uri="{FF2B5EF4-FFF2-40B4-BE49-F238E27FC236}">
                    <a16:creationId xmlns:a16="http://schemas.microsoft.com/office/drawing/2014/main" id="{267E35D5-348B-F69C-3C94-3F25388104DF}"/>
                  </a:ext>
                </a:extLst>
              </p:cNvPr>
              <p:cNvSpPr/>
              <p:nvPr/>
            </p:nvSpPr>
            <p:spPr>
              <a:xfrm>
                <a:off x="4099280" y="2838392"/>
                <a:ext cx="2468880" cy="586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32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gt;300</a:t>
                </a:r>
              </a:p>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24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Apps</a:t>
                </a:r>
                <a:endParaRPr kumimoji="0" lang="en-US" sz="11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2" name="Group 41">
              <a:extLst>
                <a:ext uri="{FF2B5EF4-FFF2-40B4-BE49-F238E27FC236}">
                  <a16:creationId xmlns:a16="http://schemas.microsoft.com/office/drawing/2014/main" id="{9D35C2D8-E102-D8BF-6D45-3028BBE18720}"/>
                </a:ext>
              </a:extLst>
            </p:cNvPr>
            <p:cNvGrpSpPr/>
            <p:nvPr/>
          </p:nvGrpSpPr>
          <p:grpSpPr>
            <a:xfrm>
              <a:off x="322293" y="488865"/>
              <a:ext cx="2468880" cy="1184039"/>
              <a:chOff x="128342" y="1306105"/>
              <a:chExt cx="2468880" cy="1184039"/>
            </a:xfrm>
          </p:grpSpPr>
          <p:sp>
            <p:nvSpPr>
              <p:cNvPr id="11" name="Rectangle 10">
                <a:extLst>
                  <a:ext uri="{FF2B5EF4-FFF2-40B4-BE49-F238E27FC236}">
                    <a16:creationId xmlns:a16="http://schemas.microsoft.com/office/drawing/2014/main" id="{EE3ECF10-CF92-506A-5080-1A6891B3DE27}"/>
                  </a:ext>
                </a:extLst>
              </p:cNvPr>
              <p:cNvSpPr/>
              <p:nvPr/>
            </p:nvSpPr>
            <p:spPr>
              <a:xfrm>
                <a:off x="128342" y="2032944"/>
                <a:ext cx="246888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Organizations connected to the network</a:t>
                </a:r>
              </a:p>
            </p:txBody>
          </p:sp>
          <p:sp>
            <p:nvSpPr>
              <p:cNvPr id="16" name="Rectangle 15">
                <a:extLst>
                  <a:ext uri="{FF2B5EF4-FFF2-40B4-BE49-F238E27FC236}">
                    <a16:creationId xmlns:a16="http://schemas.microsoft.com/office/drawing/2014/main" id="{6539EEE5-B8D1-B07E-6303-CDDF2817C0B0}"/>
                  </a:ext>
                </a:extLst>
              </p:cNvPr>
              <p:cNvSpPr/>
              <p:nvPr/>
            </p:nvSpPr>
            <p:spPr>
              <a:xfrm>
                <a:off x="128342" y="1306105"/>
                <a:ext cx="2468880" cy="586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lang="en-US" sz="3200" b="1">
                    <a:solidFill>
                      <a:srgbClr val="2CA2BF"/>
                    </a:solidFill>
                    <a:latin typeface="Open Sans"/>
                    <a:ea typeface="Open Sans"/>
                    <a:cs typeface="Open Sans"/>
                  </a:rPr>
                  <a:t>150K</a:t>
                </a:r>
                <a:r>
                  <a:rPr kumimoji="0" lang="en-US" sz="3200" b="1" i="0" u="none" strike="noStrike" kern="1200" cap="none" spc="0" normalizeH="0" baseline="0" noProof="0">
                    <a:ln>
                      <a:noFill/>
                    </a:ln>
                    <a:solidFill>
                      <a:srgbClr val="2CA2BF"/>
                    </a:solidFill>
                    <a:effectLst/>
                    <a:uLnTx/>
                    <a:uFillTx/>
                    <a:latin typeface="Open Sans"/>
                    <a:ea typeface="Open Sans"/>
                    <a:cs typeface="Open Sans"/>
                  </a:rPr>
                  <a:t>+</a:t>
                </a:r>
              </a:p>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2400" b="1" i="0" u="none" strike="noStrike" kern="1200" cap="none" spc="0" normalizeH="0" baseline="0" noProof="0">
                    <a:ln>
                      <a:noFill/>
                    </a:ln>
                    <a:solidFill>
                      <a:srgbClr val="2CA2BF"/>
                    </a:solidFill>
                    <a:effectLst/>
                    <a:uLnTx/>
                    <a:uFillTx/>
                    <a:latin typeface="Open Sans"/>
                    <a:ea typeface="Open Sans"/>
                    <a:cs typeface="Open Sans"/>
                  </a:rPr>
                  <a:t>Organizations</a:t>
                </a:r>
                <a:endParaRPr kumimoji="0" lang="en-US" sz="2000" b="1" i="0" u="none" strike="noStrike" kern="1200" cap="none" spc="0" normalizeH="0" baseline="0" noProof="0">
                  <a:ln>
                    <a:noFill/>
                  </a:ln>
                  <a:solidFill>
                    <a:srgbClr val="2CA2BF"/>
                  </a:solidFill>
                  <a:effectLst/>
                  <a:uLnTx/>
                  <a:uFillTx/>
                  <a:latin typeface="Open Sans"/>
                  <a:ea typeface="Open Sans"/>
                  <a:cs typeface="Open Sans"/>
                </a:endParaRPr>
              </a:p>
            </p:txBody>
          </p:sp>
        </p:grpSp>
        <p:grpSp>
          <p:nvGrpSpPr>
            <p:cNvPr id="43" name="Group 42">
              <a:extLst>
                <a:ext uri="{FF2B5EF4-FFF2-40B4-BE49-F238E27FC236}">
                  <a16:creationId xmlns:a16="http://schemas.microsoft.com/office/drawing/2014/main" id="{43DEF5C9-963B-F47D-6932-F6F5F788A9AE}"/>
                </a:ext>
              </a:extLst>
            </p:cNvPr>
            <p:cNvGrpSpPr/>
            <p:nvPr/>
          </p:nvGrpSpPr>
          <p:grpSpPr>
            <a:xfrm>
              <a:off x="3224328" y="488866"/>
              <a:ext cx="2468881" cy="1184039"/>
              <a:chOff x="2113810" y="1306105"/>
              <a:chExt cx="2468881" cy="1184039"/>
            </a:xfrm>
          </p:grpSpPr>
          <p:sp>
            <p:nvSpPr>
              <p:cNvPr id="24" name="Rectangle 23">
                <a:extLst>
                  <a:ext uri="{FF2B5EF4-FFF2-40B4-BE49-F238E27FC236}">
                    <a16:creationId xmlns:a16="http://schemas.microsoft.com/office/drawing/2014/main" id="{0E5E8758-02CE-F29A-AC15-6D6673ABA433}"/>
                  </a:ext>
                </a:extLst>
              </p:cNvPr>
              <p:cNvSpPr/>
              <p:nvPr/>
            </p:nvSpPr>
            <p:spPr>
              <a:xfrm>
                <a:off x="2113810" y="2032944"/>
                <a:ext cx="246888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Over 49,000 active suppliers</a:t>
                </a:r>
              </a:p>
            </p:txBody>
          </p:sp>
          <p:sp>
            <p:nvSpPr>
              <p:cNvPr id="25" name="Rectangle 24">
                <a:extLst>
                  <a:ext uri="{FF2B5EF4-FFF2-40B4-BE49-F238E27FC236}">
                    <a16:creationId xmlns:a16="http://schemas.microsoft.com/office/drawing/2014/main" id="{6EC7A741-C957-5B02-D422-58D6F0C68CA1}"/>
                  </a:ext>
                </a:extLst>
              </p:cNvPr>
              <p:cNvSpPr/>
              <p:nvPr/>
            </p:nvSpPr>
            <p:spPr>
              <a:xfrm>
                <a:off x="2113811" y="1306105"/>
                <a:ext cx="2468880" cy="586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32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49K+</a:t>
                </a:r>
              </a:p>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24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Suppliers</a:t>
                </a:r>
              </a:p>
            </p:txBody>
          </p:sp>
        </p:grpSp>
        <p:grpSp>
          <p:nvGrpSpPr>
            <p:cNvPr id="50" name="Group 49">
              <a:extLst>
                <a:ext uri="{FF2B5EF4-FFF2-40B4-BE49-F238E27FC236}">
                  <a16:creationId xmlns:a16="http://schemas.microsoft.com/office/drawing/2014/main" id="{64607986-9D1E-04C2-5D9D-1283E8AF396A}"/>
                </a:ext>
              </a:extLst>
            </p:cNvPr>
            <p:cNvGrpSpPr/>
            <p:nvPr/>
          </p:nvGrpSpPr>
          <p:grpSpPr>
            <a:xfrm>
              <a:off x="3224329" y="4946846"/>
              <a:ext cx="2468880" cy="1184038"/>
              <a:chOff x="2113811" y="4444893"/>
              <a:chExt cx="2468880" cy="1184038"/>
            </a:xfrm>
          </p:grpSpPr>
          <p:sp>
            <p:nvSpPr>
              <p:cNvPr id="26" name="Rectangle 25">
                <a:extLst>
                  <a:ext uri="{FF2B5EF4-FFF2-40B4-BE49-F238E27FC236}">
                    <a16:creationId xmlns:a16="http://schemas.microsoft.com/office/drawing/2014/main" id="{3DBE0B57-672E-65FF-AE6A-42B0F85254F9}"/>
                  </a:ext>
                </a:extLst>
              </p:cNvPr>
              <p:cNvSpPr/>
              <p:nvPr/>
            </p:nvSpPr>
            <p:spPr>
              <a:xfrm>
                <a:off x="2113811" y="5171731"/>
                <a:ext cx="246888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Supply chain product patents</a:t>
                </a:r>
              </a:p>
            </p:txBody>
          </p:sp>
          <p:sp>
            <p:nvSpPr>
              <p:cNvPr id="27" name="Rectangle 26">
                <a:extLst>
                  <a:ext uri="{FF2B5EF4-FFF2-40B4-BE49-F238E27FC236}">
                    <a16:creationId xmlns:a16="http://schemas.microsoft.com/office/drawing/2014/main" id="{9AC6C022-CAAD-C9E6-3AF9-F9944B223FBF}"/>
                  </a:ext>
                </a:extLst>
              </p:cNvPr>
              <p:cNvSpPr/>
              <p:nvPr/>
            </p:nvSpPr>
            <p:spPr>
              <a:xfrm>
                <a:off x="2113811" y="4444893"/>
                <a:ext cx="2468880" cy="586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32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14</a:t>
                </a:r>
              </a:p>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24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Patents</a:t>
                </a:r>
                <a:endParaRPr kumimoji="0" lang="en-US" sz="11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30" name="Straight Connector 29">
              <a:extLst>
                <a:ext uri="{FF2B5EF4-FFF2-40B4-BE49-F238E27FC236}">
                  <a16:creationId xmlns:a16="http://schemas.microsoft.com/office/drawing/2014/main" id="{B7AFD1D6-AED6-0334-08A2-9C8D5C87F7DB}"/>
                </a:ext>
              </a:extLst>
            </p:cNvPr>
            <p:cNvCxnSpPr>
              <a:cxnSpLocks/>
            </p:cNvCxnSpPr>
            <p:nvPr/>
          </p:nvCxnSpPr>
          <p:spPr>
            <a:xfrm>
              <a:off x="264551" y="3233738"/>
              <a:ext cx="5486400"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6BDF03EE-CDF6-0EBD-A5CA-52C24C4A5BBF}"/>
                </a:ext>
              </a:extLst>
            </p:cNvPr>
            <p:cNvCxnSpPr>
              <a:cxnSpLocks/>
            </p:cNvCxnSpPr>
            <p:nvPr/>
          </p:nvCxnSpPr>
          <p:spPr>
            <a:xfrm>
              <a:off x="264551" y="4754655"/>
              <a:ext cx="5486400"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2352993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C082A7E-E310-17E3-E129-649341E980C1}"/>
              </a:ext>
            </a:extLst>
          </p:cNvPr>
          <p:cNvSpPr>
            <a:spLocks noGrp="1"/>
          </p:cNvSpPr>
          <p:nvPr>
            <p:ph type="body" sz="quarter" idx="11"/>
          </p:nvPr>
        </p:nvSpPr>
        <p:spPr>
          <a:xfrm>
            <a:off x="1705787" y="153104"/>
            <a:ext cx="9381826" cy="1025911"/>
          </a:xfrm>
        </p:spPr>
        <p:txBody>
          <a:bodyPr/>
          <a:lstStyle/>
          <a:p>
            <a:r>
              <a:rPr lang="en-US" sz="3200">
                <a:solidFill>
                  <a:srgbClr val="FFFFFF"/>
                </a:solidFill>
                <a:latin typeface="Open Sans"/>
                <a:ea typeface="Open Sans"/>
                <a:cs typeface="Arial"/>
              </a:rPr>
              <a:t>One Network- Digital Supply Chain Network and Control Tower Services  </a:t>
            </a:r>
            <a:endParaRPr lang="en-US" sz="3200"/>
          </a:p>
        </p:txBody>
      </p:sp>
      <p:pic>
        <p:nvPicPr>
          <p:cNvPr id="3" name="Control Tower Tall">
            <a:extLst>
              <a:ext uri="{FF2B5EF4-FFF2-40B4-BE49-F238E27FC236}">
                <a16:creationId xmlns:a16="http://schemas.microsoft.com/office/drawing/2014/main" id="{DFB4D680-29AC-5B06-93EB-1B8F6C2409C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173" y="1377751"/>
            <a:ext cx="2274761" cy="5480249"/>
          </a:xfrm>
          <a:prstGeom prst="rect">
            <a:avLst/>
          </a:prstGeom>
        </p:spPr>
      </p:pic>
      <p:sp>
        <p:nvSpPr>
          <p:cNvPr id="4" name="Arrow: Right 3">
            <a:extLst>
              <a:ext uri="{FF2B5EF4-FFF2-40B4-BE49-F238E27FC236}">
                <a16:creationId xmlns:a16="http://schemas.microsoft.com/office/drawing/2014/main" id="{425F80FE-B700-5F91-2E29-00A052886E49}"/>
              </a:ext>
            </a:extLst>
          </p:cNvPr>
          <p:cNvSpPr/>
          <p:nvPr/>
        </p:nvSpPr>
        <p:spPr>
          <a:xfrm rot="16200000">
            <a:off x="-337935" y="3601841"/>
            <a:ext cx="5480247" cy="1028700"/>
          </a:xfrm>
          <a:prstGeom prst="rightArrow">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8" name="Group 7">
            <a:extLst>
              <a:ext uri="{FF2B5EF4-FFF2-40B4-BE49-F238E27FC236}">
                <a16:creationId xmlns:a16="http://schemas.microsoft.com/office/drawing/2014/main" id="{66409F71-F387-D702-9469-700B9E830185}"/>
              </a:ext>
            </a:extLst>
          </p:cNvPr>
          <p:cNvGrpSpPr/>
          <p:nvPr/>
        </p:nvGrpSpPr>
        <p:grpSpPr>
          <a:xfrm>
            <a:off x="2020139" y="4991194"/>
            <a:ext cx="5707519" cy="891545"/>
            <a:chOff x="2020139" y="4968340"/>
            <a:chExt cx="5707519" cy="914400"/>
          </a:xfrm>
        </p:grpSpPr>
        <p:sp>
          <p:nvSpPr>
            <p:cNvPr id="9" name="TextBox 8">
              <a:extLst>
                <a:ext uri="{FF2B5EF4-FFF2-40B4-BE49-F238E27FC236}">
                  <a16:creationId xmlns:a16="http://schemas.microsoft.com/office/drawing/2014/main" id="{1FD7A317-F8E7-EB55-0DA1-84D94CD8A626}"/>
                </a:ext>
              </a:extLst>
            </p:cNvPr>
            <p:cNvSpPr txBox="1"/>
            <p:nvPr/>
          </p:nvSpPr>
          <p:spPr>
            <a:xfrm>
              <a:off x="4471724" y="5000944"/>
              <a:ext cx="3255934" cy="849193"/>
            </a:xfrm>
            <a:prstGeom prst="rect">
              <a:avLst/>
            </a:prstGeom>
            <a:ln w="12700">
              <a:miter lim="400000"/>
            </a:ln>
            <a:extLst>
              <a:ext uri="{C572A759-6A51-4108-AA02-DFA0A04FC94B}">
                <ma14:wrappingTextBoxFlag xmlns:ma14="http://schemas.microsoft.com/office/mac/drawingml/2011/main" xmlns="" val="1"/>
              </a:ext>
            </a:extLst>
          </p:spPr>
          <p:txBody>
            <a:bodyPr wrap="square" lIns="91440" tIns="91440" rIns="0" bIns="91440" rtlCol="0" anchor="ctr">
              <a:normAutofit/>
            </a:bodyPr>
            <a:lstStyle/>
            <a:p>
              <a:pPr marL="0" marR="0" lvl="0" indent="0" defTabSz="1219170" rtl="0" eaLnBrk="1" fontAlgn="auto" latinLnBrk="0" hangingPunct="1">
                <a:lnSpc>
                  <a:spcPct val="100000"/>
                </a:lnSpc>
                <a:spcBef>
                  <a:spcPts val="0"/>
                </a:spcBef>
                <a:spcAft>
                  <a:spcPts val="0"/>
                </a:spcAft>
                <a:buClrTx/>
                <a:buSzTx/>
                <a:buFontTx/>
                <a:buNone/>
                <a:tabLst/>
                <a:defRPr/>
              </a:pPr>
              <a:r>
                <a:rPr lang="en-US" altLang="ja-JP" sz="1700" b="1">
                  <a:solidFill>
                    <a:srgbClr val="2DA2BF"/>
                  </a:solidFill>
                  <a:latin typeface="Open Sans" panose="020B0606030504020204" pitchFamily="34" charset="0"/>
                  <a:ea typeface="Open Sans" panose="020B0606030504020204" pitchFamily="34" charset="0"/>
                  <a:cs typeface="Open Sans" panose="020B0606030504020204" pitchFamily="34" charset="0"/>
                </a:rPr>
                <a:t>TRANSACTION AND MASTER DATA FUSION</a:t>
              </a:r>
            </a:p>
          </p:txBody>
        </p:sp>
        <p:sp>
          <p:nvSpPr>
            <p:cNvPr id="10" name="TextBox 9">
              <a:extLst>
                <a:ext uri="{FF2B5EF4-FFF2-40B4-BE49-F238E27FC236}">
                  <a16:creationId xmlns:a16="http://schemas.microsoft.com/office/drawing/2014/main" id="{1892EE76-B88E-2739-0247-FE1E96313693}"/>
                </a:ext>
              </a:extLst>
            </p:cNvPr>
            <p:cNvSpPr txBox="1"/>
            <p:nvPr/>
          </p:nvSpPr>
          <p:spPr>
            <a:xfrm>
              <a:off x="2020139" y="5029606"/>
              <a:ext cx="764095" cy="791868"/>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nchor="ctr">
              <a:norm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rPr>
                <a:t>1</a:t>
              </a:r>
            </a:p>
          </p:txBody>
        </p:sp>
        <p:grpSp>
          <p:nvGrpSpPr>
            <p:cNvPr id="11" name="Integrated DM">
              <a:extLst>
                <a:ext uri="{FF2B5EF4-FFF2-40B4-BE49-F238E27FC236}">
                  <a16:creationId xmlns:a16="http://schemas.microsoft.com/office/drawing/2014/main" id="{1C4F7FED-DECC-BD61-6CDD-749D6C256716}"/>
                </a:ext>
              </a:extLst>
            </p:cNvPr>
            <p:cNvGrpSpPr/>
            <p:nvPr/>
          </p:nvGrpSpPr>
          <p:grpSpPr>
            <a:xfrm>
              <a:off x="3113716" y="4968340"/>
              <a:ext cx="914400" cy="914400"/>
              <a:chOff x="2566474" y="3206266"/>
              <a:chExt cx="1253338" cy="1253338"/>
            </a:xfrm>
          </p:grpSpPr>
          <p:grpSp>
            <p:nvGrpSpPr>
              <p:cNvPr id="12" name="IDM Dot">
                <a:extLst>
                  <a:ext uri="{FF2B5EF4-FFF2-40B4-BE49-F238E27FC236}">
                    <a16:creationId xmlns:a16="http://schemas.microsoft.com/office/drawing/2014/main" id="{F4635E4B-85CB-B522-3E93-CAD7350D7C55}"/>
                  </a:ext>
                </a:extLst>
              </p:cNvPr>
              <p:cNvGrpSpPr/>
              <p:nvPr/>
            </p:nvGrpSpPr>
            <p:grpSpPr>
              <a:xfrm>
                <a:off x="2566474" y="3206266"/>
                <a:ext cx="1253338" cy="1253338"/>
                <a:chOff x="2566474" y="3206266"/>
                <a:chExt cx="1253338" cy="1253338"/>
              </a:xfrm>
            </p:grpSpPr>
            <p:sp>
              <p:nvSpPr>
                <p:cNvPr id="14" name="Oval 13">
                  <a:extLst>
                    <a:ext uri="{FF2B5EF4-FFF2-40B4-BE49-F238E27FC236}">
                      <a16:creationId xmlns:a16="http://schemas.microsoft.com/office/drawing/2014/main" id="{B618B5E1-5EC8-1D3A-B3D0-5F93EB12DE98}"/>
                    </a:ext>
                  </a:extLst>
                </p:cNvPr>
                <p:cNvSpPr>
                  <a:spLocks noChangeAspect="1"/>
                </p:cNvSpPr>
                <p:nvPr/>
              </p:nvSpPr>
              <p:spPr>
                <a:xfrm>
                  <a:off x="2566474" y="3206266"/>
                  <a:ext cx="1253338" cy="125333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latin typeface="Open Sans" panose="020B0606030504020204" pitchFamily="34" charset="0"/>
                  </a:endParaRPr>
                </a:p>
              </p:txBody>
            </p:sp>
            <p:cxnSp>
              <p:nvCxnSpPr>
                <p:cNvPr id="15" name="Straight Connector 14">
                  <a:extLst>
                    <a:ext uri="{FF2B5EF4-FFF2-40B4-BE49-F238E27FC236}">
                      <a16:creationId xmlns:a16="http://schemas.microsoft.com/office/drawing/2014/main" id="{E728D5B0-1D35-AB32-C16E-EF292CCBB1C4}"/>
                    </a:ext>
                  </a:extLst>
                </p:cNvPr>
                <p:cNvCxnSpPr>
                  <a:stCxn id="14" idx="0"/>
                  <a:endCxn id="14" idx="4"/>
                </p:cNvCxnSpPr>
                <p:nvPr/>
              </p:nvCxnSpPr>
              <p:spPr>
                <a:xfrm>
                  <a:off x="3193143" y="3206266"/>
                  <a:ext cx="0" cy="1253338"/>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AA92A22-D444-8AEE-B5B7-F4CCFD19F307}"/>
                    </a:ext>
                  </a:extLst>
                </p:cNvPr>
                <p:cNvCxnSpPr>
                  <a:stCxn id="14" idx="2"/>
                  <a:endCxn id="14" idx="6"/>
                </p:cNvCxnSpPr>
                <p:nvPr/>
              </p:nvCxnSpPr>
              <p:spPr>
                <a:xfrm>
                  <a:off x="2566474" y="3832935"/>
                  <a:ext cx="1253338" cy="0"/>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F8CF261-EC78-FA0B-31D0-4A2CB630E97D}"/>
                    </a:ext>
                  </a:extLst>
                </p:cNvPr>
                <p:cNvCxnSpPr>
                  <a:stCxn id="14" idx="1"/>
                  <a:endCxn id="14" idx="5"/>
                </p:cNvCxnSpPr>
                <p:nvPr/>
              </p:nvCxnSpPr>
              <p:spPr>
                <a:xfrm>
                  <a:off x="2750021" y="3389813"/>
                  <a:ext cx="886244" cy="886244"/>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CF310DD-4866-F152-D886-65B5E036D29A}"/>
                    </a:ext>
                  </a:extLst>
                </p:cNvPr>
                <p:cNvCxnSpPr>
                  <a:stCxn id="14" idx="3"/>
                  <a:endCxn id="14" idx="7"/>
                </p:cNvCxnSpPr>
                <p:nvPr/>
              </p:nvCxnSpPr>
              <p:spPr>
                <a:xfrm flipV="1">
                  <a:off x="2750021" y="3389813"/>
                  <a:ext cx="886244" cy="886244"/>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BE5A1805-2859-1B0F-302C-783A81F85D15}"/>
                  </a:ext>
                </a:extLst>
              </p:cNvPr>
              <p:cNvSpPr txBox="1"/>
              <p:nvPr/>
            </p:nvSpPr>
            <p:spPr>
              <a:xfrm>
                <a:off x="2675898" y="3513256"/>
                <a:ext cx="1059130" cy="762802"/>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20" rIns="45719" bIns="45720" rtlCol="0" anchor="t">
                <a:noAutofit/>
              </a:bodyPr>
              <a:lstStyle/>
              <a:p>
                <a:pPr algn="ctr"/>
                <a:r>
                  <a:rPr lang="en-US" sz="1000" b="1">
                    <a:solidFill>
                      <a:schemeClr val="bg1"/>
                    </a:solidFill>
                    <a:latin typeface="Open Sans"/>
                    <a:ea typeface="Open Sans"/>
                    <a:cs typeface="Open Sans"/>
                  </a:rPr>
                  <a:t>Integrated Data Model</a:t>
                </a:r>
              </a:p>
              <a:p>
                <a:pPr algn="ctr"/>
                <a:endParaRPr lang="en-US" sz="1000" kern="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19" name="Group 18">
            <a:extLst>
              <a:ext uri="{FF2B5EF4-FFF2-40B4-BE49-F238E27FC236}">
                <a16:creationId xmlns:a16="http://schemas.microsoft.com/office/drawing/2014/main" id="{18180CCC-FA8C-8E0B-A65D-3D4911F9B225}"/>
              </a:ext>
            </a:extLst>
          </p:cNvPr>
          <p:cNvGrpSpPr/>
          <p:nvPr/>
        </p:nvGrpSpPr>
        <p:grpSpPr>
          <a:xfrm>
            <a:off x="2020140" y="2698456"/>
            <a:ext cx="5707518" cy="907429"/>
            <a:chOff x="2020140" y="2693719"/>
            <a:chExt cx="5707518" cy="930692"/>
          </a:xfrm>
        </p:grpSpPr>
        <p:sp>
          <p:nvSpPr>
            <p:cNvPr id="20" name="TextBox 19">
              <a:extLst>
                <a:ext uri="{FF2B5EF4-FFF2-40B4-BE49-F238E27FC236}">
                  <a16:creationId xmlns:a16="http://schemas.microsoft.com/office/drawing/2014/main" id="{21E90CE1-5AE1-4BC5-B7BB-8FEEDC1639BE}"/>
                </a:ext>
              </a:extLst>
            </p:cNvPr>
            <p:cNvSpPr txBox="1"/>
            <p:nvPr/>
          </p:nvSpPr>
          <p:spPr>
            <a:xfrm>
              <a:off x="4471724" y="2693719"/>
              <a:ext cx="3255934" cy="917495"/>
            </a:xfrm>
            <a:prstGeom prst="rect">
              <a:avLst/>
            </a:prstGeom>
            <a:ln w="12700">
              <a:miter lim="400000"/>
            </a:ln>
            <a:extLst>
              <a:ext uri="{C572A759-6A51-4108-AA02-DFA0A04FC94B}">
                <ma14:wrappingTextBoxFlag xmlns:ma14="http://schemas.microsoft.com/office/mac/drawingml/2011/main" xmlns="" val="1"/>
              </a:ext>
            </a:extLst>
          </p:spPr>
          <p:txBody>
            <a:bodyPr wrap="square" lIns="91440" tIns="91440" rIns="0" bIns="91440" rtlCol="0" anchor="ctr">
              <a:noAutofit/>
            </a:bodyPr>
            <a:lstStyle/>
            <a:p>
              <a:pPr marL="0" marR="0" lvl="0" indent="0" defTabSz="1219170" rtl="0" eaLnBrk="1" fontAlgn="auto" latinLnBrk="0" hangingPunct="1">
                <a:lnSpc>
                  <a:spcPct val="100000"/>
                </a:lnSpc>
                <a:spcBef>
                  <a:spcPts val="0"/>
                </a:spcBef>
                <a:spcAft>
                  <a:spcPts val="0"/>
                </a:spcAft>
                <a:buClrTx/>
                <a:buSzTx/>
                <a:buFontTx/>
                <a:buNone/>
                <a:tabLst/>
                <a:defRPr/>
              </a:pPr>
              <a:r>
                <a:rPr lang="en-US" sz="1700" b="1">
                  <a:solidFill>
                    <a:srgbClr val="2DA2BF"/>
                  </a:solidFill>
                  <a:latin typeface="Open Sans" panose="020B0606030504020204" pitchFamily="34" charset="0"/>
                  <a:ea typeface="Open Sans" panose="020B0606030504020204" pitchFamily="34" charset="0"/>
                  <a:cs typeface="Open Sans" panose="020B0606030504020204" pitchFamily="34" charset="0"/>
                </a:rPr>
                <a:t>SEMI-AUTONOMOUS – </a:t>
              </a:r>
            </a:p>
            <a:p>
              <a:pPr marL="0" marR="0" lvl="0" indent="0" defTabSz="1219170" rtl="0" eaLnBrk="1" fontAlgn="auto" latinLnBrk="0" hangingPunct="1">
                <a:lnSpc>
                  <a:spcPct val="100000"/>
                </a:lnSpc>
                <a:spcBef>
                  <a:spcPts val="0"/>
                </a:spcBef>
                <a:spcAft>
                  <a:spcPts val="0"/>
                </a:spcAft>
                <a:buClrTx/>
                <a:buSzTx/>
                <a:buFontTx/>
                <a:buNone/>
                <a:tabLst/>
                <a:defRPr/>
              </a:pPr>
              <a:r>
                <a:rPr lang="en-US" sz="1700" b="1">
                  <a:solidFill>
                    <a:srgbClr val="2DA2BF"/>
                  </a:solidFill>
                  <a:latin typeface="Open Sans" panose="020B0606030504020204" pitchFamily="34" charset="0"/>
                  <a:ea typeface="Open Sans" panose="020B0606030504020204" pitchFamily="34" charset="0"/>
                  <a:cs typeface="Open Sans" panose="020B0606030504020204" pitchFamily="34" charset="0"/>
                </a:rPr>
                <a:t>AI, AND PRESCRIPTIVE RESOLUTIONS</a:t>
              </a:r>
            </a:p>
          </p:txBody>
        </p:sp>
        <p:sp>
          <p:nvSpPr>
            <p:cNvPr id="21" name="TextBox 20">
              <a:extLst>
                <a:ext uri="{FF2B5EF4-FFF2-40B4-BE49-F238E27FC236}">
                  <a16:creationId xmlns:a16="http://schemas.microsoft.com/office/drawing/2014/main" id="{42BEDDF2-A192-CB77-E367-B35372EC62C0}"/>
                </a:ext>
              </a:extLst>
            </p:cNvPr>
            <p:cNvSpPr txBox="1"/>
            <p:nvPr/>
          </p:nvSpPr>
          <p:spPr>
            <a:xfrm>
              <a:off x="2020140" y="2811606"/>
              <a:ext cx="764095" cy="681721"/>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nchor="ctr">
              <a:norm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rPr>
                <a:t>3</a:t>
              </a:r>
            </a:p>
          </p:txBody>
        </p:sp>
        <p:grpSp>
          <p:nvGrpSpPr>
            <p:cNvPr id="22" name="Group 21">
              <a:extLst>
                <a:ext uri="{FF2B5EF4-FFF2-40B4-BE49-F238E27FC236}">
                  <a16:creationId xmlns:a16="http://schemas.microsoft.com/office/drawing/2014/main" id="{66E4EA3C-9DD1-D617-39B3-681CCD69669A}"/>
                </a:ext>
              </a:extLst>
            </p:cNvPr>
            <p:cNvGrpSpPr>
              <a:grpSpLocks noChangeAspect="1"/>
            </p:cNvGrpSpPr>
            <p:nvPr/>
          </p:nvGrpSpPr>
          <p:grpSpPr>
            <a:xfrm>
              <a:off x="3113716" y="2710011"/>
              <a:ext cx="914400" cy="914400"/>
              <a:chOff x="3540639" y="204303"/>
              <a:chExt cx="914400" cy="914400"/>
            </a:xfrm>
          </p:grpSpPr>
          <p:sp>
            <p:nvSpPr>
              <p:cNvPr id="23" name="Oval 22">
                <a:extLst>
                  <a:ext uri="{FF2B5EF4-FFF2-40B4-BE49-F238E27FC236}">
                    <a16:creationId xmlns:a16="http://schemas.microsoft.com/office/drawing/2014/main" id="{DBF0E04F-986D-360C-B1C8-9DBD7BEB4EFA}"/>
                  </a:ext>
                </a:extLst>
              </p:cNvPr>
              <p:cNvSpPr>
                <a:spLocks noChangeAspect="1"/>
              </p:cNvSpPr>
              <p:nvPr/>
            </p:nvSpPr>
            <p:spPr>
              <a:xfrm>
                <a:off x="3540639" y="204303"/>
                <a:ext cx="914400" cy="9144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ndParaRPr>
              </a:p>
            </p:txBody>
          </p:sp>
          <p:pic>
            <p:nvPicPr>
              <p:cNvPr id="24" name="Graphic 23">
                <a:extLst>
                  <a:ext uri="{FF2B5EF4-FFF2-40B4-BE49-F238E27FC236}">
                    <a16:creationId xmlns:a16="http://schemas.microsoft.com/office/drawing/2014/main" id="{5CCC9EC0-8D34-DD6E-4799-A6B048A9AF5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23792" y="368336"/>
                <a:ext cx="548095" cy="586334"/>
              </a:xfrm>
              <a:prstGeom prst="rect">
                <a:avLst/>
              </a:prstGeom>
            </p:spPr>
          </p:pic>
        </p:grpSp>
      </p:grpSp>
      <p:grpSp>
        <p:nvGrpSpPr>
          <p:cNvPr id="25" name="Group 24">
            <a:extLst>
              <a:ext uri="{FF2B5EF4-FFF2-40B4-BE49-F238E27FC236}">
                <a16:creationId xmlns:a16="http://schemas.microsoft.com/office/drawing/2014/main" id="{8DFA9287-9F6E-C333-E4AF-D4E7C653229D}"/>
              </a:ext>
            </a:extLst>
          </p:cNvPr>
          <p:cNvGrpSpPr/>
          <p:nvPr/>
        </p:nvGrpSpPr>
        <p:grpSpPr>
          <a:xfrm>
            <a:off x="2029151" y="3810892"/>
            <a:ext cx="5698507" cy="977502"/>
            <a:chOff x="2029151" y="3784106"/>
            <a:chExt cx="5698507" cy="1002561"/>
          </a:xfrm>
        </p:grpSpPr>
        <p:sp>
          <p:nvSpPr>
            <p:cNvPr id="26" name="TextBox 25">
              <a:extLst>
                <a:ext uri="{FF2B5EF4-FFF2-40B4-BE49-F238E27FC236}">
                  <a16:creationId xmlns:a16="http://schemas.microsoft.com/office/drawing/2014/main" id="{5AA2832A-EF77-E151-2B63-77ABFE411158}"/>
                </a:ext>
              </a:extLst>
            </p:cNvPr>
            <p:cNvSpPr txBox="1"/>
            <p:nvPr/>
          </p:nvSpPr>
          <p:spPr>
            <a:xfrm>
              <a:off x="4471724" y="3784106"/>
              <a:ext cx="3255934" cy="1002561"/>
            </a:xfrm>
            <a:prstGeom prst="rect">
              <a:avLst/>
            </a:prstGeom>
            <a:ln w="12700">
              <a:miter lim="400000"/>
            </a:ln>
            <a:extLst>
              <a:ext uri="{C572A759-6A51-4108-AA02-DFA0A04FC94B}">
                <ma14:wrappingTextBoxFlag xmlns:ma14="http://schemas.microsoft.com/office/mac/drawingml/2011/main" xmlns="" val="1"/>
              </a:ext>
            </a:extLst>
          </p:spPr>
          <p:txBody>
            <a:bodyPr wrap="square" lIns="91440" tIns="91440" rIns="0" bIns="91440" rtlCol="0" anchor="ctr">
              <a:normAutofit/>
            </a:bodyPr>
            <a:lstStyle/>
            <a:p>
              <a:pPr marL="0" marR="0" lvl="0" indent="0" defTabSz="1219170" rtl="0" eaLnBrk="1" fontAlgn="auto" latinLnBrk="0" hangingPunct="1">
                <a:lnSpc>
                  <a:spcPct val="100000"/>
                </a:lnSpc>
                <a:spcBef>
                  <a:spcPts val="0"/>
                </a:spcBef>
                <a:spcAft>
                  <a:spcPts val="0"/>
                </a:spcAft>
                <a:buClrTx/>
                <a:buSzTx/>
                <a:buFontTx/>
                <a:buNone/>
                <a:tabLst/>
                <a:defRPr/>
              </a:pPr>
              <a:r>
                <a:rPr lang="en-US" altLang="ja-JP" sz="1700" b="1">
                  <a:solidFill>
                    <a:srgbClr val="2DA2BF"/>
                  </a:solidFill>
                  <a:latin typeface="Open Sans" panose="020B0606030504020204" pitchFamily="34" charset="0"/>
                  <a:ea typeface="Open Sans" panose="020B0606030504020204" pitchFamily="34" charset="0"/>
                  <a:cs typeface="Open Sans" panose="020B0606030504020204" pitchFamily="34" charset="0"/>
                </a:rPr>
                <a:t>DIGITIZATION, VISIBILITY, PROPAGATION</a:t>
              </a:r>
            </a:p>
          </p:txBody>
        </p:sp>
        <p:sp>
          <p:nvSpPr>
            <p:cNvPr id="27" name="TextBox 26">
              <a:extLst>
                <a:ext uri="{FF2B5EF4-FFF2-40B4-BE49-F238E27FC236}">
                  <a16:creationId xmlns:a16="http://schemas.microsoft.com/office/drawing/2014/main" id="{CAE650B7-247A-0C46-B4B8-9CB3D99D2FF6}"/>
                </a:ext>
              </a:extLst>
            </p:cNvPr>
            <p:cNvSpPr txBox="1"/>
            <p:nvPr/>
          </p:nvSpPr>
          <p:spPr>
            <a:xfrm>
              <a:off x="2029151" y="3889452"/>
              <a:ext cx="764095" cy="791868"/>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nchor="ctr">
              <a:norm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rPr>
                <a:t>2</a:t>
              </a:r>
            </a:p>
          </p:txBody>
        </p:sp>
        <p:grpSp>
          <p:nvGrpSpPr>
            <p:cNvPr id="28" name="Group 27">
              <a:extLst>
                <a:ext uri="{FF2B5EF4-FFF2-40B4-BE49-F238E27FC236}">
                  <a16:creationId xmlns:a16="http://schemas.microsoft.com/office/drawing/2014/main" id="{6F3AA48B-8274-A456-1A78-8C5D0CC8D44B}"/>
                </a:ext>
              </a:extLst>
            </p:cNvPr>
            <p:cNvGrpSpPr>
              <a:grpSpLocks noChangeAspect="1"/>
            </p:cNvGrpSpPr>
            <p:nvPr/>
          </p:nvGrpSpPr>
          <p:grpSpPr>
            <a:xfrm>
              <a:off x="3113716" y="3839175"/>
              <a:ext cx="914400" cy="914400"/>
              <a:chOff x="4590153" y="204303"/>
              <a:chExt cx="914400" cy="914400"/>
            </a:xfrm>
          </p:grpSpPr>
          <p:sp>
            <p:nvSpPr>
              <p:cNvPr id="29" name="Oval 28">
                <a:extLst>
                  <a:ext uri="{FF2B5EF4-FFF2-40B4-BE49-F238E27FC236}">
                    <a16:creationId xmlns:a16="http://schemas.microsoft.com/office/drawing/2014/main" id="{0CD2C04E-413D-1870-45E1-C66E1CE2941D}"/>
                  </a:ext>
                </a:extLst>
              </p:cNvPr>
              <p:cNvSpPr>
                <a:spLocks noChangeAspect="1"/>
              </p:cNvSpPr>
              <p:nvPr/>
            </p:nvSpPr>
            <p:spPr>
              <a:xfrm>
                <a:off x="4590153" y="204303"/>
                <a:ext cx="914400" cy="9144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ndParaRPr>
              </a:p>
            </p:txBody>
          </p:sp>
          <p:pic>
            <p:nvPicPr>
              <p:cNvPr id="30" name="Graphic 29">
                <a:extLst>
                  <a:ext uri="{FF2B5EF4-FFF2-40B4-BE49-F238E27FC236}">
                    <a16:creationId xmlns:a16="http://schemas.microsoft.com/office/drawing/2014/main" id="{70775D16-7C18-84C2-E641-CF0FB152E2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10279" y="413774"/>
                <a:ext cx="674149" cy="495459"/>
              </a:xfrm>
              <a:prstGeom prst="rect">
                <a:avLst/>
              </a:prstGeom>
            </p:spPr>
          </p:pic>
        </p:grpSp>
      </p:grpSp>
      <p:grpSp>
        <p:nvGrpSpPr>
          <p:cNvPr id="31" name="Group 30">
            <a:extLst>
              <a:ext uri="{FF2B5EF4-FFF2-40B4-BE49-F238E27FC236}">
                <a16:creationId xmlns:a16="http://schemas.microsoft.com/office/drawing/2014/main" id="{66E2C618-A23A-8A15-9A2A-7FEF448E2120}"/>
              </a:ext>
            </a:extLst>
          </p:cNvPr>
          <p:cNvGrpSpPr/>
          <p:nvPr/>
        </p:nvGrpSpPr>
        <p:grpSpPr>
          <a:xfrm>
            <a:off x="2020142" y="1603701"/>
            <a:ext cx="5707516" cy="891545"/>
            <a:chOff x="2020142" y="1580847"/>
            <a:chExt cx="5707516" cy="914400"/>
          </a:xfrm>
        </p:grpSpPr>
        <p:sp>
          <p:nvSpPr>
            <p:cNvPr id="32" name="TextBox 31">
              <a:extLst>
                <a:ext uri="{FF2B5EF4-FFF2-40B4-BE49-F238E27FC236}">
                  <a16:creationId xmlns:a16="http://schemas.microsoft.com/office/drawing/2014/main" id="{C7FD182F-C7DB-A971-DDE7-21A8A68BDD19}"/>
                </a:ext>
              </a:extLst>
            </p:cNvPr>
            <p:cNvSpPr txBox="1"/>
            <p:nvPr/>
          </p:nvSpPr>
          <p:spPr>
            <a:xfrm>
              <a:off x="4471724" y="1580847"/>
              <a:ext cx="3255934" cy="829950"/>
            </a:xfrm>
            <a:prstGeom prst="rect">
              <a:avLst/>
            </a:prstGeom>
            <a:ln w="12700">
              <a:miter lim="400000"/>
            </a:ln>
            <a:extLst>
              <a:ext uri="{C572A759-6A51-4108-AA02-DFA0A04FC94B}">
                <ma14:wrappingTextBoxFlag xmlns:ma14="http://schemas.microsoft.com/office/mac/drawingml/2011/main" xmlns="" val="1"/>
              </a:ext>
            </a:extLst>
          </p:spPr>
          <p:txBody>
            <a:bodyPr wrap="square" lIns="91440" tIns="91440" rIns="0" bIns="91440" rtlCol="0" anchor="ctr">
              <a:normAutofit/>
            </a:bodyPr>
            <a:lstStyle/>
            <a:p>
              <a:pPr marL="0" marR="0" lvl="0" indent="0" defTabSz="1219170" rtl="0" eaLnBrk="1" fontAlgn="auto" latinLnBrk="0" hangingPunct="1">
                <a:lnSpc>
                  <a:spcPct val="100000"/>
                </a:lnSpc>
                <a:spcBef>
                  <a:spcPts val="0"/>
                </a:spcBef>
                <a:spcAft>
                  <a:spcPts val="0"/>
                </a:spcAft>
                <a:buClrTx/>
                <a:buSzTx/>
                <a:buFontTx/>
                <a:buNone/>
                <a:tabLst/>
                <a:defRPr/>
              </a:pPr>
              <a:r>
                <a:rPr lang="en-US" sz="1700" b="1">
                  <a:solidFill>
                    <a:srgbClr val="2DA2BF"/>
                  </a:solidFill>
                  <a:latin typeface="Open Sans" panose="020B0606030504020204" pitchFamily="34" charset="0"/>
                  <a:ea typeface="Open Sans" panose="020B0606030504020204" pitchFamily="34" charset="0"/>
                  <a:cs typeface="Open Sans" panose="020B0606030504020204" pitchFamily="34" charset="0"/>
                </a:rPr>
                <a:t>DYNAMIC PROCESS</a:t>
              </a:r>
              <a:br>
                <a:rPr lang="en-US" sz="1700" b="1">
                  <a:solidFill>
                    <a:srgbClr val="2DA2BF"/>
                  </a:solidFill>
                  <a:latin typeface="Open Sans" panose="020B0606030504020204" pitchFamily="34" charset="0"/>
                  <a:ea typeface="Open Sans" panose="020B0606030504020204" pitchFamily="34" charset="0"/>
                  <a:cs typeface="Open Sans" panose="020B0606030504020204" pitchFamily="34" charset="0"/>
                </a:rPr>
              </a:br>
              <a:r>
                <a:rPr lang="en-US" sz="1700" b="1">
                  <a:solidFill>
                    <a:srgbClr val="2DA2BF"/>
                  </a:solidFill>
                  <a:latin typeface="Open Sans" panose="020B0606030504020204" pitchFamily="34" charset="0"/>
                  <a:ea typeface="Open Sans" panose="020B0606030504020204" pitchFamily="34" charset="0"/>
                  <a:cs typeface="Open Sans" panose="020B0606030504020204" pitchFamily="34" charset="0"/>
                </a:rPr>
                <a:t>ORCHESTRATION</a:t>
              </a:r>
            </a:p>
          </p:txBody>
        </p:sp>
        <p:sp>
          <p:nvSpPr>
            <p:cNvPr id="33" name="TextBox 32">
              <a:extLst>
                <a:ext uri="{FF2B5EF4-FFF2-40B4-BE49-F238E27FC236}">
                  <a16:creationId xmlns:a16="http://schemas.microsoft.com/office/drawing/2014/main" id="{FAB32DDD-E682-829C-C8A5-D2FC0396DFCC}"/>
                </a:ext>
              </a:extLst>
            </p:cNvPr>
            <p:cNvSpPr txBox="1"/>
            <p:nvPr/>
          </p:nvSpPr>
          <p:spPr>
            <a:xfrm>
              <a:off x="2020142" y="1654962"/>
              <a:ext cx="764095" cy="681721"/>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nchor="ctr">
              <a:norm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rPr>
                <a:t>4</a:t>
              </a:r>
            </a:p>
          </p:txBody>
        </p:sp>
        <p:grpSp>
          <p:nvGrpSpPr>
            <p:cNvPr id="34" name="Group 33">
              <a:extLst>
                <a:ext uri="{FF2B5EF4-FFF2-40B4-BE49-F238E27FC236}">
                  <a16:creationId xmlns:a16="http://schemas.microsoft.com/office/drawing/2014/main" id="{8D506F49-71F1-83E6-D846-B8E81F5DA19F}"/>
                </a:ext>
              </a:extLst>
            </p:cNvPr>
            <p:cNvGrpSpPr>
              <a:grpSpLocks noChangeAspect="1"/>
            </p:cNvGrpSpPr>
            <p:nvPr/>
          </p:nvGrpSpPr>
          <p:grpSpPr>
            <a:xfrm>
              <a:off x="3113716" y="1580847"/>
              <a:ext cx="914400" cy="914400"/>
              <a:chOff x="9837723" y="2420288"/>
              <a:chExt cx="914400" cy="914400"/>
            </a:xfrm>
          </p:grpSpPr>
          <p:sp>
            <p:nvSpPr>
              <p:cNvPr id="35" name="Oval 34">
                <a:extLst>
                  <a:ext uri="{FF2B5EF4-FFF2-40B4-BE49-F238E27FC236}">
                    <a16:creationId xmlns:a16="http://schemas.microsoft.com/office/drawing/2014/main" id="{5883846A-C82A-C76E-70B5-6DA27AF83FD2}"/>
                  </a:ext>
                </a:extLst>
              </p:cNvPr>
              <p:cNvSpPr>
                <a:spLocks noChangeAspect="1"/>
              </p:cNvSpPr>
              <p:nvPr/>
            </p:nvSpPr>
            <p:spPr>
              <a:xfrm>
                <a:off x="9837723" y="2420288"/>
                <a:ext cx="914400" cy="9144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ndParaRPr>
              </a:p>
            </p:txBody>
          </p:sp>
          <p:pic>
            <p:nvPicPr>
              <p:cNvPr id="36" name="Graphic 35">
                <a:extLst>
                  <a:ext uri="{FF2B5EF4-FFF2-40B4-BE49-F238E27FC236}">
                    <a16:creationId xmlns:a16="http://schemas.microsoft.com/office/drawing/2014/main" id="{430BC4F3-E639-B4D3-D43A-9F34F7DE5D3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07773" y="2590338"/>
                <a:ext cx="574301" cy="574301"/>
              </a:xfrm>
              <a:prstGeom prst="rect">
                <a:avLst/>
              </a:prstGeom>
            </p:spPr>
          </p:pic>
        </p:grpSp>
      </p:grpSp>
      <p:sp>
        <p:nvSpPr>
          <p:cNvPr id="37" name="Content Placeholder 8">
            <a:extLst>
              <a:ext uri="{FF2B5EF4-FFF2-40B4-BE49-F238E27FC236}">
                <a16:creationId xmlns:a16="http://schemas.microsoft.com/office/drawing/2014/main" id="{2BC1BB96-5E69-9E49-FFEF-B8486102AFD0}"/>
              </a:ext>
            </a:extLst>
          </p:cNvPr>
          <p:cNvSpPr txBox="1">
            <a:spLocks/>
          </p:cNvSpPr>
          <p:nvPr/>
        </p:nvSpPr>
        <p:spPr>
          <a:xfrm>
            <a:off x="8035620" y="1611985"/>
            <a:ext cx="3721956" cy="4406860"/>
          </a:xfrm>
          <a:prstGeom prst="rect">
            <a:avLst/>
          </a:prstGeom>
        </p:spPr>
        <p:style>
          <a:lnRef idx="0">
            <a:schemeClr val="accent2"/>
          </a:lnRef>
          <a:fillRef idx="3">
            <a:schemeClr val="accent2"/>
          </a:fillRef>
          <a:effectRef idx="3">
            <a:schemeClr val="accent2"/>
          </a:effectRef>
          <a:fontRef idx="minor">
            <a:schemeClr val="lt1"/>
          </a:fontRef>
        </p:style>
        <p:txBody>
          <a:bodyPr>
            <a:normAutofit/>
          </a:bodyPr>
          <a:lstStyle>
            <a:lvl1pPr marL="347663" indent="-347663" algn="l" defTabSz="1219170" rtl="0" eaLnBrk="1" latinLnBrk="0" hangingPunct="1">
              <a:spcBef>
                <a:spcPts val="1200"/>
              </a:spcBef>
              <a:buClr>
                <a:srgbClr val="2DA2BF"/>
              </a:buClr>
              <a:buFont typeface="Arial" panose="020B0604020202020204" pitchFamily="34" charset="0"/>
              <a:buChar char="•"/>
              <a:tabLst/>
              <a:defRPr sz="2800" b="0" i="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spcAft>
                <a:spcPts val="1200"/>
              </a:spcAft>
              <a:buNone/>
            </a:pPr>
            <a:r>
              <a:rPr lang="en-US" sz="1600" b="1">
                <a:solidFill>
                  <a:schemeClr val="bg1"/>
                </a:solidFill>
                <a:latin typeface="+mn-lt"/>
              </a:rPr>
              <a:t>A single, real-time platform for integrating planning and execution by orchestrating supply chain processes across partners and disparate systems. </a:t>
            </a:r>
            <a:endParaRPr lang="en-US" sz="1600">
              <a:solidFill>
                <a:schemeClr val="bg1"/>
              </a:solidFill>
              <a:latin typeface="+mn-lt"/>
              <a:ea typeface="Open Sans"/>
              <a:cs typeface="Open Sans"/>
            </a:endParaRPr>
          </a:p>
          <a:p>
            <a:pPr marL="168275" indent="-168275">
              <a:buClr>
                <a:schemeClr val="bg1"/>
              </a:buClr>
            </a:pPr>
            <a:r>
              <a:rPr lang="en-US" sz="1400">
                <a:solidFill>
                  <a:schemeClr val="bg1"/>
                </a:solidFill>
                <a:latin typeface="+mn-lt"/>
                <a:ea typeface="Open Sans"/>
                <a:cs typeface="Open Sans"/>
              </a:rPr>
              <a:t>End-to-End visibility across partners</a:t>
            </a:r>
          </a:p>
          <a:p>
            <a:pPr marL="168275" indent="-168275">
              <a:buClr>
                <a:schemeClr val="bg1"/>
              </a:buClr>
            </a:pPr>
            <a:r>
              <a:rPr lang="en-US" sz="1400">
                <a:solidFill>
                  <a:schemeClr val="bg1"/>
                </a:solidFill>
                <a:latin typeface="+mn-lt"/>
                <a:ea typeface="Open Sans"/>
                <a:cs typeface="Open Sans"/>
              </a:rPr>
              <a:t>Improved exception mgmt. by 90%</a:t>
            </a:r>
          </a:p>
          <a:p>
            <a:pPr marL="168275" indent="-168275">
              <a:buClr>
                <a:schemeClr val="bg1"/>
              </a:buClr>
            </a:pPr>
            <a:r>
              <a:rPr lang="en-US" sz="1400">
                <a:solidFill>
                  <a:schemeClr val="bg1"/>
                </a:solidFill>
                <a:latin typeface="+mn-lt"/>
                <a:ea typeface="Open Sans"/>
                <a:cs typeface="Open Sans"/>
              </a:rPr>
              <a:t>Reduced lead-time variability and improved agility </a:t>
            </a:r>
            <a:endParaRPr lang="en-US" sz="1400">
              <a:solidFill>
                <a:schemeClr val="bg1"/>
              </a:solidFill>
              <a:latin typeface="+mn-lt"/>
            </a:endParaRPr>
          </a:p>
          <a:p>
            <a:pPr marL="168275" indent="-168275">
              <a:buClr>
                <a:schemeClr val="bg1"/>
              </a:buClr>
            </a:pPr>
            <a:r>
              <a:rPr lang="en-US" sz="1400">
                <a:solidFill>
                  <a:schemeClr val="bg1"/>
                </a:solidFill>
                <a:latin typeface="+mn-lt"/>
                <a:ea typeface="Open Sans"/>
                <a:cs typeface="Open Sans"/>
              </a:rPr>
              <a:t>Eliminate all non- physical lead times </a:t>
            </a:r>
            <a:endParaRPr lang="en-US" sz="1400">
              <a:solidFill>
                <a:schemeClr val="bg1"/>
              </a:solidFill>
              <a:latin typeface="+mn-lt"/>
            </a:endParaRPr>
          </a:p>
          <a:p>
            <a:pPr marL="168275" indent="-168275">
              <a:buClr>
                <a:schemeClr val="bg1"/>
              </a:buClr>
            </a:pPr>
            <a:r>
              <a:rPr lang="en-US" sz="1400">
                <a:solidFill>
                  <a:schemeClr val="bg1"/>
                </a:solidFill>
                <a:latin typeface="+mn-lt"/>
                <a:ea typeface="Open Sans"/>
                <a:cs typeface="Open Sans"/>
              </a:rPr>
              <a:t>Single version of the truth across partners </a:t>
            </a:r>
          </a:p>
          <a:p>
            <a:pPr marL="168275" indent="-168275">
              <a:buClr>
                <a:schemeClr val="bg1"/>
              </a:buClr>
            </a:pPr>
            <a:r>
              <a:rPr lang="en-US" sz="1400">
                <a:solidFill>
                  <a:schemeClr val="bg1"/>
                </a:solidFill>
                <a:latin typeface="+mn-lt"/>
                <a:ea typeface="Open Sans"/>
                <a:cs typeface="Open Sans"/>
              </a:rPr>
              <a:t>Value for all participants</a:t>
            </a:r>
          </a:p>
        </p:txBody>
      </p:sp>
    </p:spTree>
    <p:extLst>
      <p:ext uri="{BB962C8B-B14F-4D97-AF65-F5344CB8AC3E}">
        <p14:creationId xmlns:p14="http://schemas.microsoft.com/office/powerpoint/2010/main" val="22722080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29E297-E798-08B1-A1CC-65371311D18E}"/>
              </a:ext>
            </a:extLst>
          </p:cNvPr>
          <p:cNvSpPr>
            <a:spLocks noGrp="1"/>
          </p:cNvSpPr>
          <p:nvPr>
            <p:ph type="body" sz="quarter" idx="11"/>
          </p:nvPr>
        </p:nvSpPr>
        <p:spPr/>
        <p:txBody>
          <a:bodyPr/>
          <a:lstStyle/>
          <a:p>
            <a:r>
              <a:rPr lang="en-US" sz="3200">
                <a:latin typeface="Open Sans"/>
                <a:ea typeface="Open Sans"/>
              </a:rPr>
              <a:t>DIGITAL SUPPLY CHAIN NETWORK</a:t>
            </a:r>
            <a:endParaRPr lang="en-US" sz="3200">
              <a:latin typeface="Open Sans"/>
            </a:endParaRPr>
          </a:p>
          <a:p>
            <a:r>
              <a:rPr lang="en-US" sz="3200" i="1">
                <a:latin typeface="Open Sans"/>
                <a:ea typeface="Open Sans"/>
              </a:rPr>
              <a:t>is a 3-Way System </a:t>
            </a:r>
            <a:endParaRPr lang="en-US" sz="3200">
              <a:latin typeface="Open Sans"/>
            </a:endParaRPr>
          </a:p>
        </p:txBody>
      </p:sp>
      <p:pic>
        <p:nvPicPr>
          <p:cNvPr id="3" name="Picture 2">
            <a:extLst>
              <a:ext uri="{FF2B5EF4-FFF2-40B4-BE49-F238E27FC236}">
                <a16:creationId xmlns:a16="http://schemas.microsoft.com/office/drawing/2014/main" id="{DBA6CD77-4FFD-D0C4-2709-EE4270F682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262177" y="1438577"/>
            <a:ext cx="6257215" cy="2838378"/>
          </a:xfrm>
          <a:prstGeom prst="rect">
            <a:avLst/>
          </a:prstGeom>
          <a:ln>
            <a:solidFill>
              <a:schemeClr val="bg1">
                <a:lumMod val="65000"/>
              </a:schemeClr>
            </a:solidFill>
          </a:ln>
          <a:effectLst>
            <a:outerShdw blurRad="50800" dist="38100" dir="2700000" algn="tl" rotWithShape="0">
              <a:prstClr val="black">
                <a:alpha val="40000"/>
              </a:prstClr>
            </a:outerShdw>
          </a:effectLst>
        </p:spPr>
      </p:pic>
      <p:sp>
        <p:nvSpPr>
          <p:cNvPr id="4" name="Rectangle: Rounded Corners 3">
            <a:extLst>
              <a:ext uri="{FF2B5EF4-FFF2-40B4-BE49-F238E27FC236}">
                <a16:creationId xmlns:a16="http://schemas.microsoft.com/office/drawing/2014/main" id="{EFC45C1D-3E3D-CBA2-6BFC-045908EAE652}"/>
              </a:ext>
            </a:extLst>
          </p:cNvPr>
          <p:cNvSpPr/>
          <p:nvPr/>
        </p:nvSpPr>
        <p:spPr>
          <a:xfrm>
            <a:off x="4837213" y="1354435"/>
            <a:ext cx="2352516" cy="422922"/>
          </a:xfrm>
          <a:prstGeom prst="roundRect">
            <a:avLst/>
          </a:prstGeom>
          <a:solidFill>
            <a:srgbClr val="D9443F"/>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lnSpc>
                <a:spcPct val="75000"/>
              </a:lnSpc>
              <a:defRPr/>
            </a:pPr>
            <a:r>
              <a:rPr lang="en-US" sz="1200" b="1">
                <a:solidFill>
                  <a:prstClr val="white"/>
                </a:solidFill>
                <a:latin typeface="+mj-lt"/>
              </a:rPr>
              <a:t>Projected Inventory View</a:t>
            </a:r>
          </a:p>
        </p:txBody>
      </p:sp>
      <p:grpSp>
        <p:nvGrpSpPr>
          <p:cNvPr id="5" name="Group 4">
            <a:extLst>
              <a:ext uri="{FF2B5EF4-FFF2-40B4-BE49-F238E27FC236}">
                <a16:creationId xmlns:a16="http://schemas.microsoft.com/office/drawing/2014/main" id="{C4D739C9-9E09-4382-FBAF-5A2971AD9F89}"/>
              </a:ext>
            </a:extLst>
          </p:cNvPr>
          <p:cNvGrpSpPr/>
          <p:nvPr/>
        </p:nvGrpSpPr>
        <p:grpSpPr>
          <a:xfrm>
            <a:off x="7049215" y="2900016"/>
            <a:ext cx="4401955" cy="2082600"/>
            <a:chOff x="526606" y="474285"/>
            <a:chExt cx="10991480" cy="5431565"/>
          </a:xfrm>
        </p:grpSpPr>
        <p:pic>
          <p:nvPicPr>
            <p:cNvPr id="7" name="Picture 6">
              <a:extLst>
                <a:ext uri="{FF2B5EF4-FFF2-40B4-BE49-F238E27FC236}">
                  <a16:creationId xmlns:a16="http://schemas.microsoft.com/office/drawing/2014/main" id="{C31D4299-35AB-3F10-9305-2A97CB4FED7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6606" y="474285"/>
              <a:ext cx="10991480" cy="5431565"/>
            </a:xfrm>
            <a:prstGeom prst="rect">
              <a:avLst/>
            </a:prstGeom>
            <a:ln>
              <a:solidFill>
                <a:schemeClr val="bg1">
                  <a:lumMod val="65000"/>
                </a:schemeClr>
              </a:solidFill>
            </a:ln>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69158BA2-EE0D-4C0B-ED7D-234B7AA3794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526796" y="3091430"/>
              <a:ext cx="9895820" cy="2260746"/>
            </a:xfrm>
            <a:prstGeom prst="rect">
              <a:avLst/>
            </a:prstGeom>
          </p:spPr>
        </p:pic>
      </p:grpSp>
      <p:sp>
        <p:nvSpPr>
          <p:cNvPr id="10" name="Rectangle: Rounded Corners 9">
            <a:extLst>
              <a:ext uri="{FF2B5EF4-FFF2-40B4-BE49-F238E27FC236}">
                <a16:creationId xmlns:a16="http://schemas.microsoft.com/office/drawing/2014/main" id="{F92F939B-C20B-4A8E-E564-8C217501FDE6}"/>
              </a:ext>
            </a:extLst>
          </p:cNvPr>
          <p:cNvSpPr/>
          <p:nvPr/>
        </p:nvSpPr>
        <p:spPr>
          <a:xfrm>
            <a:off x="9069626" y="4951113"/>
            <a:ext cx="2352516" cy="422922"/>
          </a:xfrm>
          <a:prstGeom prst="roundRect">
            <a:avLst/>
          </a:prstGeom>
          <a:solidFill>
            <a:srgbClr val="00206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lnSpc>
                <a:spcPct val="75000"/>
              </a:lnSpc>
              <a:defRPr/>
            </a:pPr>
            <a:r>
              <a:rPr lang="en-US" sz="1200" b="1">
                <a:solidFill>
                  <a:prstClr val="white"/>
                </a:solidFill>
                <a:latin typeface="+mj-lt"/>
              </a:rPr>
              <a:t>Order View from RMS</a:t>
            </a:r>
          </a:p>
        </p:txBody>
      </p:sp>
      <p:grpSp>
        <p:nvGrpSpPr>
          <p:cNvPr id="12" name="Group 11">
            <a:extLst>
              <a:ext uri="{FF2B5EF4-FFF2-40B4-BE49-F238E27FC236}">
                <a16:creationId xmlns:a16="http://schemas.microsoft.com/office/drawing/2014/main" id="{3BCBA17C-CF8E-AB40-4DCE-8D54208085AB}"/>
              </a:ext>
            </a:extLst>
          </p:cNvPr>
          <p:cNvGrpSpPr/>
          <p:nvPr/>
        </p:nvGrpSpPr>
        <p:grpSpPr>
          <a:xfrm>
            <a:off x="4385589" y="3900154"/>
            <a:ext cx="4278645" cy="2157839"/>
            <a:chOff x="302004" y="600818"/>
            <a:chExt cx="11558127" cy="5657012"/>
          </a:xfrm>
        </p:grpSpPr>
        <p:pic>
          <p:nvPicPr>
            <p:cNvPr id="14" name="Picture 13">
              <a:extLst>
                <a:ext uri="{FF2B5EF4-FFF2-40B4-BE49-F238E27FC236}">
                  <a16:creationId xmlns:a16="http://schemas.microsoft.com/office/drawing/2014/main" id="{41404C41-45D3-6F93-4281-37D69401882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02004" y="600818"/>
              <a:ext cx="11558127" cy="5657012"/>
            </a:xfrm>
            <a:prstGeom prst="rect">
              <a:avLst/>
            </a:prstGeom>
            <a:ln>
              <a:solidFill>
                <a:schemeClr val="bg1">
                  <a:lumMod val="65000"/>
                </a:schemeClr>
              </a:solidFill>
            </a:ln>
            <a:effectLst>
              <a:outerShdw blurRad="50800" dist="38100" dir="2700000" algn="tl" rotWithShape="0">
                <a:prstClr val="black">
                  <a:alpha val="40000"/>
                </a:prstClr>
              </a:outerShdw>
            </a:effectLst>
          </p:spPr>
        </p:pic>
        <p:pic>
          <p:nvPicPr>
            <p:cNvPr id="16" name="Picture 15">
              <a:extLst>
                <a:ext uri="{FF2B5EF4-FFF2-40B4-BE49-F238E27FC236}">
                  <a16:creationId xmlns:a16="http://schemas.microsoft.com/office/drawing/2014/main" id="{8E3C67B7-23CD-9B61-FEDF-3C3539E42852}"/>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074796" y="1190056"/>
              <a:ext cx="10711736" cy="4506069"/>
            </a:xfrm>
            <a:prstGeom prst="rect">
              <a:avLst/>
            </a:prstGeom>
          </p:spPr>
        </p:pic>
      </p:grpSp>
      <p:sp>
        <p:nvSpPr>
          <p:cNvPr id="17" name="Rectangle: Rounded Corners 16">
            <a:extLst>
              <a:ext uri="{FF2B5EF4-FFF2-40B4-BE49-F238E27FC236}">
                <a16:creationId xmlns:a16="http://schemas.microsoft.com/office/drawing/2014/main" id="{C3C6F43B-B1BB-4E4B-CAD6-47182928EFA1}"/>
              </a:ext>
            </a:extLst>
          </p:cNvPr>
          <p:cNvSpPr/>
          <p:nvPr/>
        </p:nvSpPr>
        <p:spPr>
          <a:xfrm>
            <a:off x="4889523" y="5562047"/>
            <a:ext cx="2346323" cy="420707"/>
          </a:xfrm>
          <a:prstGeom prst="roundRect">
            <a:avLst/>
          </a:prstGeom>
          <a:solidFill>
            <a:srgbClr val="00206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lnSpc>
                <a:spcPct val="75000"/>
              </a:lnSpc>
              <a:defRPr/>
            </a:pPr>
            <a:r>
              <a:rPr lang="en-US" sz="1200" b="1">
                <a:solidFill>
                  <a:prstClr val="white"/>
                </a:solidFill>
                <a:latin typeface="+mj-lt"/>
              </a:rPr>
              <a:t>Shipment View from LSP</a:t>
            </a:r>
          </a:p>
        </p:txBody>
      </p:sp>
      <p:grpSp>
        <p:nvGrpSpPr>
          <p:cNvPr id="18" name="Group 17">
            <a:extLst>
              <a:ext uri="{FF2B5EF4-FFF2-40B4-BE49-F238E27FC236}">
                <a16:creationId xmlns:a16="http://schemas.microsoft.com/office/drawing/2014/main" id="{007CB1BB-97E7-0AFB-7802-4735A261A105}"/>
              </a:ext>
            </a:extLst>
          </p:cNvPr>
          <p:cNvGrpSpPr/>
          <p:nvPr/>
        </p:nvGrpSpPr>
        <p:grpSpPr>
          <a:xfrm>
            <a:off x="955534" y="2822671"/>
            <a:ext cx="4920573" cy="2328255"/>
            <a:chOff x="1007552" y="616178"/>
            <a:chExt cx="10305006" cy="5038002"/>
          </a:xfrm>
        </p:grpSpPr>
        <p:pic>
          <p:nvPicPr>
            <p:cNvPr id="20" name="Picture 19">
              <a:extLst>
                <a:ext uri="{FF2B5EF4-FFF2-40B4-BE49-F238E27FC236}">
                  <a16:creationId xmlns:a16="http://schemas.microsoft.com/office/drawing/2014/main" id="{02D6FD8D-1AC3-ECCB-FF92-D88805F0172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07552" y="616178"/>
              <a:ext cx="10305006" cy="5038002"/>
            </a:xfrm>
            <a:prstGeom prst="rect">
              <a:avLst/>
            </a:prstGeom>
            <a:ln>
              <a:solidFill>
                <a:schemeClr val="bg1">
                  <a:lumMod val="65000"/>
                </a:schemeClr>
              </a:solidFill>
            </a:ln>
            <a:effectLst>
              <a:outerShdw blurRad="50800" dist="38100" dir="2700000" algn="tl" rotWithShape="0">
                <a:prstClr val="black">
                  <a:alpha val="40000"/>
                </a:prstClr>
              </a:outerShdw>
            </a:effectLst>
          </p:spPr>
        </p:pic>
        <p:pic>
          <p:nvPicPr>
            <p:cNvPr id="22" name="Picture 21">
              <a:extLst>
                <a:ext uri="{FF2B5EF4-FFF2-40B4-BE49-F238E27FC236}">
                  <a16:creationId xmlns:a16="http://schemas.microsoft.com/office/drawing/2014/main" id="{63B1619D-BF7C-7F55-82EC-2CA0625FDBCB}"/>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979801" y="3055165"/>
              <a:ext cx="9250785" cy="1751727"/>
            </a:xfrm>
            <a:prstGeom prst="rect">
              <a:avLst/>
            </a:prstGeom>
          </p:spPr>
        </p:pic>
      </p:grpSp>
      <p:sp>
        <p:nvSpPr>
          <p:cNvPr id="24" name="Rectangle: Rounded Corners 23">
            <a:extLst>
              <a:ext uri="{FF2B5EF4-FFF2-40B4-BE49-F238E27FC236}">
                <a16:creationId xmlns:a16="http://schemas.microsoft.com/office/drawing/2014/main" id="{0F61432C-43A8-42BE-9844-B84CD563C8E9}"/>
              </a:ext>
            </a:extLst>
          </p:cNvPr>
          <p:cNvSpPr/>
          <p:nvPr/>
        </p:nvSpPr>
        <p:spPr>
          <a:xfrm>
            <a:off x="901390" y="2434843"/>
            <a:ext cx="2352516" cy="422922"/>
          </a:xfrm>
          <a:prstGeom prst="roundRect">
            <a:avLst/>
          </a:prstGeom>
          <a:solidFill>
            <a:srgbClr val="00206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lnSpc>
                <a:spcPct val="75000"/>
              </a:lnSpc>
              <a:defRPr/>
            </a:pPr>
            <a:r>
              <a:rPr lang="en-US" sz="1200" b="1">
                <a:solidFill>
                  <a:prstClr val="white"/>
                </a:solidFill>
                <a:latin typeface="+mj-lt"/>
              </a:rPr>
              <a:t>Order View from Bayer</a:t>
            </a:r>
          </a:p>
        </p:txBody>
      </p:sp>
      <p:grpSp>
        <p:nvGrpSpPr>
          <p:cNvPr id="27" name="Group 26">
            <a:extLst>
              <a:ext uri="{FF2B5EF4-FFF2-40B4-BE49-F238E27FC236}">
                <a16:creationId xmlns:a16="http://schemas.microsoft.com/office/drawing/2014/main" id="{778095BA-C9F0-F5AA-71BD-B02DC2118F10}"/>
              </a:ext>
            </a:extLst>
          </p:cNvPr>
          <p:cNvGrpSpPr/>
          <p:nvPr/>
        </p:nvGrpSpPr>
        <p:grpSpPr>
          <a:xfrm>
            <a:off x="3704443" y="1354435"/>
            <a:ext cx="6898742" cy="4326218"/>
            <a:chOff x="3215344" y="799230"/>
            <a:chExt cx="7820966" cy="5308690"/>
          </a:xfrm>
        </p:grpSpPr>
        <p:pic>
          <p:nvPicPr>
            <p:cNvPr id="28" name="Picture 27">
              <a:extLst>
                <a:ext uri="{FF2B5EF4-FFF2-40B4-BE49-F238E27FC236}">
                  <a16:creationId xmlns:a16="http://schemas.microsoft.com/office/drawing/2014/main" id="{91588C87-94C8-9840-0F61-8E2A5E0BF1FD}"/>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3215344" y="902480"/>
              <a:ext cx="6090900" cy="3482966"/>
            </a:xfrm>
            <a:prstGeom prst="rect">
              <a:avLst/>
            </a:prstGeom>
            <a:ln>
              <a:solidFill>
                <a:schemeClr val="bg1">
                  <a:lumMod val="65000"/>
                </a:schemeClr>
              </a:solidFill>
            </a:ln>
            <a:effectLst>
              <a:outerShdw blurRad="50800" dist="38100" dir="2700000" algn="tl" rotWithShape="0">
                <a:prstClr val="black">
                  <a:alpha val="40000"/>
                </a:prstClr>
              </a:outerShdw>
            </a:effectLst>
          </p:spPr>
        </p:pic>
        <p:sp>
          <p:nvSpPr>
            <p:cNvPr id="29" name="Rectangle: Rounded Corners 28">
              <a:extLst>
                <a:ext uri="{FF2B5EF4-FFF2-40B4-BE49-F238E27FC236}">
                  <a16:creationId xmlns:a16="http://schemas.microsoft.com/office/drawing/2014/main" id="{99273230-CFF6-2B00-D148-2D8F804B2242}"/>
                </a:ext>
              </a:extLst>
            </p:cNvPr>
            <p:cNvSpPr/>
            <p:nvPr/>
          </p:nvSpPr>
          <p:spPr>
            <a:xfrm>
              <a:off x="4499542" y="799230"/>
              <a:ext cx="2667000" cy="518967"/>
            </a:xfrm>
            <a:prstGeom prst="roundRect">
              <a:avLst/>
            </a:prstGeom>
            <a:solidFill>
              <a:srgbClr val="00206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lnSpc>
                  <a:spcPct val="75000"/>
                </a:lnSpc>
                <a:defRPr/>
              </a:pPr>
              <a:r>
                <a:rPr lang="en-US" sz="1200" b="1">
                  <a:solidFill>
                    <a:prstClr val="white"/>
                  </a:solidFill>
                  <a:latin typeface="+mj-lt"/>
                </a:rPr>
                <a:t>Shared View</a:t>
              </a:r>
            </a:p>
          </p:txBody>
        </p:sp>
        <p:grpSp>
          <p:nvGrpSpPr>
            <p:cNvPr id="30" name="Group 29">
              <a:extLst>
                <a:ext uri="{FF2B5EF4-FFF2-40B4-BE49-F238E27FC236}">
                  <a16:creationId xmlns:a16="http://schemas.microsoft.com/office/drawing/2014/main" id="{EE135636-1FD7-372B-62A3-331A1AA4E8EE}"/>
                </a:ext>
              </a:extLst>
            </p:cNvPr>
            <p:cNvGrpSpPr/>
            <p:nvPr/>
          </p:nvGrpSpPr>
          <p:grpSpPr>
            <a:xfrm>
              <a:off x="4347142" y="4063009"/>
              <a:ext cx="6689168" cy="2044911"/>
              <a:chOff x="4347142" y="4063009"/>
              <a:chExt cx="6689168" cy="2044911"/>
            </a:xfrm>
          </p:grpSpPr>
          <p:cxnSp>
            <p:nvCxnSpPr>
              <p:cNvPr id="31" name="Straight Arrow Connector 30">
                <a:extLst>
                  <a:ext uri="{FF2B5EF4-FFF2-40B4-BE49-F238E27FC236}">
                    <a16:creationId xmlns:a16="http://schemas.microsoft.com/office/drawing/2014/main" id="{A462942D-5FD4-3A3E-B597-A4A8F28375D4}"/>
                  </a:ext>
                </a:extLst>
              </p:cNvPr>
              <p:cNvCxnSpPr>
                <a:cxnSpLocks/>
                <a:stCxn id="33" idx="7"/>
              </p:cNvCxnSpPr>
              <p:nvPr/>
            </p:nvCxnSpPr>
            <p:spPr>
              <a:xfrm flipV="1">
                <a:off x="4607305" y="4063009"/>
                <a:ext cx="1048608" cy="470119"/>
              </a:xfrm>
              <a:prstGeom prst="straightConnector1">
                <a:avLst/>
              </a:prstGeom>
              <a:ln w="25400">
                <a:solidFill>
                  <a:srgbClr val="7030A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A98C778D-FF2F-30FD-72BE-2BDF53964B1F}"/>
                  </a:ext>
                </a:extLst>
              </p:cNvPr>
              <p:cNvCxnSpPr>
                <a:cxnSpLocks/>
                <a:stCxn id="34" idx="0"/>
              </p:cNvCxnSpPr>
              <p:nvPr/>
            </p:nvCxnSpPr>
            <p:spPr>
              <a:xfrm flipH="1" flipV="1">
                <a:off x="6476025" y="4402666"/>
                <a:ext cx="962358" cy="1400454"/>
              </a:xfrm>
              <a:prstGeom prst="straightConnector1">
                <a:avLst/>
              </a:prstGeom>
              <a:ln w="25400">
                <a:solidFill>
                  <a:srgbClr val="7030A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F2EBCCCB-FBBB-FDF3-89AA-441DA2F052CE}"/>
                  </a:ext>
                </a:extLst>
              </p:cNvPr>
              <p:cNvSpPr/>
              <p:nvPr/>
            </p:nvSpPr>
            <p:spPr>
              <a:xfrm>
                <a:off x="4347142" y="4488491"/>
                <a:ext cx="304800" cy="304800"/>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a:solidFill>
                    <a:prstClr val="white"/>
                  </a:solidFill>
                  <a:latin typeface="+mj-lt"/>
                </a:endParaRPr>
              </a:p>
            </p:txBody>
          </p:sp>
          <p:sp>
            <p:nvSpPr>
              <p:cNvPr id="34" name="Oval 33">
                <a:extLst>
                  <a:ext uri="{FF2B5EF4-FFF2-40B4-BE49-F238E27FC236}">
                    <a16:creationId xmlns:a16="http://schemas.microsoft.com/office/drawing/2014/main" id="{0B5AD9D8-5663-029F-C86C-7C6C24D4D422}"/>
                  </a:ext>
                </a:extLst>
              </p:cNvPr>
              <p:cNvSpPr/>
              <p:nvPr/>
            </p:nvSpPr>
            <p:spPr>
              <a:xfrm>
                <a:off x="7285983" y="5803120"/>
                <a:ext cx="304800" cy="304800"/>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a:solidFill>
                    <a:prstClr val="white"/>
                  </a:solidFill>
                  <a:latin typeface="+mj-lt"/>
                </a:endParaRPr>
              </a:p>
            </p:txBody>
          </p:sp>
          <p:cxnSp>
            <p:nvCxnSpPr>
              <p:cNvPr id="35" name="Straight Arrow Connector 34">
                <a:extLst>
                  <a:ext uri="{FF2B5EF4-FFF2-40B4-BE49-F238E27FC236}">
                    <a16:creationId xmlns:a16="http://schemas.microsoft.com/office/drawing/2014/main" id="{9EF3EF7E-96F1-894E-85AF-59C22AF2044E}"/>
                  </a:ext>
                </a:extLst>
              </p:cNvPr>
              <p:cNvCxnSpPr>
                <a:cxnSpLocks/>
                <a:stCxn id="36" idx="1"/>
              </p:cNvCxnSpPr>
              <p:nvPr/>
            </p:nvCxnSpPr>
            <p:spPr>
              <a:xfrm flipH="1" flipV="1">
                <a:off x="7524323" y="4108649"/>
                <a:ext cx="3251824" cy="469116"/>
              </a:xfrm>
              <a:prstGeom prst="straightConnector1">
                <a:avLst/>
              </a:prstGeom>
              <a:ln w="25400">
                <a:solidFill>
                  <a:srgbClr val="7030A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2BA3E102-C4C4-2E5A-2A8F-C27332B44E90}"/>
                  </a:ext>
                </a:extLst>
              </p:cNvPr>
              <p:cNvSpPr/>
              <p:nvPr/>
            </p:nvSpPr>
            <p:spPr>
              <a:xfrm>
                <a:off x="10731510" y="4533128"/>
                <a:ext cx="304800" cy="304800"/>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a:solidFill>
                    <a:prstClr val="white"/>
                  </a:solidFill>
                  <a:latin typeface="+mj-lt"/>
                </a:endParaRPr>
              </a:p>
            </p:txBody>
          </p:sp>
        </p:grpSp>
      </p:grpSp>
      <p:sp>
        <p:nvSpPr>
          <p:cNvPr id="37" name="Rectangle 36">
            <a:extLst>
              <a:ext uri="{FF2B5EF4-FFF2-40B4-BE49-F238E27FC236}">
                <a16:creationId xmlns:a16="http://schemas.microsoft.com/office/drawing/2014/main" id="{6C95D344-9027-FC67-8426-6DC52A1D927C}"/>
              </a:ext>
            </a:extLst>
          </p:cNvPr>
          <p:cNvSpPr/>
          <p:nvPr/>
        </p:nvSpPr>
        <p:spPr>
          <a:xfrm>
            <a:off x="5876107" y="3949820"/>
            <a:ext cx="1629215" cy="33550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j-lt"/>
            </a:endParaRPr>
          </a:p>
        </p:txBody>
      </p:sp>
      <p:sp>
        <p:nvSpPr>
          <p:cNvPr id="39" name="Content Placeholder 2">
            <a:extLst>
              <a:ext uri="{FF2B5EF4-FFF2-40B4-BE49-F238E27FC236}">
                <a16:creationId xmlns:a16="http://schemas.microsoft.com/office/drawing/2014/main" id="{F9C36BCB-B447-EB12-7954-F0C508AED988}"/>
              </a:ext>
            </a:extLst>
          </p:cNvPr>
          <p:cNvSpPr txBox="1">
            <a:spLocks/>
          </p:cNvSpPr>
          <p:nvPr/>
        </p:nvSpPr>
        <p:spPr>
          <a:xfrm>
            <a:off x="1033239" y="6179769"/>
            <a:ext cx="10143205" cy="528393"/>
          </a:xfrm>
          <a:prstGeom prst="rect">
            <a:avLst/>
          </a:prstGeom>
          <a:solidFill>
            <a:srgbClr val="002060"/>
          </a:solidFill>
        </p:spPr>
        <p:txBody>
          <a:bodyPr lIns="91440" tIns="45720" rIns="91440" bIns="45720" anchor="t">
            <a:noAutofit/>
          </a:bodyPr>
          <a:lstStyle>
            <a:lvl1pPr marL="347663" indent="-347663" algn="l" defTabSz="1219170" rtl="0" eaLnBrk="1" latinLnBrk="0" hangingPunct="1">
              <a:spcBef>
                <a:spcPts val="1200"/>
              </a:spcBef>
              <a:buClr>
                <a:srgbClr val="2DA2BF"/>
              </a:buClr>
              <a:buFont typeface="Arial" panose="020B0604020202020204" pitchFamily="34" charset="0"/>
              <a:buChar char="•"/>
              <a:tabLst/>
              <a:defRPr sz="2800" b="0" i="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21945" lvl="1" indent="0" algn="ctr">
              <a:spcBef>
                <a:spcPts val="600"/>
              </a:spcBef>
              <a:buNone/>
            </a:pPr>
            <a:r>
              <a:rPr lang="en-US" sz="1600" b="1">
                <a:solidFill>
                  <a:schemeClr val="bg1"/>
                </a:solidFill>
                <a:latin typeface="Open Sans"/>
                <a:ea typeface="Open Sans"/>
                <a:cs typeface="Open Sans"/>
              </a:rPr>
              <a:t>A “shared system” considerably reduces problem identification and resolution cycles and eliminates numerous manual and repetitive activities.</a:t>
            </a:r>
            <a:endParaRPr lang="en-US" sz="1200" b="1">
              <a:solidFill>
                <a:schemeClr val="bg1"/>
              </a:solidFill>
              <a:latin typeface="Open Sans"/>
              <a:ea typeface="Open Sans"/>
              <a:cs typeface="Open Sans"/>
            </a:endParaRPr>
          </a:p>
        </p:txBody>
      </p:sp>
    </p:spTree>
    <p:extLst>
      <p:ext uri="{BB962C8B-B14F-4D97-AF65-F5344CB8AC3E}">
        <p14:creationId xmlns:p14="http://schemas.microsoft.com/office/powerpoint/2010/main" val="34352565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ne Network Enterprises">
  <a:themeElements>
    <a:clrScheme name="ONE Standard Colors">
      <a:dk1>
        <a:srgbClr val="000000"/>
      </a:dk1>
      <a:lt1>
        <a:srgbClr val="FFFFFF"/>
      </a:lt1>
      <a:dk2>
        <a:srgbClr val="031434"/>
      </a:dk2>
      <a:lt2>
        <a:srgbClr val="F1F1F1"/>
      </a:lt2>
      <a:accent1>
        <a:srgbClr val="1D3446"/>
      </a:accent1>
      <a:accent2>
        <a:srgbClr val="2CA2BF"/>
      </a:accent2>
      <a:accent3>
        <a:srgbClr val="00C085"/>
      </a:accent3>
      <a:accent4>
        <a:srgbClr val="FB9200"/>
      </a:accent4>
      <a:accent5>
        <a:srgbClr val="990000"/>
      </a:accent5>
      <a:accent6>
        <a:srgbClr val="454545"/>
      </a:accent6>
      <a:hlink>
        <a:srgbClr val="0000FF"/>
      </a:hlink>
      <a:folHlink>
        <a:srgbClr val="800080"/>
      </a:folHlink>
    </a:clrScheme>
    <a:fontScheme name="ONE Open Sans">
      <a:majorFont>
        <a:latin typeface="Open Sans Semibold"/>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pPr>
      <a:bodyPr/>
      <a:lstStyle/>
      <a:style>
        <a:lnRef idx="1">
          <a:schemeClr val="accent1"/>
        </a:lnRef>
        <a:fillRef idx="0">
          <a:schemeClr val="accent1"/>
        </a:fillRef>
        <a:effectRef idx="0">
          <a:schemeClr val="accent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ma14="http://schemas.microsoft.com/office/mac/drawingml/2011/main" xmlns="" val="1"/>
          </a:ext>
        </a:extLst>
      </a:spPr>
      <a:bodyPr wrap="square" lIns="45719" rIns="45719" rtlCol="0" anchor="t">
        <a:noAutofit/>
      </a:bodyPr>
      <a:lstStyle>
        <a:defPPr algn="l">
          <a:defRPr sz="2000" kern="0" dirty="0" smtClean="0">
            <a:latin typeface="Open Sans" panose="020B0606030504020204" pitchFamily="34" charset="0"/>
            <a:ea typeface="Open Sans" panose="020B0606030504020204" pitchFamily="34" charset="0"/>
            <a:cs typeface="Open Sans" panose="020B0606030504020204" pitchFamily="34" charset="0"/>
          </a:defRPr>
        </a:defPPr>
      </a:lstStyle>
    </a:txDef>
  </a:objectDefaults>
  <a:extraClrSchemeLst/>
  <a:extLst>
    <a:ext uri="{05A4C25C-085E-4340-85A3-A5531E510DB2}">
      <thm15:themeFamily xmlns:thm15="http://schemas.microsoft.com/office/thememl/2012/main" name="Presentation5" id="{C3CC0818-99DF-5F4F-9A28-4EF9F3FC74E1}" vid="{A72F6D6D-38DD-BF4A-842F-996ACBFE3A66}"/>
    </a:ext>
  </a:extLst>
</a:theme>
</file>

<file path=ppt/theme/theme2.xml><?xml version="1.0" encoding="utf-8"?>
<a:theme xmlns:a="http://schemas.openxmlformats.org/drawingml/2006/main" name="1_One Network Enterprises">
  <a:themeElements>
    <a:clrScheme name="ONE Standard Colors">
      <a:dk1>
        <a:srgbClr val="000000"/>
      </a:dk1>
      <a:lt1>
        <a:srgbClr val="FFFFFF"/>
      </a:lt1>
      <a:dk2>
        <a:srgbClr val="031434"/>
      </a:dk2>
      <a:lt2>
        <a:srgbClr val="F1F1F1"/>
      </a:lt2>
      <a:accent1>
        <a:srgbClr val="1D3446"/>
      </a:accent1>
      <a:accent2>
        <a:srgbClr val="2CA2BF"/>
      </a:accent2>
      <a:accent3>
        <a:srgbClr val="00C085"/>
      </a:accent3>
      <a:accent4>
        <a:srgbClr val="FB9200"/>
      </a:accent4>
      <a:accent5>
        <a:srgbClr val="990000"/>
      </a:accent5>
      <a:accent6>
        <a:srgbClr val="454545"/>
      </a:accent6>
      <a:hlink>
        <a:srgbClr val="0000FF"/>
      </a:hlink>
      <a:folHlink>
        <a:srgbClr val="800080"/>
      </a:folHlink>
    </a:clrScheme>
    <a:fontScheme name="ONE Open Sans">
      <a:majorFont>
        <a:latin typeface="Open Sans Semibold"/>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pPr>
      <a:bodyPr/>
      <a:lstStyle/>
      <a:style>
        <a:lnRef idx="1">
          <a:schemeClr val="accent1"/>
        </a:lnRef>
        <a:fillRef idx="0">
          <a:schemeClr val="accent1"/>
        </a:fillRef>
        <a:effectRef idx="0">
          <a:schemeClr val="accent1"/>
        </a:effectRef>
        <a:fontRef idx="minor">
          <a:schemeClr val="tx1"/>
        </a:fontRef>
      </a:style>
    </a:lnDef>
    <a:txDef>
      <a:spPr>
        <a:ln w="12700">
          <a:miter lim="400000"/>
        </a:ln>
        <a:extLst>
          <a:ext uri="{C572A759-6A51-4108-AA02-DFA0A04FC94B}">
            <ma14:wrappingTextBoxFlag xmlns="" xmlns:ma14="http://schemas.microsoft.com/office/mac/drawingml/2011/main" xmlns:p="http://schemas.openxmlformats.org/presentationml/2006/main" xmlns:r="http://schemas.openxmlformats.org/officeDocument/2006/relationships" val="1"/>
          </a:ext>
        </a:extLst>
      </a:spPr>
      <a:bodyPr wrap="square" lIns="45719" rIns="45719" rtlCol="0" anchor="t">
        <a:noAutofit/>
      </a:bodyPr>
      <a:lstStyle>
        <a:defPPr algn="l">
          <a:defRPr sz="2000" kern="0" dirty="0" smtClean="0">
            <a:latin typeface="Open Sans" panose="020B0606030504020204" pitchFamily="34" charset="0"/>
            <a:ea typeface="Open Sans" panose="020B0606030504020204" pitchFamily="34" charset="0"/>
            <a:cs typeface="Open Sans" panose="020B0606030504020204" pitchFamily="34" charset="0"/>
          </a:defRPr>
        </a:defPPr>
      </a:lstStyle>
    </a:txDef>
  </a:objectDefaults>
  <a:extraClrSchemeLst/>
  <a:extLst>
    <a:ext uri="{05A4C25C-085E-4340-85A3-A5531E510DB2}">
      <thm15:themeFamily xmlns:thm15="http://schemas.microsoft.com/office/thememl/2012/main" name="Presentation14" id="{FB387992-80C6-1943-A14E-AF4D320410A7}" vid="{31A5CFA2-E2D1-934E-ABC4-A0BC72448DE8}"/>
    </a:ext>
  </a:extLst>
</a:theme>
</file>

<file path=ppt/theme/theme3.xml><?xml version="1.0" encoding="utf-8"?>
<a:theme xmlns:a="http://schemas.openxmlformats.org/drawingml/2006/main" name="One Network Enterprises">
  <a:themeElements>
    <a:clrScheme name="ONE Standard Colors">
      <a:dk1>
        <a:srgbClr val="000000"/>
      </a:dk1>
      <a:lt1>
        <a:srgbClr val="FFFFFF"/>
      </a:lt1>
      <a:dk2>
        <a:srgbClr val="031434"/>
      </a:dk2>
      <a:lt2>
        <a:srgbClr val="F1F1F1"/>
      </a:lt2>
      <a:accent1>
        <a:srgbClr val="1D3446"/>
      </a:accent1>
      <a:accent2>
        <a:srgbClr val="2CA2BF"/>
      </a:accent2>
      <a:accent3>
        <a:srgbClr val="00C085"/>
      </a:accent3>
      <a:accent4>
        <a:srgbClr val="FB9200"/>
      </a:accent4>
      <a:accent5>
        <a:srgbClr val="990000"/>
      </a:accent5>
      <a:accent6>
        <a:srgbClr val="454545"/>
      </a:accent6>
      <a:hlink>
        <a:srgbClr val="0000FF"/>
      </a:hlink>
      <a:folHlink>
        <a:srgbClr val="800080"/>
      </a:folHlink>
    </a:clrScheme>
    <a:fontScheme name="ONE Open Sans">
      <a:majorFont>
        <a:latin typeface="Open Sans Semibold"/>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pPr>
      <a:bodyPr/>
      <a:lstStyle/>
      <a:style>
        <a:lnRef idx="1">
          <a:schemeClr val="accent1"/>
        </a:lnRef>
        <a:fillRef idx="0">
          <a:schemeClr val="accent1"/>
        </a:fillRef>
        <a:effectRef idx="0">
          <a:schemeClr val="accent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ma14="http://schemas.microsoft.com/office/mac/drawingml/2011/main" xmlns="" val="1"/>
          </a:ext>
        </a:extLst>
      </a:spPr>
      <a:bodyPr wrap="square" lIns="45719" rIns="45719" rtlCol="0" anchor="t">
        <a:noAutofit/>
      </a:bodyPr>
      <a:lstStyle>
        <a:defPPr algn="l">
          <a:defRPr sz="2000" kern="0" dirty="0" smtClean="0">
            <a:latin typeface="Open Sans" panose="020B0606030504020204" pitchFamily="34" charset="0"/>
            <a:ea typeface="Open Sans" panose="020B0606030504020204" pitchFamily="34" charset="0"/>
            <a:cs typeface="Open Sans" panose="020B0606030504020204" pitchFamily="34" charset="0"/>
          </a:defRPr>
        </a:defPPr>
      </a:lstStyle>
    </a:txDef>
  </a:objectDefaults>
  <a:extraClrSchemeLst/>
  <a:extLst>
    <a:ext uri="{05A4C25C-085E-4340-85A3-A5531E510DB2}">
      <thm15:themeFamily xmlns:thm15="http://schemas.microsoft.com/office/thememl/2012/main" name="Presentation14" id="{FB387992-80C6-1943-A14E-AF4D320410A7}" vid="{31A5CFA2-E2D1-934E-ABC4-A0BC72448DE8}"/>
    </a:ext>
  </a:extLst>
</a:theme>
</file>

<file path=ppt/theme/theme4.xml><?xml version="1.0" encoding="utf-8"?>
<a:theme xmlns:a="http://schemas.openxmlformats.org/drawingml/2006/main" name="One Network Enterprises">
  <a:themeElements>
    <a:clrScheme name="ONE Standard Colors">
      <a:dk1>
        <a:srgbClr val="000000"/>
      </a:dk1>
      <a:lt1>
        <a:srgbClr val="FFFFFF"/>
      </a:lt1>
      <a:dk2>
        <a:srgbClr val="031434"/>
      </a:dk2>
      <a:lt2>
        <a:srgbClr val="F1F1F1"/>
      </a:lt2>
      <a:accent1>
        <a:srgbClr val="1D3446"/>
      </a:accent1>
      <a:accent2>
        <a:srgbClr val="2CA2BF"/>
      </a:accent2>
      <a:accent3>
        <a:srgbClr val="00C085"/>
      </a:accent3>
      <a:accent4>
        <a:srgbClr val="FB9200"/>
      </a:accent4>
      <a:accent5>
        <a:srgbClr val="990000"/>
      </a:accent5>
      <a:accent6>
        <a:srgbClr val="454545"/>
      </a:accent6>
      <a:hlink>
        <a:srgbClr val="0000FF"/>
      </a:hlink>
      <a:folHlink>
        <a:srgbClr val="800080"/>
      </a:folHlink>
    </a:clrScheme>
    <a:fontScheme name="ONE Open Sans">
      <a:majorFont>
        <a:latin typeface="Open Sans Semibold"/>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pPr>
      <a:bodyPr/>
      <a:lstStyle/>
      <a:style>
        <a:lnRef idx="1">
          <a:schemeClr val="accent1"/>
        </a:lnRef>
        <a:fillRef idx="0">
          <a:schemeClr val="accent1"/>
        </a:fillRef>
        <a:effectRef idx="0">
          <a:schemeClr val="accent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ma14="http://schemas.microsoft.com/office/mac/drawingml/2011/main" xmlns="" val="1"/>
          </a:ext>
        </a:extLst>
      </a:spPr>
      <a:bodyPr wrap="square" lIns="45719" rIns="45719" rtlCol="0" anchor="t">
        <a:noAutofit/>
      </a:bodyPr>
      <a:lstStyle>
        <a:defPPr algn="l">
          <a:defRPr sz="2000" kern="0" dirty="0" smtClean="0">
            <a:latin typeface="Open Sans" panose="020B0606030504020204" pitchFamily="34" charset="0"/>
            <a:ea typeface="Open Sans" panose="020B0606030504020204" pitchFamily="34" charset="0"/>
            <a:cs typeface="Open Sans" panose="020B0606030504020204" pitchFamily="34" charset="0"/>
          </a:defRPr>
        </a:defPPr>
      </a:lstStyle>
    </a:txDef>
  </a:objectDefaults>
  <a:extraClrSchemeLst/>
  <a:extLst>
    <a:ext uri="{05A4C25C-085E-4340-85A3-A5531E510DB2}">
      <thm15:themeFamily xmlns:thm15="http://schemas.microsoft.com/office/thememl/2012/main" name="Presentation14" id="{FB387992-80C6-1943-A14E-AF4D320410A7}" vid="{31A5CFA2-E2D1-934E-ABC4-A0BC72448DE8}"/>
    </a:ext>
  </a:extLst>
</a:theme>
</file>

<file path=ppt/theme/theme5.xml><?xml version="1.0" encoding="utf-8"?>
<a:theme xmlns:a="http://schemas.openxmlformats.org/drawingml/2006/main" name="One Network Enterprises">
  <a:themeElements>
    <a:clrScheme name="ONE Standard Colors">
      <a:dk1>
        <a:srgbClr val="000000"/>
      </a:dk1>
      <a:lt1>
        <a:srgbClr val="FFFFFF"/>
      </a:lt1>
      <a:dk2>
        <a:srgbClr val="031434"/>
      </a:dk2>
      <a:lt2>
        <a:srgbClr val="F1F1F1"/>
      </a:lt2>
      <a:accent1>
        <a:srgbClr val="1D3446"/>
      </a:accent1>
      <a:accent2>
        <a:srgbClr val="2CA2BF"/>
      </a:accent2>
      <a:accent3>
        <a:srgbClr val="00C085"/>
      </a:accent3>
      <a:accent4>
        <a:srgbClr val="FB9200"/>
      </a:accent4>
      <a:accent5>
        <a:srgbClr val="990000"/>
      </a:accent5>
      <a:accent6>
        <a:srgbClr val="454545"/>
      </a:accent6>
      <a:hlink>
        <a:srgbClr val="0000FF"/>
      </a:hlink>
      <a:folHlink>
        <a:srgbClr val="800080"/>
      </a:folHlink>
    </a:clrScheme>
    <a:fontScheme name="ONE Open Sans">
      <a:majorFont>
        <a:latin typeface="Open Sans Semibold"/>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pPr>
      <a:bodyPr/>
      <a:lstStyle/>
      <a:style>
        <a:lnRef idx="1">
          <a:schemeClr val="accent1"/>
        </a:lnRef>
        <a:fillRef idx="0">
          <a:schemeClr val="accent1"/>
        </a:fillRef>
        <a:effectRef idx="0">
          <a:schemeClr val="accent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ma14="http://schemas.microsoft.com/office/mac/drawingml/2011/main" xmlns="" val="1"/>
          </a:ext>
        </a:extLst>
      </a:spPr>
      <a:bodyPr wrap="square" lIns="45719" rIns="45719" rtlCol="0" anchor="t">
        <a:noAutofit/>
      </a:bodyPr>
      <a:lstStyle>
        <a:defPPr algn="l">
          <a:defRPr sz="2000" kern="0" dirty="0" smtClean="0">
            <a:latin typeface="Open Sans" panose="020B0606030504020204" pitchFamily="34" charset="0"/>
            <a:ea typeface="Open Sans" panose="020B0606030504020204" pitchFamily="34" charset="0"/>
            <a:cs typeface="Open Sans" panose="020B0606030504020204" pitchFamily="34" charset="0"/>
          </a:defRPr>
        </a:defPPr>
      </a:lstStyle>
    </a:txDef>
  </a:objectDefaults>
  <a:extraClrSchemeLst/>
  <a:extLst>
    <a:ext uri="{05A4C25C-085E-4340-85A3-A5531E510DB2}">
      <thm15:themeFamily xmlns:thm15="http://schemas.microsoft.com/office/thememl/2012/main" name="Presentation14" id="{FB387992-80C6-1943-A14E-AF4D320410A7}" vid="{31A5CFA2-E2D1-934E-ABC4-A0BC72448DE8}"/>
    </a:ext>
  </a:extLst>
</a:theme>
</file>

<file path=ppt/theme/theme6.xml><?xml version="1.0" encoding="utf-8"?>
<a:theme xmlns:a="http://schemas.openxmlformats.org/drawingml/2006/main" name="One Network Enterprises">
  <a:themeElements>
    <a:clrScheme name="ONE Standard Colors">
      <a:dk1>
        <a:srgbClr val="000000"/>
      </a:dk1>
      <a:lt1>
        <a:srgbClr val="FFFFFF"/>
      </a:lt1>
      <a:dk2>
        <a:srgbClr val="031434"/>
      </a:dk2>
      <a:lt2>
        <a:srgbClr val="F1F1F1"/>
      </a:lt2>
      <a:accent1>
        <a:srgbClr val="1D3446"/>
      </a:accent1>
      <a:accent2>
        <a:srgbClr val="2CA2BF"/>
      </a:accent2>
      <a:accent3>
        <a:srgbClr val="00C085"/>
      </a:accent3>
      <a:accent4>
        <a:srgbClr val="FB9200"/>
      </a:accent4>
      <a:accent5>
        <a:srgbClr val="990000"/>
      </a:accent5>
      <a:accent6>
        <a:srgbClr val="454545"/>
      </a:accent6>
      <a:hlink>
        <a:srgbClr val="0000FF"/>
      </a:hlink>
      <a:folHlink>
        <a:srgbClr val="800080"/>
      </a:folHlink>
    </a:clrScheme>
    <a:fontScheme name="ONE Open Sans">
      <a:majorFont>
        <a:latin typeface="Open Sans Semibold"/>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pPr>
      <a:bodyPr/>
      <a:lstStyle/>
      <a:style>
        <a:lnRef idx="1">
          <a:schemeClr val="accent1"/>
        </a:lnRef>
        <a:fillRef idx="0">
          <a:schemeClr val="accent1"/>
        </a:fillRef>
        <a:effectRef idx="0">
          <a:schemeClr val="accent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ma14="http://schemas.microsoft.com/office/mac/drawingml/2011/main" xmlns="" val="1"/>
          </a:ext>
        </a:extLst>
      </a:spPr>
      <a:bodyPr wrap="square" lIns="45719" rIns="45719" rtlCol="0" anchor="t">
        <a:noAutofit/>
      </a:bodyPr>
      <a:lstStyle>
        <a:defPPr algn="l">
          <a:defRPr sz="2000" kern="0" dirty="0" smtClean="0">
            <a:latin typeface="Open Sans" panose="020B0606030504020204" pitchFamily="34" charset="0"/>
            <a:ea typeface="Open Sans" panose="020B0606030504020204" pitchFamily="34" charset="0"/>
            <a:cs typeface="Open Sans" panose="020B0606030504020204" pitchFamily="34" charset="0"/>
          </a:defRPr>
        </a:defPPr>
      </a:lstStyle>
    </a:txDef>
  </a:objectDefaults>
  <a:extraClrSchemeLst/>
  <a:extLst>
    <a:ext uri="{05A4C25C-085E-4340-85A3-A5531E510DB2}">
      <thm15:themeFamily xmlns:thm15="http://schemas.microsoft.com/office/thememl/2012/main" name="Presentation14" id="{FB387992-80C6-1943-A14E-AF4D320410A7}" vid="{31A5CFA2-E2D1-934E-ABC4-A0BC72448DE8}"/>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8ac8f69b-e8b3-4978-97c1-f889f31d47e6">
      <UserInfo>
        <DisplayName>Castillo, Julian</DisplayName>
        <AccountId>140</AccountId>
        <AccountType/>
      </UserInfo>
      <UserInfo>
        <DisplayName>Tadros, Ashraf</DisplayName>
        <AccountId>84</AccountId>
        <AccountType/>
      </UserInfo>
      <UserInfo>
        <DisplayName>Huffman, Marshall</DisplayName>
        <AccountId>86</AccountId>
        <AccountType/>
      </UserInfo>
      <UserInfo>
        <DisplayName>Soshnikov, Sergey</DisplayName>
        <AccountId>28</AccountId>
        <AccountType/>
      </UserInfo>
      <UserInfo>
        <DisplayName>Notani, Ranjit</DisplayName>
        <AccountId>25</AccountId>
        <AccountType/>
      </UserInfo>
      <UserInfo>
        <DisplayName>Firake, Jeevan</DisplayName>
        <AccountId>219</AccountId>
        <AccountType/>
      </UserInfo>
      <UserInfo>
        <DisplayName>Harrison, Rochelle</DisplayName>
        <AccountId>155</AccountId>
        <AccountType/>
      </UserInfo>
      <UserInfo>
        <DisplayName>NT Service\spsearch</DisplayName>
        <AccountId>11</AccountId>
        <AccountType/>
      </UserInfo>
      <UserInfo>
        <DisplayName>Dickinson, Melody</DisplayName>
        <AccountId>695</AccountId>
        <AccountType/>
      </UserInfo>
    </SharedWithUsers>
    <lcf76f155ced4ddcb4097134ff3c332f xmlns="57394dbe-3c0f-435b-a208-9a61b989f355">
      <Terms xmlns="http://schemas.microsoft.com/office/infopath/2007/PartnerControls"/>
    </lcf76f155ced4ddcb4097134ff3c332f>
    <MediaLengthInSeconds xmlns="57394dbe-3c0f-435b-a208-9a61b989f355" xsi:nil="true"/>
    <TaxCatchAll xmlns="8ac8f69b-e8b3-4978-97c1-f889f31d47e6" xsi:nil="true"/>
    <Status xmlns="57394dbe-3c0f-435b-a208-9a61b989f355" xsi:nil="true"/>
    <TargetDate xmlns="57394dbe-3c0f-435b-a208-9a61b989f355" xsi:nil="true"/>
    <CommentField xmlns="57394dbe-3c0f-435b-a208-9a61b989f355" xsi:nil="true"/>
    <BRDReviewed xmlns="57394dbe-3c0f-435b-a208-9a61b989f355">false</BRDReviewed>
    <CR_x0020_Driver xmlns="57394dbe-3c0f-435b-a208-9a61b989f355">
      <UserInfo>
        <DisplayName/>
        <AccountId xsi:nil="true"/>
        <AccountType/>
      </UserInfo>
    </CR_x0020_Driver>
    <SDD_x0020_Link xmlns="57394dbe-3c0f-435b-a208-9a61b989f355">
      <Url xsi:nil="true"/>
      <Description xsi:nil="true"/>
    </SDD_x0020_Link>
    <Hours xmlns="57394dbe-3c0f-435b-a208-9a61b989f355" xsi:nil="true"/>
    <BRD_x0020_Link xmlns="57394dbe-3c0f-435b-a208-9a61b989f355">
      <Url xsi:nil="true"/>
      <Description xsi:nil="true"/>
    </BRD_x0020_Link>
    <SDDReviewed xmlns="57394dbe-3c0f-435b-a208-9a61b989f355">false</SDDReviewed>
    <BRD_x0020_Driver xmlns="57394dbe-3c0f-435b-a208-9a61b989f355">
      <UserInfo>
        <DisplayName/>
        <AccountId xsi:nil="true"/>
        <AccountType/>
      </UserInfo>
    </BRD_x0020_Driver>
    <SDD_x0020_Driver xmlns="57394dbe-3c0f-435b-a208-9a61b989f355">
      <UserInfo>
        <DisplayName/>
        <AccountId xsi:nil="true"/>
        <AccountType/>
      </UserInfo>
    </SDD_x0020_Driver>
    <Program_x0020__x002d__x0020_Supporting xmlns="57394dbe-3c0f-435b-a208-9a61b989f355">
      <Value>Inbound</Value>
    </Program_x0020__x002d__x0020_Supporting>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B276442D51BDE43857A4B5B0AA6B191" ma:contentTypeVersion="31" ma:contentTypeDescription="Create a new document." ma:contentTypeScope="" ma:versionID="d62d51a135893acd160956a248dcbe0f">
  <xsd:schema xmlns:xsd="http://www.w3.org/2001/XMLSchema" xmlns:xs="http://www.w3.org/2001/XMLSchema" xmlns:p="http://schemas.microsoft.com/office/2006/metadata/properties" xmlns:ns2="57394dbe-3c0f-435b-a208-9a61b989f355" xmlns:ns3="8ac8f69b-e8b3-4978-97c1-f889f31d47e6" targetNamespace="http://schemas.microsoft.com/office/2006/metadata/properties" ma:root="true" ma:fieldsID="02c6668c37c4d67786052924789b3822" ns2:_="" ns3:_="">
    <xsd:import namespace="57394dbe-3c0f-435b-a208-9a61b989f355"/>
    <xsd:import namespace="8ac8f69b-e8b3-4978-97c1-f889f31d47e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LengthInSeconds" minOccurs="0"/>
                <xsd:element ref="ns2:lcf76f155ced4ddcb4097134ff3c332f" minOccurs="0"/>
                <xsd:element ref="ns3:TaxCatchAll" minOccurs="0"/>
                <xsd:element ref="ns2:Status" minOccurs="0"/>
                <xsd:element ref="ns2:BRD_x0020_Link" minOccurs="0"/>
                <xsd:element ref="ns2:SDD_x0020_Link" minOccurs="0"/>
                <xsd:element ref="ns2:BRDReviewed" minOccurs="0"/>
                <xsd:element ref="ns2:SDDReviewed" minOccurs="0"/>
                <xsd:element ref="ns2:CR_x0020_Driver" minOccurs="0"/>
                <xsd:element ref="ns2:BRD_x0020_Driver" minOccurs="0"/>
                <xsd:element ref="ns2:SDD_x0020_Driver" minOccurs="0"/>
                <xsd:element ref="ns2:CommentField" minOccurs="0"/>
                <xsd:element ref="ns2:TargetDate" minOccurs="0"/>
                <xsd:element ref="ns2:Hours" minOccurs="0"/>
                <xsd:element ref="ns2:Program_x0020__x002d__x0020_Supporting"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394dbe-3c0f-435b-a208-9a61b989f35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97ceb3b-7834-4f7d-ab71-1903c4a73f0b" ma:termSetId="09814cd3-568e-fe90-9814-8d621ff8fb84" ma:anchorId="fba54fb3-c3e1-fe81-a776-ca4b69148c4d" ma:open="true" ma:isKeyword="false">
      <xsd:complexType>
        <xsd:sequence>
          <xsd:element ref="pc:Terms" minOccurs="0" maxOccurs="1"/>
        </xsd:sequence>
      </xsd:complexType>
    </xsd:element>
    <xsd:element name="Status" ma:index="23" nillable="true" ma:displayName="Status" ma:description="Current Status" ma:format="Dropdown" ma:internalName="Status">
      <xsd:simpleType>
        <xsd:restriction base="dms:Choice">
          <xsd:enumeration value="0-Request"/>
          <xsd:enumeration value="1-In ONE Approval Process"/>
          <xsd:enumeration value="2-In HPE Approval Process"/>
          <xsd:enumeration value="3-Approved"/>
          <xsd:enumeration value="4-Rejected"/>
          <xsd:enumeration value="5-Archive"/>
          <xsd:enumeration value="99-Unknown"/>
          <xsd:enumeration value="1a-ONE"/>
          <xsd:enumeration value="1b-HPE"/>
          <xsd:enumeration value="6-Completed"/>
          <xsd:enumeration value="6-Completed - No Charge"/>
          <xsd:enumeration value="Potential"/>
        </xsd:restriction>
      </xsd:simpleType>
    </xsd:element>
    <xsd:element name="BRD_x0020_Link" ma:index="24" nillable="true" ma:displayName="BRD Link" ma:description="Link to BRD" ma:format="Hyperlink" ma:internalName="BRD_x0020_Link">
      <xsd:complexType>
        <xsd:complexContent>
          <xsd:extension base="dms:URL">
            <xsd:sequence>
              <xsd:element name="Url" type="dms:ValidUrl" minOccurs="0" nillable="true"/>
              <xsd:element name="Description" type="xsd:string" nillable="true"/>
            </xsd:sequence>
          </xsd:extension>
        </xsd:complexContent>
      </xsd:complexType>
    </xsd:element>
    <xsd:element name="SDD_x0020_Link" ma:index="25" nillable="true" ma:displayName="SDD Link" ma:format="Hyperlink" ma:internalName="SDD_x0020_Link">
      <xsd:complexType>
        <xsd:complexContent>
          <xsd:extension base="dms:URL">
            <xsd:sequence>
              <xsd:element name="Url" type="dms:ValidUrl" minOccurs="0" nillable="true"/>
              <xsd:element name="Description" type="xsd:string" nillable="true"/>
            </xsd:sequence>
          </xsd:extension>
        </xsd:complexContent>
      </xsd:complexType>
    </xsd:element>
    <xsd:element name="BRDReviewed" ma:index="26" nillable="true" ma:displayName="BRD Reviewed" ma:default="0" ma:format="Dropdown" ma:internalName="BRDReviewed">
      <xsd:simpleType>
        <xsd:restriction base="dms:Boolean"/>
      </xsd:simpleType>
    </xsd:element>
    <xsd:element name="SDDReviewed" ma:index="27" nillable="true" ma:displayName="SDD Reviewed" ma:default="0" ma:format="Dropdown" ma:internalName="SDDReviewed">
      <xsd:simpleType>
        <xsd:restriction base="dms:Boolean"/>
      </xsd:simpleType>
    </xsd:element>
    <xsd:element name="CR_x0020_Driver" ma:index="28" nillable="true" ma:displayName="CR Driver" ma:format="Dropdown" ma:list="UserInfo" ma:SharePointGroup="0" ma:internalName="CR_x0020_Driv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BRD_x0020_Driver" ma:index="29" nillable="true" ma:displayName="BRD Driver" ma:format="Dropdown" ma:list="UserInfo" ma:SharePointGroup="0" ma:internalName="BRD_x0020_Driv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DD_x0020_Driver" ma:index="30" nillable="true" ma:displayName="SDD Driver" ma:format="Dropdown" ma:list="UserInfo" ma:SharePointGroup="0" ma:internalName="SDD_x0020_Driv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ommentField" ma:index="31" nillable="true" ma:displayName="Comment Field" ma:format="Dropdown" ma:internalName="CommentField">
      <xsd:simpleType>
        <xsd:restriction base="dms:Note">
          <xsd:maxLength value="255"/>
        </xsd:restriction>
      </xsd:simpleType>
    </xsd:element>
    <xsd:element name="TargetDate" ma:index="32" nillable="true" ma:displayName="Target Date" ma:description="When can we expect it " ma:format="DateOnly" ma:internalName="TargetDate">
      <xsd:simpleType>
        <xsd:restriction base="dms:DateTime"/>
      </xsd:simpleType>
    </xsd:element>
    <xsd:element name="Hours" ma:index="33" nillable="true" ma:displayName="Hours" ma:description="FTE-hours" ma:format="Dropdown" ma:internalName="Hours" ma:percentage="FALSE">
      <xsd:simpleType>
        <xsd:restriction base="dms:Number"/>
      </xsd:simpleType>
    </xsd:element>
    <xsd:element name="Program_x0020__x002d__x0020_Supporting" ma:index="34" nillable="true" ma:displayName="Program - Supporting" ma:default="Inbound" ma:internalName="Program_x0020__x002d__x0020_Supporting">
      <xsd:complexType>
        <xsd:complexContent>
          <xsd:extension base="dms:MultiChoice">
            <xsd:sequence>
              <xsd:element name="Value" maxOccurs="unbounded" minOccurs="0" nillable="true">
                <xsd:simpleType>
                  <xsd:restriction base="dms:Choice">
                    <xsd:enumeration value="Inbound"/>
                    <xsd:enumeration value="Outbound"/>
                    <xsd:enumeration value="Chain of Custody"/>
                    <xsd:enumeration value="Block Chain"/>
                    <xsd:enumeration value="Collaboration"/>
                  </xsd:restriction>
                </xsd:simpleType>
              </xsd:element>
            </xsd:sequence>
          </xsd:extension>
        </xsd:complexContent>
      </xsd:complexType>
    </xsd:element>
    <xsd:element name="MediaServiceObjectDetectorVersions" ma:index="35" nillable="true" ma:displayName="MediaServiceObjectDetectorVersions" ma:hidden="true" ma:indexed="true" ma:internalName="MediaServiceObjectDetectorVersions" ma:readOnly="true">
      <xsd:simpleType>
        <xsd:restriction base="dms:Text"/>
      </xsd:simpleType>
    </xsd:element>
    <xsd:element name="MediaServiceSearchProperties" ma:index="3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ac8f69b-e8b3-4978-97c1-f889f31d47e6"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99f216bd-16f8-4679-808f-19e49ae247d9}" ma:internalName="TaxCatchAll" ma:showField="CatchAllData" ma:web="8ac8f69b-e8b3-4978-97c1-f889f31d47e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00745B4-0355-45E8-88A2-C9791438816D}">
  <ds:schemaRefs>
    <ds:schemaRef ds:uri="57394dbe-3c0f-435b-a208-9a61b989f355"/>
    <ds:schemaRef ds:uri="8ac8f69b-e8b3-4978-97c1-f889f31d47e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BC617DB-0A3A-4765-9AD4-1A3532FD352E}">
  <ds:schemaRefs>
    <ds:schemaRef ds:uri="http://schemas.microsoft.com/sharepoint/v3/contenttype/forms"/>
  </ds:schemaRefs>
</ds:datastoreItem>
</file>

<file path=customXml/itemProps3.xml><?xml version="1.0" encoding="utf-8"?>
<ds:datastoreItem xmlns:ds="http://schemas.openxmlformats.org/officeDocument/2006/customXml" ds:itemID="{84550D04-4DC7-4208-86D1-0AF6AC0B18FA}">
  <ds:schemaRefs>
    <ds:schemaRef ds:uri="57394dbe-3c0f-435b-a208-9a61b989f355"/>
    <ds:schemaRef ds:uri="8ac8f69b-e8b3-4978-97c1-f889f31d47e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20</Slides>
  <Notes>3</Notes>
  <HiddenSlides>0</HiddenSlides>
  <ScaleCrop>false</ScaleCrop>
  <HeadingPairs>
    <vt:vector size="4" baseType="variant">
      <vt:variant>
        <vt:lpstr>Theme</vt:lpstr>
      </vt:variant>
      <vt:variant>
        <vt:i4>6</vt:i4>
      </vt:variant>
      <vt:variant>
        <vt:lpstr>Slide Titles</vt:lpstr>
      </vt:variant>
      <vt:variant>
        <vt:i4>20</vt:i4>
      </vt:variant>
    </vt:vector>
  </HeadingPairs>
  <TitlesOfParts>
    <vt:vector size="26" baseType="lpstr">
      <vt:lpstr>One Network Enterprises</vt:lpstr>
      <vt:lpstr>1_One Network Enterprises</vt:lpstr>
      <vt:lpstr>One Network Enterprises</vt:lpstr>
      <vt:lpstr>One Network Enterprises</vt:lpstr>
      <vt:lpstr>One Network Enterprises</vt:lpstr>
      <vt:lpstr>One Network Enterprises</vt:lpstr>
      <vt:lpstr>Supply Chain Visibil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NE PowerPoint Presentation</dc:title>
  <dc:subject/>
  <dc:creator>Peter Nilsson</dc:creator>
  <cp:keywords/>
  <dc:description/>
  <cp:revision>1</cp:revision>
  <dcterms:created xsi:type="dcterms:W3CDTF">2022-12-05T13:29:07Z</dcterms:created>
  <dcterms:modified xsi:type="dcterms:W3CDTF">2024-04-03T15:09:3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xd_ProgID">
    <vt:lpwstr/>
  </property>
  <property fmtid="{D5CDD505-2E9C-101B-9397-08002B2CF9AE}" pid="4" name="ComplianceAssetId">
    <vt:lpwstr/>
  </property>
  <property fmtid="{D5CDD505-2E9C-101B-9397-08002B2CF9AE}" pid="5" name="TemplateUrl">
    <vt:lpwstr/>
  </property>
  <property fmtid="{D5CDD505-2E9C-101B-9397-08002B2CF9AE}" pid="6" name="_ExtendedDescription">
    <vt:lpwstr/>
  </property>
  <property fmtid="{D5CDD505-2E9C-101B-9397-08002B2CF9AE}" pid="7" name="TriggerFlowInfo">
    <vt:lpwstr/>
  </property>
  <property fmtid="{D5CDD505-2E9C-101B-9397-08002B2CF9AE}" pid="8" name="xd_Signature">
    <vt:bool>false</vt:bool>
  </property>
  <property fmtid="{D5CDD505-2E9C-101B-9397-08002B2CF9AE}" pid="9" name="ContentTypeId">
    <vt:lpwstr>0x010100FB276442D51BDE43857A4B5B0AA6B191</vt:lpwstr>
  </property>
  <property fmtid="{D5CDD505-2E9C-101B-9397-08002B2CF9AE}" pid="10" name="MSIP_Label_66f47cd8-41fa-4235-8c80-86b50baa48d7_Enabled">
    <vt:lpwstr>true</vt:lpwstr>
  </property>
  <property fmtid="{D5CDD505-2E9C-101B-9397-08002B2CF9AE}" pid="11" name="MSIP_Label_66f47cd8-41fa-4235-8c80-86b50baa48d7_SetDate">
    <vt:lpwstr>2024-01-16T18:22:49Z</vt:lpwstr>
  </property>
  <property fmtid="{D5CDD505-2E9C-101B-9397-08002B2CF9AE}" pid="12" name="MSIP_Label_66f47cd8-41fa-4235-8c80-86b50baa48d7_Method">
    <vt:lpwstr>Standard</vt:lpwstr>
  </property>
  <property fmtid="{D5CDD505-2E9C-101B-9397-08002B2CF9AE}" pid="13" name="MSIP_Label_66f47cd8-41fa-4235-8c80-86b50baa48d7_Name">
    <vt:lpwstr>Kroger Internal</vt:lpwstr>
  </property>
  <property fmtid="{D5CDD505-2E9C-101B-9397-08002B2CF9AE}" pid="14" name="MSIP_Label_66f47cd8-41fa-4235-8c80-86b50baa48d7_SiteId">
    <vt:lpwstr>8331e14a-9134-4288-bf5a-5e2c8412f074</vt:lpwstr>
  </property>
  <property fmtid="{D5CDD505-2E9C-101B-9397-08002B2CF9AE}" pid="15" name="MSIP_Label_66f47cd8-41fa-4235-8c80-86b50baa48d7_ActionId">
    <vt:lpwstr>30b3db39-7f18-4b46-ba1d-101f77224dc3</vt:lpwstr>
  </property>
  <property fmtid="{D5CDD505-2E9C-101B-9397-08002B2CF9AE}" pid="16" name="MSIP_Label_66f47cd8-41fa-4235-8c80-86b50baa48d7_ContentBits">
    <vt:lpwstr>0</vt:lpwstr>
  </property>
  <property fmtid="{D5CDD505-2E9C-101B-9397-08002B2CF9AE}" pid="17" name="_AdHocReviewCycleID">
    <vt:i4>1909802625</vt:i4>
  </property>
  <property fmtid="{D5CDD505-2E9C-101B-9397-08002B2CF9AE}" pid="18" name="_NewReviewCycle">
    <vt:lpwstr/>
  </property>
  <property fmtid="{D5CDD505-2E9C-101B-9397-08002B2CF9AE}" pid="19" name="_EmailSubject">
    <vt:lpwstr>Attachments for Updated Website</vt:lpwstr>
  </property>
  <property fmtid="{D5CDD505-2E9C-101B-9397-08002B2CF9AE}" pid="20" name="_AuthorEmail">
    <vt:lpwstr>alexander.mathews@kroger.com</vt:lpwstr>
  </property>
  <property fmtid="{D5CDD505-2E9C-101B-9397-08002B2CF9AE}" pid="21" name="_AuthorEmailDisplayName">
    <vt:lpwstr>Mathews, Alexander</vt:lpwstr>
  </property>
  <property fmtid="{D5CDD505-2E9C-101B-9397-08002B2CF9AE}" pid="22" name="_PreviousAdHocReviewCycleID">
    <vt:i4>1909802625</vt:i4>
  </property>
</Properties>
</file>